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1.xml" ContentType="application/vnd.openxmlformats-officedocument.presentationml.tags+xml"/>
  <Override PartName="/ppt/notesSlides/notesSlide22.xml" ContentType="application/vnd.openxmlformats-officedocument.presentationml.notesSlide+xml"/>
  <Override PartName="/ppt/tags/tag12.xml" ContentType="application/vnd.openxmlformats-officedocument.presentationml.tags+xml"/>
  <Override PartName="/ppt/notesSlides/notesSlide23.xml" ContentType="application/vnd.openxmlformats-officedocument.presentationml.notesSlide+xml"/>
  <Override PartName="/ppt/tags/tag13.xml" ContentType="application/vnd.openxmlformats-officedocument.presentationml.tags+xml"/>
  <Override PartName="/ppt/notesSlides/notesSlide24.xml" ContentType="application/vnd.openxmlformats-officedocument.presentationml.notesSlide+xml"/>
  <Override PartName="/ppt/tags/tag14.xml" ContentType="application/vnd.openxmlformats-officedocument.presentationml.tags+xml"/>
  <Override PartName="/ppt/notesSlides/notesSlide25.xml" ContentType="application/vnd.openxmlformats-officedocument.presentationml.notesSlide+xml"/>
  <Override PartName="/ppt/tags/tag15.xml" ContentType="application/vnd.openxmlformats-officedocument.presentationml.tags+xml"/>
  <Override PartName="/ppt/notesSlides/notesSlide26.xml" ContentType="application/vnd.openxmlformats-officedocument.presentationml.notesSlide+xml"/>
  <Override PartName="/ppt/tags/tag16.xml" ContentType="application/vnd.openxmlformats-officedocument.presentationml.tags+xml"/>
  <Override PartName="/ppt/notesSlides/notesSlide27.xml" ContentType="application/vnd.openxmlformats-officedocument.presentationml.notesSlide+xml"/>
  <Override PartName="/ppt/tags/tag17.xml" ContentType="application/vnd.openxmlformats-officedocument.presentationml.tags+xml"/>
  <Override PartName="/ppt/notesSlides/notesSlide28.xml" ContentType="application/vnd.openxmlformats-officedocument.presentationml.notesSlide+xml"/>
  <Override PartName="/ppt/tags/tag18.xml" ContentType="application/vnd.openxmlformats-officedocument.presentationml.tags+xml"/>
  <Override PartName="/ppt/notesSlides/notesSlide29.xml" ContentType="application/vnd.openxmlformats-officedocument.presentationml.notesSlide+xml"/>
  <Override PartName="/ppt/tags/tag19.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20.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723" r:id="rId4"/>
  </p:sldMasterIdLst>
  <p:notesMasterIdLst>
    <p:notesMasterId r:id="rId45"/>
  </p:notesMasterIdLst>
  <p:handoutMasterIdLst>
    <p:handoutMasterId r:id="rId46"/>
  </p:handoutMasterIdLst>
  <p:sldIdLst>
    <p:sldId id="2147481893" r:id="rId5"/>
    <p:sldId id="2147481927" r:id="rId6"/>
    <p:sldId id="2147481928" r:id="rId7"/>
    <p:sldId id="527" r:id="rId8"/>
    <p:sldId id="2147481894" r:id="rId9"/>
    <p:sldId id="637" r:id="rId10"/>
    <p:sldId id="2147481904" r:id="rId11"/>
    <p:sldId id="2147482073" r:id="rId12"/>
    <p:sldId id="2147482063" r:id="rId13"/>
    <p:sldId id="2147482077" r:id="rId14"/>
    <p:sldId id="2147482053" r:id="rId15"/>
    <p:sldId id="2147482099" r:id="rId16"/>
    <p:sldId id="2147482078" r:id="rId17"/>
    <p:sldId id="2147482047" r:id="rId18"/>
    <p:sldId id="2147482100" r:id="rId19"/>
    <p:sldId id="2147482049" r:id="rId20"/>
    <p:sldId id="2147481936" r:id="rId21"/>
    <p:sldId id="2147482056" r:id="rId22"/>
    <p:sldId id="2147482079" r:id="rId23"/>
    <p:sldId id="2147482069" r:id="rId24"/>
    <p:sldId id="2147482080" r:id="rId25"/>
    <p:sldId id="2147482059" r:id="rId26"/>
    <p:sldId id="2147482060" r:id="rId27"/>
    <p:sldId id="2147482061" r:id="rId28"/>
    <p:sldId id="2147482089" r:id="rId29"/>
    <p:sldId id="2147482008" r:id="rId30"/>
    <p:sldId id="2147482093" r:id="rId31"/>
    <p:sldId id="2147482030" r:id="rId32"/>
    <p:sldId id="2147482094" r:id="rId33"/>
    <p:sldId id="2147482095" r:id="rId34"/>
    <p:sldId id="2147482092" r:id="rId35"/>
    <p:sldId id="2147482096" r:id="rId36"/>
    <p:sldId id="2147482097" r:id="rId37"/>
    <p:sldId id="2147482098" r:id="rId38"/>
    <p:sldId id="2147482014" r:id="rId39"/>
    <p:sldId id="2147482015" r:id="rId40"/>
    <p:sldId id="2147481996" r:id="rId41"/>
    <p:sldId id="2147482091" r:id="rId42"/>
    <p:sldId id="2147482086" r:id="rId43"/>
    <p:sldId id="2147482102" r:id="rId44"/>
  </p:sldIdLst>
  <p:sldSz cx="12192000" cy="6858000"/>
  <p:notesSz cx="6858000" cy="9144000"/>
  <p:custDataLst>
    <p:tags r:id="rId4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8192D"/>
    <a:srgbClr val="525A72"/>
    <a:srgbClr val="D18D85"/>
    <a:srgbClr val="CFD6E8"/>
    <a:srgbClr val="D0CFD7"/>
    <a:srgbClr val="92D14F"/>
    <a:srgbClr val="FDFF00"/>
    <a:srgbClr val="FE9900"/>
    <a:srgbClr val="FE0000"/>
    <a:srgbClr val="FF65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61" autoAdjust="0"/>
    <p:restoredTop sz="88196" autoAdjust="0"/>
  </p:normalViewPr>
  <p:slideViewPr>
    <p:cSldViewPr snapToGrid="0">
      <p:cViewPr varScale="1">
        <p:scale>
          <a:sx n="99" d="100"/>
          <a:sy n="99" d="100"/>
        </p:scale>
        <p:origin x="1038" y="9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70301B5-88AD-1849-891D-EA2905EB5A88}" type="datetimeFigureOut">
              <a:rPr lang="en-US" smtClean="0"/>
              <a:t>9/2/2024</a:t>
            </a:fld>
            <a:endParaRPr lang="en-US"/>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A602F4-4C0C-5F4F-8771-7E15167AE556}" type="slidenum">
              <a:rPr lang="en-US" smtClean="0"/>
              <a:t>‹#›</a:t>
            </a:fld>
            <a:endParaRPr lang="en-US"/>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50AB23-24A6-494C-BA00-B87242B78CB4}" type="datetimeFigureOut">
              <a:rPr lang="en-GB" smtClean="0"/>
              <a:t>02/09/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CA530D-631F-4981-98F0-E6C07C67E1A3}" type="slidenum">
              <a:rPr lang="en-GB" smtClean="0"/>
              <a:t>‹#›</a:t>
            </a:fld>
            <a:endParaRPr lang="en-GB"/>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5</a:t>
            </a:fld>
            <a:endParaRPr lang="en-GB"/>
          </a:p>
        </p:txBody>
      </p:sp>
    </p:spTree>
    <p:extLst>
      <p:ext uri="{BB962C8B-B14F-4D97-AF65-F5344CB8AC3E}">
        <p14:creationId xmlns:p14="http://schemas.microsoft.com/office/powerpoint/2010/main" val="26772525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15</a:t>
            </a:fld>
            <a:endParaRPr lang="en-GB"/>
          </a:p>
        </p:txBody>
      </p:sp>
    </p:spTree>
    <p:extLst>
      <p:ext uri="{BB962C8B-B14F-4D97-AF65-F5344CB8AC3E}">
        <p14:creationId xmlns:p14="http://schemas.microsoft.com/office/powerpoint/2010/main" val="6230951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16</a:t>
            </a:fld>
            <a:endParaRPr lang="en-GB"/>
          </a:p>
        </p:txBody>
      </p:sp>
    </p:spTree>
    <p:extLst>
      <p:ext uri="{BB962C8B-B14F-4D97-AF65-F5344CB8AC3E}">
        <p14:creationId xmlns:p14="http://schemas.microsoft.com/office/powerpoint/2010/main" val="17677303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17</a:t>
            </a:fld>
            <a:endParaRPr lang="en-GB"/>
          </a:p>
        </p:txBody>
      </p:sp>
    </p:spTree>
    <p:extLst>
      <p:ext uri="{BB962C8B-B14F-4D97-AF65-F5344CB8AC3E}">
        <p14:creationId xmlns:p14="http://schemas.microsoft.com/office/powerpoint/2010/main" val="3415429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57093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3442770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9290885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501444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3101568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6974938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5208619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7</a:t>
            </a:fld>
            <a:endParaRPr lang="en-GB"/>
          </a:p>
        </p:txBody>
      </p:sp>
    </p:spTree>
    <p:extLst>
      <p:ext uri="{BB962C8B-B14F-4D97-AF65-F5344CB8AC3E}">
        <p14:creationId xmlns:p14="http://schemas.microsoft.com/office/powerpoint/2010/main" val="21690669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25</a:t>
            </a:fld>
            <a:endParaRPr lang="en-GB"/>
          </a:p>
        </p:txBody>
      </p:sp>
    </p:spTree>
    <p:extLst>
      <p:ext uri="{BB962C8B-B14F-4D97-AF65-F5344CB8AC3E}">
        <p14:creationId xmlns:p14="http://schemas.microsoft.com/office/powerpoint/2010/main" val="18959381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26</a:t>
            </a:fld>
            <a:endParaRPr lang="en-GB"/>
          </a:p>
        </p:txBody>
      </p:sp>
    </p:spTree>
    <p:extLst>
      <p:ext uri="{BB962C8B-B14F-4D97-AF65-F5344CB8AC3E}">
        <p14:creationId xmlns:p14="http://schemas.microsoft.com/office/powerpoint/2010/main" val="42835422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27</a:t>
            </a:fld>
            <a:endParaRPr lang="en-GB"/>
          </a:p>
        </p:txBody>
      </p:sp>
    </p:spTree>
    <p:extLst>
      <p:ext uri="{BB962C8B-B14F-4D97-AF65-F5344CB8AC3E}">
        <p14:creationId xmlns:p14="http://schemas.microsoft.com/office/powerpoint/2010/main" val="25029936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28</a:t>
            </a:fld>
            <a:endParaRPr lang="en-GB"/>
          </a:p>
        </p:txBody>
      </p:sp>
    </p:spTree>
    <p:extLst>
      <p:ext uri="{BB962C8B-B14F-4D97-AF65-F5344CB8AC3E}">
        <p14:creationId xmlns:p14="http://schemas.microsoft.com/office/powerpoint/2010/main" val="32474287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29</a:t>
            </a:fld>
            <a:endParaRPr lang="en-GB"/>
          </a:p>
        </p:txBody>
      </p:sp>
    </p:spTree>
    <p:extLst>
      <p:ext uri="{BB962C8B-B14F-4D97-AF65-F5344CB8AC3E}">
        <p14:creationId xmlns:p14="http://schemas.microsoft.com/office/powerpoint/2010/main" val="21960004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30</a:t>
            </a:fld>
            <a:endParaRPr lang="en-GB"/>
          </a:p>
        </p:txBody>
      </p:sp>
    </p:spTree>
    <p:extLst>
      <p:ext uri="{BB962C8B-B14F-4D97-AF65-F5344CB8AC3E}">
        <p14:creationId xmlns:p14="http://schemas.microsoft.com/office/powerpoint/2010/main" val="15158582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31</a:t>
            </a:fld>
            <a:endParaRPr lang="en-GB"/>
          </a:p>
        </p:txBody>
      </p:sp>
    </p:spTree>
    <p:extLst>
      <p:ext uri="{BB962C8B-B14F-4D97-AF65-F5344CB8AC3E}">
        <p14:creationId xmlns:p14="http://schemas.microsoft.com/office/powerpoint/2010/main" val="13646296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0CA530D-631F-4981-98F0-E6C07C67E1A3}" type="slidenum">
              <a:rPr lang="en-GB" smtClean="0"/>
              <a:t>32</a:t>
            </a:fld>
            <a:endParaRPr lang="en-GB"/>
          </a:p>
        </p:txBody>
      </p:sp>
    </p:spTree>
    <p:extLst>
      <p:ext uri="{BB962C8B-B14F-4D97-AF65-F5344CB8AC3E}">
        <p14:creationId xmlns:p14="http://schemas.microsoft.com/office/powerpoint/2010/main" val="38511009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fld id="{20CA530D-631F-4981-98F0-E6C07C67E1A3}" type="slidenum">
              <a:rPr lang="en-GB" smtClean="0"/>
              <a:t>33</a:t>
            </a:fld>
            <a:endParaRPr lang="en-GB"/>
          </a:p>
        </p:txBody>
      </p:sp>
    </p:spTree>
    <p:extLst>
      <p:ext uri="{BB962C8B-B14F-4D97-AF65-F5344CB8AC3E}">
        <p14:creationId xmlns:p14="http://schemas.microsoft.com/office/powerpoint/2010/main" val="34867117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fld id="{20CA530D-631F-4981-98F0-E6C07C67E1A3}" type="slidenum">
              <a:rPr lang="en-GB" smtClean="0"/>
              <a:t>34</a:t>
            </a:fld>
            <a:endParaRPr lang="en-GB"/>
          </a:p>
        </p:txBody>
      </p:sp>
    </p:spTree>
    <p:extLst>
      <p:ext uri="{BB962C8B-B14F-4D97-AF65-F5344CB8AC3E}">
        <p14:creationId xmlns:p14="http://schemas.microsoft.com/office/powerpoint/2010/main" val="25466780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8</a:t>
            </a:fld>
            <a:endParaRPr lang="en-GB"/>
          </a:p>
        </p:txBody>
      </p:sp>
    </p:spTree>
    <p:extLst>
      <p:ext uri="{BB962C8B-B14F-4D97-AF65-F5344CB8AC3E}">
        <p14:creationId xmlns:p14="http://schemas.microsoft.com/office/powerpoint/2010/main" val="339608034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0CA530D-631F-4981-98F0-E6C07C67E1A3}" type="slidenum">
              <a:rPr lang="en-GB" smtClean="0"/>
              <a:t>35</a:t>
            </a:fld>
            <a:endParaRPr lang="en-GB"/>
          </a:p>
        </p:txBody>
      </p:sp>
    </p:spTree>
    <p:extLst>
      <p:ext uri="{BB962C8B-B14F-4D97-AF65-F5344CB8AC3E}">
        <p14:creationId xmlns:p14="http://schemas.microsoft.com/office/powerpoint/2010/main" val="8098315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36</a:t>
            </a:fld>
            <a:endParaRPr lang="en-GB"/>
          </a:p>
        </p:txBody>
      </p:sp>
    </p:spTree>
    <p:extLst>
      <p:ext uri="{BB962C8B-B14F-4D97-AF65-F5344CB8AC3E}">
        <p14:creationId xmlns:p14="http://schemas.microsoft.com/office/powerpoint/2010/main" val="227870697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37</a:t>
            </a:fld>
            <a:endParaRPr lang="en-GB"/>
          </a:p>
        </p:txBody>
      </p:sp>
    </p:spTree>
    <p:extLst>
      <p:ext uri="{BB962C8B-B14F-4D97-AF65-F5344CB8AC3E}">
        <p14:creationId xmlns:p14="http://schemas.microsoft.com/office/powerpoint/2010/main" val="110003320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38</a:t>
            </a:fld>
            <a:endParaRPr lang="en-GB"/>
          </a:p>
        </p:txBody>
      </p:sp>
    </p:spTree>
    <p:extLst>
      <p:ext uri="{BB962C8B-B14F-4D97-AF65-F5344CB8AC3E}">
        <p14:creationId xmlns:p14="http://schemas.microsoft.com/office/powerpoint/2010/main" val="381074516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a:p>
        </p:txBody>
      </p:sp>
    </p:spTree>
    <p:extLst>
      <p:ext uri="{BB962C8B-B14F-4D97-AF65-F5344CB8AC3E}">
        <p14:creationId xmlns:p14="http://schemas.microsoft.com/office/powerpoint/2010/main" val="13950591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a:p>
        </p:txBody>
      </p:sp>
    </p:spTree>
    <p:extLst>
      <p:ext uri="{BB962C8B-B14F-4D97-AF65-F5344CB8AC3E}">
        <p14:creationId xmlns:p14="http://schemas.microsoft.com/office/powerpoint/2010/main" val="19557820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9</a:t>
            </a:fld>
            <a:endParaRPr lang="en-GB"/>
          </a:p>
        </p:txBody>
      </p:sp>
    </p:spTree>
    <p:extLst>
      <p:ext uri="{BB962C8B-B14F-4D97-AF65-F5344CB8AC3E}">
        <p14:creationId xmlns:p14="http://schemas.microsoft.com/office/powerpoint/2010/main" val="10516824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10</a:t>
            </a:fld>
            <a:endParaRPr lang="en-GB"/>
          </a:p>
        </p:txBody>
      </p:sp>
    </p:spTree>
    <p:extLst>
      <p:ext uri="{BB962C8B-B14F-4D97-AF65-F5344CB8AC3E}">
        <p14:creationId xmlns:p14="http://schemas.microsoft.com/office/powerpoint/2010/main" val="42156878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t>11</a:t>
            </a:fld>
            <a:endParaRPr lang="en-GB"/>
          </a:p>
        </p:txBody>
      </p:sp>
    </p:spTree>
    <p:extLst>
      <p:ext uri="{BB962C8B-B14F-4D97-AF65-F5344CB8AC3E}">
        <p14:creationId xmlns:p14="http://schemas.microsoft.com/office/powerpoint/2010/main" val="39960979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12</a:t>
            </a:fld>
            <a:endParaRPr lang="en-GB"/>
          </a:p>
        </p:txBody>
      </p:sp>
    </p:spTree>
    <p:extLst>
      <p:ext uri="{BB962C8B-B14F-4D97-AF65-F5344CB8AC3E}">
        <p14:creationId xmlns:p14="http://schemas.microsoft.com/office/powerpoint/2010/main" val="12686114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13</a:t>
            </a:fld>
            <a:endParaRPr lang="en-GB"/>
          </a:p>
        </p:txBody>
      </p:sp>
    </p:spTree>
    <p:extLst>
      <p:ext uri="{BB962C8B-B14F-4D97-AF65-F5344CB8AC3E}">
        <p14:creationId xmlns:p14="http://schemas.microsoft.com/office/powerpoint/2010/main" val="5811897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14</a:t>
            </a:fld>
            <a:endParaRPr lang="en-GB"/>
          </a:p>
        </p:txBody>
      </p:sp>
    </p:spTree>
    <p:extLst>
      <p:ext uri="{BB962C8B-B14F-4D97-AF65-F5344CB8AC3E}">
        <p14:creationId xmlns:p14="http://schemas.microsoft.com/office/powerpoint/2010/main" val="8429937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nvSpPr>
        <p:spPr bwMode="hidden">
          <a:xfrm>
            <a:off x="0" y="3429000"/>
            <a:ext cx="8096250" cy="1143000"/>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p:cNvSpPr/>
          <p:nvPr/>
        </p:nvSpPr>
        <p:spPr bwMode="hidden">
          <a:xfrm>
            <a:off x="8096250" y="0"/>
            <a:ext cx="4095750" cy="3429000"/>
          </a:xfrm>
          <a:prstGeom prst="rect">
            <a:avLst/>
          </a:prstGeom>
          <a:solidFill>
            <a:srgbClr val="EB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25422302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859B7FC3-54D3-A044-9662-AED001F4D972}"/>
              </a:ext>
            </a:extLst>
          </p:cNvPr>
          <p:cNvSpPr>
            <a:spLocks noGrp="1"/>
          </p:cNvSpPr>
          <p:nvPr>
            <p:ph type="dt" sz="half" idx="12"/>
          </p:nvPr>
        </p:nvSpPr>
        <p:spPr/>
        <p:txBody>
          <a:bodyPr/>
          <a:lstStyle/>
          <a:p>
            <a:r>
              <a:rPr lang="en-US"/>
              <a:t>Date</a:t>
            </a:r>
          </a:p>
        </p:txBody>
      </p:sp>
      <p:sp>
        <p:nvSpPr>
          <p:cNvPr id="3" name="Footer Placeholder 2">
            <a:extLst>
              <a:ext uri="{FF2B5EF4-FFF2-40B4-BE49-F238E27FC236}">
                <a16:creationId xmlns:a16="http://schemas.microsoft.com/office/drawing/2014/main" id="{03092CA8-9C8A-8146-8F00-4833507614AE}"/>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30795797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1251F687-9DDF-5971-6C01-48B246449A4A}"/>
              </a:ext>
            </a:extLst>
          </p:cNvPr>
          <p:cNvSpPr>
            <a:spLocks noGrp="1"/>
          </p:cNvSpPr>
          <p:nvPr>
            <p:ph type="pic" sz="quarter" idx="10"/>
          </p:nvPr>
        </p:nvSpPr>
        <p:spPr>
          <a:xfrm>
            <a:off x="0" y="0"/>
            <a:ext cx="12192000" cy="6858000"/>
          </a:xfrm>
        </p:spPr>
        <p:txBody>
          <a:bodyPr/>
          <a:lstStyle/>
          <a:p>
            <a:endParaRPr lang="en-GB"/>
          </a:p>
        </p:txBody>
      </p:sp>
    </p:spTree>
    <p:extLst>
      <p:ext uri="{BB962C8B-B14F-4D97-AF65-F5344CB8AC3E}">
        <p14:creationId xmlns:p14="http://schemas.microsoft.com/office/powerpoint/2010/main" val="7670417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EB58BF2-7720-951A-0737-25DCDFC44C9A}"/>
              </a:ext>
            </a:extLst>
          </p:cNvPr>
          <p:cNvGraphicFramePr>
            <a:graphicFrameLocks noChangeAspect="1"/>
          </p:cNvGraphicFramePr>
          <p:nvPr userDrawn="1">
            <p:custDataLst>
              <p:tags r:id="rId1"/>
            </p:custDataLst>
            <p:extLst>
              <p:ext uri="{D42A27DB-BD31-4B8C-83A1-F6EECF244321}">
                <p14:modId xmlns:p14="http://schemas.microsoft.com/office/powerpoint/2010/main" val="2295902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2" name="think-cell data - do not delete" hidden="1">
                        <a:extLst>
                          <a:ext uri="{FF2B5EF4-FFF2-40B4-BE49-F238E27FC236}">
                            <a16:creationId xmlns:a16="http://schemas.microsoft.com/office/drawing/2014/main" id="{7EB58BF2-7720-951A-0737-25DCDFC44C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9C024489-97EC-1D48-A1FA-019C1228618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185139" y="5330952"/>
            <a:ext cx="1636776" cy="1351185"/>
          </a:xfrm>
          <a:prstGeom prst="rect">
            <a:avLst/>
          </a:prstGeom>
        </p:spPr>
      </p:pic>
      <p:sp>
        <p:nvSpPr>
          <p:cNvPr id="14" name="Picture Placeholder 13">
            <a:extLst>
              <a:ext uri="{FF2B5EF4-FFF2-40B4-BE49-F238E27FC236}">
                <a16:creationId xmlns:a16="http://schemas.microsoft.com/office/drawing/2014/main" id="{A6EC04CA-D2F1-3C13-C6B0-7A92F7B31B2A}"/>
              </a:ext>
            </a:extLst>
          </p:cNvPr>
          <p:cNvSpPr>
            <a:spLocks noGrp="1"/>
          </p:cNvSpPr>
          <p:nvPr>
            <p:ph type="pic" sz="quarter" idx="10"/>
          </p:nvPr>
        </p:nvSpPr>
        <p:spPr>
          <a:xfrm>
            <a:off x="4327525" y="0"/>
            <a:ext cx="7864475" cy="6858000"/>
          </a:xfrm>
        </p:spPr>
        <p:txBody>
          <a:bodyPr/>
          <a:lstStyle/>
          <a:p>
            <a:endParaRPr lang="en-GB"/>
          </a:p>
        </p:txBody>
      </p:sp>
      <p:grpSp>
        <p:nvGrpSpPr>
          <p:cNvPr id="4" name="Group 3">
            <a:extLst>
              <a:ext uri="{FF2B5EF4-FFF2-40B4-BE49-F238E27FC236}">
                <a16:creationId xmlns:a16="http://schemas.microsoft.com/office/drawing/2014/main" id="{0B63678F-DB3A-4415-7580-95B39A40636E}"/>
              </a:ext>
            </a:extLst>
          </p:cNvPr>
          <p:cNvGrpSpPr/>
          <p:nvPr userDrawn="1"/>
        </p:nvGrpSpPr>
        <p:grpSpPr>
          <a:xfrm>
            <a:off x="0" y="0"/>
            <a:ext cx="8914102" cy="6858001"/>
            <a:chOff x="0" y="0"/>
            <a:chExt cx="8914102" cy="6858001"/>
          </a:xfrm>
        </p:grpSpPr>
        <p:sp>
          <p:nvSpPr>
            <p:cNvPr id="5" name="Freeform 13">
              <a:extLst>
                <a:ext uri="{FF2B5EF4-FFF2-40B4-BE49-F238E27FC236}">
                  <a16:creationId xmlns:a16="http://schemas.microsoft.com/office/drawing/2014/main" id="{3FECC16A-B1FD-FAF5-EB5C-6894270D0777}"/>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6" name="Picture 5">
              <a:extLst>
                <a:ext uri="{FF2B5EF4-FFF2-40B4-BE49-F238E27FC236}">
                  <a16:creationId xmlns:a16="http://schemas.microsoft.com/office/drawing/2014/main" id="{C11D32D6-B442-BFC3-1C38-B121D9F3236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black">
            <a:xfrm>
              <a:off x="185139" y="5330952"/>
              <a:ext cx="1636776" cy="1351184"/>
            </a:xfrm>
            <a:prstGeom prst="rect">
              <a:avLst/>
            </a:prstGeom>
          </p:spPr>
        </p:pic>
      </p:grpSp>
      <p:sp>
        <p:nvSpPr>
          <p:cNvPr id="2" name="Title 1"/>
          <p:cNvSpPr>
            <a:spLocks noGrp="1"/>
          </p:cNvSpPr>
          <p:nvPr>
            <p:ph type="ctrTitle" hasCustomPrompt="1"/>
          </p:nvPr>
        </p:nvSpPr>
        <p:spPr>
          <a:xfrm>
            <a:off x="442912" y="428625"/>
            <a:ext cx="7418388" cy="2428874"/>
          </a:xfrm>
        </p:spPr>
        <p:txBody>
          <a:bodyPr vert="horz"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38097133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All Grey">
    <p:bg>
      <p:bgPr>
        <a:solidFill>
          <a:srgbClr val="46464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391737643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2" y="2103120"/>
            <a:ext cx="11306175" cy="4073842"/>
          </a:xfrm>
        </p:spPr>
        <p:txBody>
          <a:bodyPr/>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7092926E-C7A2-1946-B74B-5EC49D3EAE3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2A29A14A-827E-1247-9162-E763C985ACD0}"/>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B0AE826D-197B-B84E-8B9B-E0610700761D}"/>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21235206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7418387"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FA1CAC76-AD94-234E-8386-FD25DC54D41B}"/>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89486007-FECF-0B43-98E4-BE646CA75FA9}"/>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11771131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11306175"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C7AE0E6F-13EB-BD40-A19F-F1CFDDB4658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77EE818A-A3B1-A74B-A063-799FD726DC71}"/>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3EB0F34F-6B8E-584C-9E9F-165D07878245}"/>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32581720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5" name="Title 4"/>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A1127051-9445-A34F-940C-D451EEF39800}"/>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C5E96824-1DC8-8F4C-9F19-4AA8BD36E946}"/>
              </a:ext>
            </a:extLst>
          </p:cNvPr>
          <p:cNvSpPr>
            <a:spLocks noGrp="1"/>
          </p:cNvSpPr>
          <p:nvPr>
            <p:ph type="dt" sz="half" idx="12"/>
          </p:nvPr>
        </p:nvSpPr>
        <p:spPr/>
        <p:txBody>
          <a:bodyPr/>
          <a:lstStyle/>
          <a:p>
            <a:r>
              <a:rPr lang="en-US"/>
              <a:t>Date</a:t>
            </a:r>
          </a:p>
        </p:txBody>
      </p:sp>
      <p:sp>
        <p:nvSpPr>
          <p:cNvPr id="4" name="Footer Placeholder 3">
            <a:extLst>
              <a:ext uri="{FF2B5EF4-FFF2-40B4-BE49-F238E27FC236}">
                <a16:creationId xmlns:a16="http://schemas.microsoft.com/office/drawing/2014/main" id="{46C406C8-2617-D442-A446-EA4D0CC6D9A3}"/>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31647214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4" name="Content Placeholder 3"/>
          <p:cNvSpPr>
            <a:spLocks noGrp="1"/>
          </p:cNvSpPr>
          <p:nvPr>
            <p:ph sz="half" idx="2" hasCustomPrompt="1"/>
          </p:nvPr>
        </p:nvSpPr>
        <p:spPr>
          <a:xfrm>
            <a:off x="6275388" y="2103438"/>
            <a:ext cx="54737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Title 5"/>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7" name="Slide Number Placeholder 6">
            <a:extLst>
              <a:ext uri="{FF2B5EF4-FFF2-40B4-BE49-F238E27FC236}">
                <a16:creationId xmlns:a16="http://schemas.microsoft.com/office/drawing/2014/main" id="{00456CA5-A388-1D41-B4AF-6658D4C957A1}"/>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31232899-915E-C74D-8F7F-7C2DD55182A1}"/>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09E4EFE4-848B-FB4C-92AC-48F9C8C7E472}"/>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21657275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p:txBody>
          <a:bodyPr/>
          <a:lstStyle/>
          <a:p>
            <a:r>
              <a:rPr lang="en-US"/>
              <a:t>Date</a:t>
            </a:r>
          </a:p>
        </p:txBody>
      </p:sp>
      <p:sp>
        <p:nvSpPr>
          <p:cNvPr id="4" name="Footer Placeholder 3">
            <a:extLst>
              <a:ext uri="{FF2B5EF4-FFF2-40B4-BE49-F238E27FC236}">
                <a16:creationId xmlns:a16="http://schemas.microsoft.com/office/drawing/2014/main" id="{839088E2-6117-534E-A3B5-65400594E309}"/>
              </a:ext>
            </a:extLst>
          </p:cNvPr>
          <p:cNvSpPr>
            <a:spLocks noGrp="1"/>
          </p:cNvSpPr>
          <p:nvPr>
            <p:ph type="ftr" sz="quarter" idx="13"/>
          </p:nvPr>
        </p:nvSpPr>
        <p:spPr/>
        <p:txBody>
          <a:bodyPr/>
          <a:lstStyle>
            <a:lvl1pPr algn="l">
              <a:defRPr/>
            </a:lvl1pPr>
          </a:lstStyle>
          <a:p>
            <a:r>
              <a:rPr lang="en-US"/>
              <a:t>Presentation Title</a:t>
            </a:r>
          </a:p>
        </p:txBody>
      </p:sp>
      <p:sp>
        <p:nvSpPr>
          <p:cNvPr id="6" name="Rectangle 5">
            <a:extLst>
              <a:ext uri="{FF2B5EF4-FFF2-40B4-BE49-F238E27FC236}">
                <a16:creationId xmlns:a16="http://schemas.microsoft.com/office/drawing/2014/main" id="{809D7AE3-DC09-FADC-3E28-1C9D0E1377CC}"/>
              </a:ext>
            </a:extLst>
          </p:cNvPr>
          <p:cNvSpPr/>
          <p:nvPr userDrawn="1"/>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lang="en-US" sz="800" kern="0" dirty="0">
                <a:solidFill>
                  <a:srgbClr val="A4A3B2"/>
                </a:solidFill>
                <a:ea typeface="Georgia"/>
                <a:cs typeface="Georgia"/>
                <a:sym typeface="Georgia"/>
              </a:rPr>
              <a:t>5. KATASTROFU VEIDI, APDRAUDĒJUMA RISKA NOVĒRTĒŠANA UN DROŠĪBAS PASĀKUMI</a:t>
            </a:r>
          </a:p>
        </p:txBody>
      </p:sp>
    </p:spTree>
    <p:extLst>
      <p:ext uri="{BB962C8B-B14F-4D97-AF65-F5344CB8AC3E}">
        <p14:creationId xmlns:p14="http://schemas.microsoft.com/office/powerpoint/2010/main" val="15315883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with photo">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ADC7163-24C5-1148-C606-2993367844EC}"/>
              </a:ext>
            </a:extLst>
          </p:cNvPr>
          <p:cNvGraphicFramePr>
            <a:graphicFrameLocks noChangeAspect="1"/>
          </p:cNvGraphicFramePr>
          <p:nvPr userDrawn="1">
            <p:custDataLst>
              <p:tags r:id="rId1"/>
            </p:custDataLst>
            <p:extLst>
              <p:ext uri="{D42A27DB-BD31-4B8C-83A1-F6EECF244321}">
                <p14:modId xmlns:p14="http://schemas.microsoft.com/office/powerpoint/2010/main" val="3606952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0" name="think-cell data - do not delete" hidden="1">
                        <a:extLst>
                          <a:ext uri="{FF2B5EF4-FFF2-40B4-BE49-F238E27FC236}">
                            <a16:creationId xmlns:a16="http://schemas.microsoft.com/office/drawing/2014/main" id="{DADC7163-24C5-1148-C606-2993367844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F61D9CD-01F9-E7AA-151B-C2AD5B73A256}"/>
              </a:ext>
            </a:extLst>
          </p:cNvPr>
          <p:cNvSpPr>
            <a:spLocks noGrp="1"/>
          </p:cNvSpPr>
          <p:nvPr>
            <p:ph type="pic" sz="quarter" idx="14"/>
          </p:nvPr>
        </p:nvSpPr>
        <p:spPr>
          <a:xfrm>
            <a:off x="4850964" y="2853876"/>
            <a:ext cx="6897688" cy="3317875"/>
          </a:xfrm>
        </p:spPr>
        <p:txBody>
          <a:bodyPr/>
          <a:lstStyle/>
          <a:p>
            <a:endParaRPr lang="en-GB"/>
          </a:p>
        </p:txBody>
      </p:sp>
      <p:sp>
        <p:nvSpPr>
          <p:cNvPr id="2" name="Title 1"/>
          <p:cNvSpPr>
            <a:spLocks noGrp="1"/>
          </p:cNvSpPr>
          <p:nvPr>
            <p:ph type="title" hasCustomPrompt="1"/>
          </p:nvPr>
        </p:nvSpPr>
        <p:spPr/>
        <p:txBody>
          <a:bodyPr vert="horz"/>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p:txBody>
          <a:bodyPr/>
          <a:lstStyle/>
          <a:p>
            <a:r>
              <a:rPr lang="en-US"/>
              <a:t>Date</a:t>
            </a:r>
          </a:p>
        </p:txBody>
      </p:sp>
      <p:sp>
        <p:nvSpPr>
          <p:cNvPr id="4" name="Footer Placeholder 3">
            <a:extLst>
              <a:ext uri="{FF2B5EF4-FFF2-40B4-BE49-F238E27FC236}">
                <a16:creationId xmlns:a16="http://schemas.microsoft.com/office/drawing/2014/main" id="{839088E2-6117-534E-A3B5-65400594E309}"/>
              </a:ext>
            </a:extLst>
          </p:cNvPr>
          <p:cNvSpPr>
            <a:spLocks noGrp="1"/>
          </p:cNvSpPr>
          <p:nvPr>
            <p:ph type="ftr" sz="quarter" idx="13"/>
          </p:nvPr>
        </p:nvSpPr>
        <p:spPr/>
        <p:txBody>
          <a:bodyPr/>
          <a:lstStyle>
            <a:lvl1pPr algn="l">
              <a:defRPr/>
            </a:lvl1pPr>
          </a:lstStyle>
          <a:p>
            <a:r>
              <a:rPr lang="en-US"/>
              <a:t>Presentation Title</a:t>
            </a:r>
          </a:p>
        </p:txBody>
      </p:sp>
      <p:sp>
        <p:nvSpPr>
          <p:cNvPr id="7" name="Rectangle 6">
            <a:extLst>
              <a:ext uri="{FF2B5EF4-FFF2-40B4-BE49-F238E27FC236}">
                <a16:creationId xmlns:a16="http://schemas.microsoft.com/office/drawing/2014/main" id="{6AB86BF5-8538-E32A-B346-35C40B580E8F}"/>
              </a:ext>
            </a:extLst>
          </p:cNvPr>
          <p:cNvSpPr/>
          <p:nvPr userDrawn="1"/>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lang="en-US" sz="800" kern="0">
                <a:solidFill>
                  <a:srgbClr val="A4A3B2"/>
                </a:solidFill>
                <a:ea typeface="Georgia"/>
                <a:cs typeface="Georgia"/>
                <a:sym typeface="Georgia"/>
              </a:rPr>
              <a:t>4. KATASTROFAS PĀRVALDĪŠANA UN TO VEIDI</a:t>
            </a:r>
          </a:p>
        </p:txBody>
      </p:sp>
    </p:spTree>
    <p:extLst>
      <p:ext uri="{BB962C8B-B14F-4D97-AF65-F5344CB8AC3E}">
        <p14:creationId xmlns:p14="http://schemas.microsoft.com/office/powerpoint/2010/main" val="39317333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C8B76D5-4AF8-3657-C78E-B40F7D923142}"/>
              </a:ext>
            </a:extLst>
          </p:cNvPr>
          <p:cNvGraphicFramePr>
            <a:graphicFrameLocks noChangeAspect="1"/>
          </p:cNvGraphicFramePr>
          <p:nvPr userDrawn="1">
            <p:custDataLst>
              <p:tags r:id="rId14"/>
            </p:custDataLst>
            <p:extLst>
              <p:ext uri="{D42A27DB-BD31-4B8C-83A1-F6EECF244321}">
                <p14:modId xmlns:p14="http://schemas.microsoft.com/office/powerpoint/2010/main" val="89283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6" progId="TCLayout.ActiveDocument.1">
                  <p:embed/>
                </p:oleObj>
              </mc:Choice>
              <mc:Fallback>
                <p:oleObj name="think-cell Slide" r:id="rId15" imgW="473" imgH="476" progId="TCLayout.ActiveDocument.1">
                  <p:embed/>
                  <p:pic>
                    <p:nvPicPr>
                      <p:cNvPr id="9" name="think-cell data - do not delete" hidden="1">
                        <a:extLst>
                          <a:ext uri="{FF2B5EF4-FFF2-40B4-BE49-F238E27FC236}">
                            <a16:creationId xmlns:a16="http://schemas.microsoft.com/office/drawing/2014/main" id="{0C8B76D5-4AF8-3657-C78E-B40F7D92314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r>
              <a:rPr lang="en-US"/>
              <a:t>[Slide title]</a:t>
            </a:r>
            <a:endParaRPr lang="en-GB"/>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sz="750">
                <a:solidFill>
                  <a:schemeClr val="tx1"/>
                </a:solidFill>
              </a:defRPr>
            </a:lvl1p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CAC161DD-0A25-2B4E-956E-04296B5905CA}"/>
              </a:ext>
            </a:extLst>
          </p:cNvPr>
          <p:cNvSpPr>
            <a:spLocks noGrp="1"/>
          </p:cNvSpPr>
          <p:nvPr>
            <p:ph type="dt" sz="half" idx="2"/>
          </p:nvPr>
        </p:nvSpPr>
        <p:spPr>
          <a:xfrm>
            <a:off x="9984296" y="6355080"/>
            <a:ext cx="1764792" cy="137160"/>
          </a:xfrm>
          <a:prstGeom prst="rect">
            <a:avLst/>
          </a:prstGeom>
        </p:spPr>
        <p:txBody>
          <a:bodyPr vert="horz" lIns="0" tIns="0" rIns="0" bIns="0" rtlCol="0" anchor="b" anchorCtr="0"/>
          <a:lstStyle>
            <a:lvl1pPr algn="r">
              <a:defRPr sz="750">
                <a:solidFill>
                  <a:schemeClr val="tx1"/>
                </a:solidFill>
              </a:defRPr>
            </a:lvl1pPr>
          </a:lstStyle>
          <a:p>
            <a:r>
              <a:rPr lang="en-US"/>
              <a:t>Date</a:t>
            </a:r>
          </a:p>
        </p:txBody>
      </p:sp>
      <p:sp>
        <p:nvSpPr>
          <p:cNvPr id="5" name="Footer Placeholder 4">
            <a:extLst>
              <a:ext uri="{FF2B5EF4-FFF2-40B4-BE49-F238E27FC236}">
                <a16:creationId xmlns:a16="http://schemas.microsoft.com/office/drawing/2014/main" id="{BE929DBE-EF12-9845-B0FD-DF795B823DF1}"/>
              </a:ext>
            </a:extLst>
          </p:cNvPr>
          <p:cNvSpPr>
            <a:spLocks noGrp="1"/>
          </p:cNvSpPr>
          <p:nvPr>
            <p:ph type="ftr" sz="quarter" idx="3"/>
          </p:nvPr>
        </p:nvSpPr>
        <p:spPr>
          <a:xfrm>
            <a:off x="442912" y="6355080"/>
            <a:ext cx="5473701" cy="137160"/>
          </a:xfrm>
          <a:prstGeom prst="rect">
            <a:avLst/>
          </a:prstGeom>
        </p:spPr>
        <p:txBody>
          <a:bodyPr vert="horz" lIns="0" tIns="0" rIns="0" bIns="0" rtlCol="0" anchor="b" anchorCtr="0"/>
          <a:lstStyle>
            <a:lvl1pPr algn="ctr">
              <a:defRPr sz="750">
                <a:solidFill>
                  <a:schemeClr val="tx1"/>
                </a:solidFill>
              </a:defRPr>
            </a:lvl1pPr>
          </a:lstStyle>
          <a:p>
            <a:pPr algn="l"/>
            <a:r>
              <a:rPr lang="en-US"/>
              <a:t>Presentation Title</a:t>
            </a:r>
          </a:p>
        </p:txBody>
      </p:sp>
      <p:sp>
        <p:nvSpPr>
          <p:cNvPr id="10" name="Taisnstūris 6">
            <a:extLst>
              <a:ext uri="{FF2B5EF4-FFF2-40B4-BE49-F238E27FC236}">
                <a16:creationId xmlns:a16="http://schemas.microsoft.com/office/drawing/2014/main" id="{A2BE061D-B094-EE33-34BA-06B6F7665E56}"/>
              </a:ext>
            </a:extLst>
          </p:cNvPr>
          <p:cNvSpPr/>
          <p:nvPr userDrawn="1"/>
        </p:nvSpPr>
        <p:spPr>
          <a:xfrm>
            <a:off x="12385782" y="0"/>
            <a:ext cx="635096" cy="809893"/>
          </a:xfrm>
          <a:prstGeom prst="rect">
            <a:avLst/>
          </a:prstGeom>
          <a:solidFill>
            <a:srgbClr val="A4A3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1" name="Taisnstūris 3">
            <a:extLst>
              <a:ext uri="{FF2B5EF4-FFF2-40B4-BE49-F238E27FC236}">
                <a16:creationId xmlns:a16="http://schemas.microsoft.com/office/drawing/2014/main" id="{0FB7B73C-8236-8809-83D8-F680B2E227E5}"/>
              </a:ext>
            </a:extLst>
          </p:cNvPr>
          <p:cNvSpPr/>
          <p:nvPr userDrawn="1"/>
        </p:nvSpPr>
        <p:spPr>
          <a:xfrm>
            <a:off x="12385675" y="1008559"/>
            <a:ext cx="635000" cy="809625"/>
          </a:xfrm>
          <a:prstGeom prst="rect">
            <a:avLst/>
          </a:prstGeom>
          <a:solidFill>
            <a:srgbClr val="A81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2" name="Taisnstūris 4">
            <a:extLst>
              <a:ext uri="{FF2B5EF4-FFF2-40B4-BE49-F238E27FC236}">
                <a16:creationId xmlns:a16="http://schemas.microsoft.com/office/drawing/2014/main" id="{1F1F5031-D3F1-1B08-731E-193E5BBAED83}"/>
              </a:ext>
            </a:extLst>
          </p:cNvPr>
          <p:cNvSpPr/>
          <p:nvPr userDrawn="1"/>
        </p:nvSpPr>
        <p:spPr>
          <a:xfrm>
            <a:off x="12398375" y="1984646"/>
            <a:ext cx="635000" cy="809625"/>
          </a:xfrm>
          <a:prstGeom prst="rect">
            <a:avLst/>
          </a:pr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3" name="Taisnstūris 7">
            <a:extLst>
              <a:ext uri="{FF2B5EF4-FFF2-40B4-BE49-F238E27FC236}">
                <a16:creationId xmlns:a16="http://schemas.microsoft.com/office/drawing/2014/main" id="{50E6FB7E-3DB1-7A74-A415-F9A08DAE38E6}"/>
              </a:ext>
            </a:extLst>
          </p:cNvPr>
          <p:cNvSpPr/>
          <p:nvPr userDrawn="1"/>
        </p:nvSpPr>
        <p:spPr>
          <a:xfrm>
            <a:off x="12410575" y="2912953"/>
            <a:ext cx="635000" cy="809625"/>
          </a:xfrm>
          <a:prstGeom prst="rect">
            <a:avLst/>
          </a:prstGeom>
          <a:solidFill>
            <a:srgbClr val="D18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4" name="Taisnstūris 5">
            <a:extLst>
              <a:ext uri="{FF2B5EF4-FFF2-40B4-BE49-F238E27FC236}">
                <a16:creationId xmlns:a16="http://schemas.microsoft.com/office/drawing/2014/main" id="{B82076D9-005F-2DCA-F79E-E6F39D683ED6}"/>
              </a:ext>
            </a:extLst>
          </p:cNvPr>
          <p:cNvSpPr/>
          <p:nvPr userDrawn="1"/>
        </p:nvSpPr>
        <p:spPr>
          <a:xfrm>
            <a:off x="12410575" y="3848479"/>
            <a:ext cx="635000" cy="809625"/>
          </a:xfrm>
          <a:prstGeom prst="rect">
            <a:avLst/>
          </a:prstGeom>
          <a:solidFill>
            <a:srgbClr val="D0C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5" name="Rectangle 14">
            <a:extLst>
              <a:ext uri="{FF2B5EF4-FFF2-40B4-BE49-F238E27FC236}">
                <a16:creationId xmlns:a16="http://schemas.microsoft.com/office/drawing/2014/main" id="{642E82FD-FD17-024C-673F-F303B3933EDB}"/>
              </a:ext>
            </a:extLst>
          </p:cNvPr>
          <p:cNvSpPr/>
          <p:nvPr userDrawn="1"/>
        </p:nvSpPr>
        <p:spPr>
          <a:xfrm>
            <a:off x="12410575" y="4780352"/>
            <a:ext cx="635000" cy="809625"/>
          </a:xfrm>
          <a:prstGeom prst="rect">
            <a:avLst/>
          </a:prstGeom>
          <a:solidFill>
            <a:srgbClr val="CFD6E8"/>
          </a:solidFill>
          <a:ln>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3011101579"/>
      </p:ext>
    </p:extLst>
  </p:cSld>
  <p:clrMap bg1="lt1" tx1="dk1" bg2="lt2" tx2="dk2" accent1="accent1" accent2="accent2" accent3="accent3" accent4="accent4" accent5="accent5" accent6="accent6" hlink="hlink" folHlink="folHlink"/>
  <p:sldLayoutIdLst>
    <p:sldLayoutId id="2147483725" r:id="rId1"/>
    <p:sldLayoutId id="2147483728" r:id="rId2"/>
    <p:sldLayoutId id="2147483740" r:id="rId3"/>
    <p:sldLayoutId id="2147483741" r:id="rId4"/>
    <p:sldLayoutId id="2147483742" r:id="rId5"/>
    <p:sldLayoutId id="2147483743" r:id="rId6"/>
    <p:sldLayoutId id="2147483744" r:id="rId7"/>
    <p:sldLayoutId id="2147483786" r:id="rId8"/>
    <p:sldLayoutId id="2147483796" r:id="rId9"/>
    <p:sldLayoutId id="2147483787" r:id="rId10"/>
    <p:sldLayoutId id="2147483794" r:id="rId11"/>
    <p:sldLayoutId id="2147483795" r:id="rId12"/>
  </p:sldLayoutIdLst>
  <p:hf hdr="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F26B43"/>
          </p15:clr>
        </p15:guide>
        <p15:guide id="1" pos="279" userDrawn="1">
          <p15:clr>
            <a:srgbClr val="F26B43"/>
          </p15:clr>
        </p15:guide>
        <p15:guide id="2" pos="7401" userDrawn="1">
          <p15:clr>
            <a:srgbClr val="F26B43"/>
          </p15:clr>
        </p15:guide>
        <p15:guide id="3" pos="3953" userDrawn="1">
          <p15:clr>
            <a:srgbClr val="F26B43"/>
          </p15:clr>
        </p15:guide>
        <p15:guide id="4" pos="3727" userDrawn="1">
          <p15:clr>
            <a:srgbClr val="F26B43"/>
          </p15:clr>
        </p15:guide>
        <p15:guide id="5" orient="horz" pos="3888" userDrawn="1">
          <p15:clr>
            <a:srgbClr val="F26B43"/>
          </p15:clr>
        </p15:guide>
        <p15:guide id="6" pos="2726" userDrawn="1">
          <p15:clr>
            <a:srgbClr val="F26B43"/>
          </p15:clr>
        </p15:guide>
        <p15:guide id="7" pos="2502" userDrawn="1">
          <p15:clr>
            <a:srgbClr val="F26B43"/>
          </p15:clr>
        </p15:guide>
        <p15:guide id="8" pos="4952" userDrawn="1">
          <p15:clr>
            <a:srgbClr val="F26B43"/>
          </p15:clr>
        </p15:guide>
        <p15:guide id="9" pos="5177" userDrawn="1">
          <p15:clr>
            <a:srgbClr val="F26B43"/>
          </p15:clr>
        </p15:guide>
        <p15:guide id="10" orient="horz" pos="2160" userDrawn="1">
          <p15:clr>
            <a:srgbClr val="F26B43"/>
          </p15:clr>
        </p15:guide>
        <p15:guide id="11" orient="horz" pos="1325" userDrawn="1">
          <p15:clr>
            <a:srgbClr val="F26B43"/>
          </p15:clr>
        </p15:guide>
        <p15:guide id="12" orient="horz" pos="1146" userDrawn="1">
          <p15:clr>
            <a:srgbClr val="F26B43"/>
          </p15:clr>
        </p15:guide>
        <p15:guide id="13" orient="horz" pos="27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1.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33.jpeg"/></Relationships>
</file>

<file path=ppt/slides/_rels/slide12.xml.rels><?xml version="1.0" encoding="UTF-8" standalone="yes"?>
<Relationships xmlns="http://schemas.openxmlformats.org/package/2006/relationships"><Relationship Id="rId8" Type="http://schemas.openxmlformats.org/officeDocument/2006/relationships/hyperlink" Target="https://www.youtube.com/watch?v=7fol0QqgihA" TargetMode="External"/><Relationship Id="rId3" Type="http://schemas.openxmlformats.org/officeDocument/2006/relationships/notesSlide" Target="../notesSlides/notesSlide7.xml"/><Relationship Id="rId7" Type="http://schemas.openxmlformats.org/officeDocument/2006/relationships/image" Target="../media/image35.jpeg"/><Relationship Id="rId2" Type="http://schemas.openxmlformats.org/officeDocument/2006/relationships/slideLayout" Target="../slideLayouts/slideLayout8.xml"/><Relationship Id="rId1" Type="http://schemas.openxmlformats.org/officeDocument/2006/relationships/tags" Target="../tags/tag5.xml"/><Relationship Id="rId6" Type="http://schemas.openxmlformats.org/officeDocument/2006/relationships/image" Target="../media/image8.png"/><Relationship Id="rId5" Type="http://schemas.openxmlformats.org/officeDocument/2006/relationships/image" Target="../media/image34.emf"/><Relationship Id="rId4" Type="http://schemas.openxmlformats.org/officeDocument/2006/relationships/oleObject" Target="../embeddings/oleObject4.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8.xml"/><Relationship Id="rId1" Type="http://schemas.openxmlformats.org/officeDocument/2006/relationships/tags" Target="../tags/tag6.xml"/><Relationship Id="rId6" Type="http://schemas.openxmlformats.org/officeDocument/2006/relationships/image" Target="../media/image8.png"/><Relationship Id="rId5" Type="http://schemas.openxmlformats.org/officeDocument/2006/relationships/image" Target="../media/image34.emf"/><Relationship Id="rId4" Type="http://schemas.openxmlformats.org/officeDocument/2006/relationships/oleObject" Target="../embeddings/oleObject5.bin"/></Relationships>
</file>

<file path=ppt/slides/_rels/slide14.xml.rels><?xml version="1.0" encoding="UTF-8" standalone="yes"?>
<Relationships xmlns="http://schemas.openxmlformats.org/package/2006/relationships"><Relationship Id="rId8" Type="http://schemas.openxmlformats.org/officeDocument/2006/relationships/hyperlink" Target="https://www.youtube.com/watch?v=EqTN-akzLIc" TargetMode="External"/><Relationship Id="rId3" Type="http://schemas.openxmlformats.org/officeDocument/2006/relationships/notesSlide" Target="../notesSlides/notesSlide9.xml"/><Relationship Id="rId7" Type="http://schemas.openxmlformats.org/officeDocument/2006/relationships/image" Target="../media/image36.jpeg"/><Relationship Id="rId2" Type="http://schemas.openxmlformats.org/officeDocument/2006/relationships/slideLayout" Target="../slideLayouts/slideLayout8.xml"/><Relationship Id="rId1" Type="http://schemas.openxmlformats.org/officeDocument/2006/relationships/tags" Target="../tags/tag7.xml"/><Relationship Id="rId6" Type="http://schemas.openxmlformats.org/officeDocument/2006/relationships/image" Target="../media/image8.png"/><Relationship Id="rId5" Type="http://schemas.openxmlformats.org/officeDocument/2006/relationships/image" Target="../media/image34.emf"/><Relationship Id="rId4" Type="http://schemas.openxmlformats.org/officeDocument/2006/relationships/oleObject" Target="../embeddings/oleObject6.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8.xml"/><Relationship Id="rId1" Type="http://schemas.openxmlformats.org/officeDocument/2006/relationships/tags" Target="../tags/tag8.xml"/><Relationship Id="rId6" Type="http://schemas.openxmlformats.org/officeDocument/2006/relationships/image" Target="../media/image8.png"/><Relationship Id="rId5" Type="http://schemas.openxmlformats.org/officeDocument/2006/relationships/image" Target="../media/image34.emf"/><Relationship Id="rId4" Type="http://schemas.openxmlformats.org/officeDocument/2006/relationships/oleObject" Target="../embeddings/oleObject7.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8.png"/><Relationship Id="rId2" Type="http://schemas.openxmlformats.org/officeDocument/2006/relationships/slideLayout" Target="../slideLayouts/slideLayout8.xml"/><Relationship Id="rId1" Type="http://schemas.openxmlformats.org/officeDocument/2006/relationships/tags" Target="../tags/tag9.xml"/><Relationship Id="rId6" Type="http://schemas.openxmlformats.org/officeDocument/2006/relationships/image" Target="../media/image37.jpeg"/><Relationship Id="rId5" Type="http://schemas.openxmlformats.org/officeDocument/2006/relationships/image" Target="../media/image34.emf"/><Relationship Id="rId4" Type="http://schemas.openxmlformats.org/officeDocument/2006/relationships/oleObject" Target="../embeddings/oleObject8.bin"/></Relationships>
</file>

<file path=ppt/slides/_rels/slide1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8.xml"/><Relationship Id="rId1" Type="http://schemas.openxmlformats.org/officeDocument/2006/relationships/tags" Target="../tags/tag10.xml"/><Relationship Id="rId6" Type="http://schemas.openxmlformats.org/officeDocument/2006/relationships/hyperlink" Target="https://www.vugd.gov.lv/lv/media/340/download" TargetMode="External"/><Relationship Id="rId5" Type="http://schemas.openxmlformats.org/officeDocument/2006/relationships/image" Target="../media/image1.emf"/><Relationship Id="rId4" Type="http://schemas.openxmlformats.org/officeDocument/2006/relationships/oleObject" Target="../embeddings/oleObject9.bin"/></Relationships>
</file>

<file path=ppt/slides/_rels/slide19.xml.rels><?xml version="1.0" encoding="UTF-8" standalone="yes"?>
<Relationships xmlns="http://schemas.openxmlformats.org/package/2006/relationships"><Relationship Id="rId3" Type="http://schemas.openxmlformats.org/officeDocument/2006/relationships/hyperlink" Target="https://www.vugd.gov.lv/lv/media/340/download" TargetMode="External"/><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hyperlink" Target="https://www.vugd.gov.lv/lv/media/340/download" TargetMode="External"/><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hyperlink" Target="https://likumi.lv/ta/id/317006-par-valsts-civilas-aizsardzibas-planu"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www.vugd.gov.lv/lv/media/340/download" TargetMode="External"/><Relationship Id="rId2" Type="http://schemas.openxmlformats.org/officeDocument/2006/relationships/notesSlide" Target="../notesSlides/notesSlide16.xml"/><Relationship Id="rId1" Type="http://schemas.openxmlformats.org/officeDocument/2006/relationships/slideLayout" Target="../slideLayouts/slideLayout8.xml"/><Relationship Id="rId4" Type="http://schemas.openxmlformats.org/officeDocument/2006/relationships/hyperlink" Target="https://likumi.lv/ta/id/317006-par-valsts-civilas-aizsardzibas-planu"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8" Type="http://schemas.openxmlformats.org/officeDocument/2006/relationships/image" Target="../media/image42.gif"/><Relationship Id="rId3" Type="http://schemas.openxmlformats.org/officeDocument/2006/relationships/notesSlide" Target="../notesSlides/notesSlide22.xml"/><Relationship Id="rId7" Type="http://schemas.openxmlformats.org/officeDocument/2006/relationships/image" Target="../media/image41.gif"/><Relationship Id="rId12" Type="http://schemas.openxmlformats.org/officeDocument/2006/relationships/image" Target="../media/image46.gif"/><Relationship Id="rId2" Type="http://schemas.openxmlformats.org/officeDocument/2006/relationships/slideLayout" Target="../slideLayouts/slideLayout8.xml"/><Relationship Id="rId1" Type="http://schemas.openxmlformats.org/officeDocument/2006/relationships/tags" Target="../tags/tag11.xml"/><Relationship Id="rId6" Type="http://schemas.openxmlformats.org/officeDocument/2006/relationships/image" Target="../media/image40.gif"/><Relationship Id="rId11" Type="http://schemas.openxmlformats.org/officeDocument/2006/relationships/image" Target="../media/image45.gif"/><Relationship Id="rId5" Type="http://schemas.openxmlformats.org/officeDocument/2006/relationships/image" Target="../media/image1.emf"/><Relationship Id="rId10" Type="http://schemas.openxmlformats.org/officeDocument/2006/relationships/image" Target="../media/image44.gif"/><Relationship Id="rId4" Type="http://schemas.openxmlformats.org/officeDocument/2006/relationships/oleObject" Target="../embeddings/oleObject10.bin"/><Relationship Id="rId9" Type="http://schemas.openxmlformats.org/officeDocument/2006/relationships/image" Target="../media/image43.gif"/></Relationships>
</file>

<file path=ppt/slides/_rels/slide28.xml.rels><?xml version="1.0" encoding="UTF-8" standalone="yes"?>
<Relationships xmlns="http://schemas.openxmlformats.org/package/2006/relationships"><Relationship Id="rId8" Type="http://schemas.openxmlformats.org/officeDocument/2006/relationships/image" Target="../media/image49.gif"/><Relationship Id="rId13" Type="http://schemas.openxmlformats.org/officeDocument/2006/relationships/image" Target="../media/image54.gif"/><Relationship Id="rId3" Type="http://schemas.openxmlformats.org/officeDocument/2006/relationships/notesSlide" Target="../notesSlides/notesSlide23.xml"/><Relationship Id="rId7" Type="http://schemas.openxmlformats.org/officeDocument/2006/relationships/image" Target="../media/image48.gif"/><Relationship Id="rId12" Type="http://schemas.openxmlformats.org/officeDocument/2006/relationships/image" Target="../media/image53.gif"/><Relationship Id="rId2" Type="http://schemas.openxmlformats.org/officeDocument/2006/relationships/slideLayout" Target="../slideLayouts/slideLayout8.xml"/><Relationship Id="rId1" Type="http://schemas.openxmlformats.org/officeDocument/2006/relationships/tags" Target="../tags/tag12.xml"/><Relationship Id="rId6" Type="http://schemas.openxmlformats.org/officeDocument/2006/relationships/image" Target="../media/image47.gif"/><Relationship Id="rId11" Type="http://schemas.openxmlformats.org/officeDocument/2006/relationships/image" Target="../media/image52.gif"/><Relationship Id="rId5" Type="http://schemas.openxmlformats.org/officeDocument/2006/relationships/image" Target="../media/image1.emf"/><Relationship Id="rId10" Type="http://schemas.openxmlformats.org/officeDocument/2006/relationships/image" Target="../media/image51.gif"/><Relationship Id="rId4" Type="http://schemas.openxmlformats.org/officeDocument/2006/relationships/oleObject" Target="../embeddings/oleObject11.bin"/><Relationship Id="rId9" Type="http://schemas.openxmlformats.org/officeDocument/2006/relationships/image" Target="../media/image50.gif"/><Relationship Id="rId14" Type="http://schemas.openxmlformats.org/officeDocument/2006/relationships/image" Target="../media/image55.gif"/></Relationships>
</file>

<file path=ppt/slides/_rels/slide29.xml.rels><?xml version="1.0" encoding="UTF-8" standalone="yes"?>
<Relationships xmlns="http://schemas.openxmlformats.org/package/2006/relationships"><Relationship Id="rId8" Type="http://schemas.openxmlformats.org/officeDocument/2006/relationships/image" Target="../media/image52.gif"/><Relationship Id="rId13" Type="http://schemas.openxmlformats.org/officeDocument/2006/relationships/image" Target="../media/image59.gif"/><Relationship Id="rId3" Type="http://schemas.openxmlformats.org/officeDocument/2006/relationships/notesSlide" Target="../notesSlides/notesSlide24.xml"/><Relationship Id="rId7" Type="http://schemas.openxmlformats.org/officeDocument/2006/relationships/image" Target="../media/image51.gif"/><Relationship Id="rId12" Type="http://schemas.openxmlformats.org/officeDocument/2006/relationships/image" Target="../media/image58.gif"/><Relationship Id="rId2" Type="http://schemas.openxmlformats.org/officeDocument/2006/relationships/slideLayout" Target="../slideLayouts/slideLayout8.xml"/><Relationship Id="rId16" Type="http://schemas.openxmlformats.org/officeDocument/2006/relationships/image" Target="../media/image62.gif"/><Relationship Id="rId1" Type="http://schemas.openxmlformats.org/officeDocument/2006/relationships/tags" Target="../tags/tag13.xml"/><Relationship Id="rId6" Type="http://schemas.openxmlformats.org/officeDocument/2006/relationships/image" Target="../media/image50.gif"/><Relationship Id="rId11" Type="http://schemas.openxmlformats.org/officeDocument/2006/relationships/image" Target="../media/image57.gif"/><Relationship Id="rId5" Type="http://schemas.openxmlformats.org/officeDocument/2006/relationships/image" Target="../media/image1.emf"/><Relationship Id="rId15" Type="http://schemas.openxmlformats.org/officeDocument/2006/relationships/image" Target="../media/image61.gif"/><Relationship Id="rId10" Type="http://schemas.openxmlformats.org/officeDocument/2006/relationships/image" Target="../media/image56.gif"/><Relationship Id="rId4" Type="http://schemas.openxmlformats.org/officeDocument/2006/relationships/oleObject" Target="../embeddings/oleObject12.bin"/><Relationship Id="rId9" Type="http://schemas.openxmlformats.org/officeDocument/2006/relationships/image" Target="../media/image53.gif"/><Relationship Id="rId14" Type="http://schemas.openxmlformats.org/officeDocument/2006/relationships/image" Target="../media/image60.gif"/></Relationships>
</file>

<file path=ppt/slides/_rels/slide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8" Type="http://schemas.openxmlformats.org/officeDocument/2006/relationships/image" Target="../media/image49.gif"/><Relationship Id="rId13" Type="http://schemas.openxmlformats.org/officeDocument/2006/relationships/image" Target="../media/image54.gif"/><Relationship Id="rId18" Type="http://schemas.openxmlformats.org/officeDocument/2006/relationships/image" Target="../media/image65.gif"/><Relationship Id="rId3" Type="http://schemas.openxmlformats.org/officeDocument/2006/relationships/notesSlide" Target="../notesSlides/notesSlide25.xml"/><Relationship Id="rId21" Type="http://schemas.openxmlformats.org/officeDocument/2006/relationships/image" Target="../media/image68.gif"/><Relationship Id="rId7" Type="http://schemas.openxmlformats.org/officeDocument/2006/relationships/image" Target="../media/image48.gif"/><Relationship Id="rId12" Type="http://schemas.openxmlformats.org/officeDocument/2006/relationships/image" Target="../media/image53.gif"/><Relationship Id="rId17" Type="http://schemas.openxmlformats.org/officeDocument/2006/relationships/image" Target="../media/image64.jpeg"/><Relationship Id="rId2" Type="http://schemas.openxmlformats.org/officeDocument/2006/relationships/slideLayout" Target="../slideLayouts/slideLayout8.xml"/><Relationship Id="rId16" Type="http://schemas.openxmlformats.org/officeDocument/2006/relationships/image" Target="../media/image63.jpeg"/><Relationship Id="rId20" Type="http://schemas.openxmlformats.org/officeDocument/2006/relationships/image" Target="../media/image67.jpeg"/><Relationship Id="rId1" Type="http://schemas.openxmlformats.org/officeDocument/2006/relationships/tags" Target="../tags/tag14.xml"/><Relationship Id="rId6" Type="http://schemas.openxmlformats.org/officeDocument/2006/relationships/image" Target="../media/image47.gif"/><Relationship Id="rId11" Type="http://schemas.openxmlformats.org/officeDocument/2006/relationships/image" Target="../media/image52.gif"/><Relationship Id="rId5" Type="http://schemas.openxmlformats.org/officeDocument/2006/relationships/image" Target="../media/image1.emf"/><Relationship Id="rId15" Type="http://schemas.openxmlformats.org/officeDocument/2006/relationships/image" Target="../media/image62.gif"/><Relationship Id="rId23" Type="http://schemas.openxmlformats.org/officeDocument/2006/relationships/image" Target="../media/image70.jpeg"/><Relationship Id="rId10" Type="http://schemas.openxmlformats.org/officeDocument/2006/relationships/image" Target="../media/image51.gif"/><Relationship Id="rId19" Type="http://schemas.openxmlformats.org/officeDocument/2006/relationships/image" Target="../media/image66.gif"/><Relationship Id="rId4" Type="http://schemas.openxmlformats.org/officeDocument/2006/relationships/oleObject" Target="../embeddings/oleObject13.bin"/><Relationship Id="rId9" Type="http://schemas.openxmlformats.org/officeDocument/2006/relationships/image" Target="../media/image50.gif"/><Relationship Id="rId14" Type="http://schemas.openxmlformats.org/officeDocument/2006/relationships/image" Target="../media/image55.gif"/><Relationship Id="rId22" Type="http://schemas.openxmlformats.org/officeDocument/2006/relationships/image" Target="../media/image69.jpeg"/></Relationships>
</file>

<file path=ppt/slides/_rels/slide31.xml.rels><?xml version="1.0" encoding="UTF-8" standalone="yes"?>
<Relationships xmlns="http://schemas.openxmlformats.org/package/2006/relationships"><Relationship Id="rId8" Type="http://schemas.openxmlformats.org/officeDocument/2006/relationships/image" Target="../media/image49.gif"/><Relationship Id="rId13" Type="http://schemas.openxmlformats.org/officeDocument/2006/relationships/image" Target="../media/image54.gif"/><Relationship Id="rId18" Type="http://schemas.openxmlformats.org/officeDocument/2006/relationships/image" Target="../media/image65.gif"/><Relationship Id="rId26" Type="http://schemas.openxmlformats.org/officeDocument/2006/relationships/image" Target="../media/image73.jpeg"/><Relationship Id="rId3" Type="http://schemas.openxmlformats.org/officeDocument/2006/relationships/notesSlide" Target="../notesSlides/notesSlide26.xml"/><Relationship Id="rId21" Type="http://schemas.openxmlformats.org/officeDocument/2006/relationships/image" Target="../media/image68.gif"/><Relationship Id="rId7" Type="http://schemas.openxmlformats.org/officeDocument/2006/relationships/image" Target="../media/image48.gif"/><Relationship Id="rId12" Type="http://schemas.openxmlformats.org/officeDocument/2006/relationships/image" Target="../media/image53.gif"/><Relationship Id="rId17" Type="http://schemas.openxmlformats.org/officeDocument/2006/relationships/image" Target="../media/image64.jpeg"/><Relationship Id="rId25" Type="http://schemas.openxmlformats.org/officeDocument/2006/relationships/image" Target="../media/image72.jpeg"/><Relationship Id="rId2" Type="http://schemas.openxmlformats.org/officeDocument/2006/relationships/slideLayout" Target="../slideLayouts/slideLayout8.xml"/><Relationship Id="rId16" Type="http://schemas.openxmlformats.org/officeDocument/2006/relationships/image" Target="../media/image63.jpeg"/><Relationship Id="rId20" Type="http://schemas.openxmlformats.org/officeDocument/2006/relationships/image" Target="../media/image67.jpeg"/><Relationship Id="rId29" Type="http://schemas.openxmlformats.org/officeDocument/2006/relationships/image" Target="../media/image76.jpeg"/><Relationship Id="rId1" Type="http://schemas.openxmlformats.org/officeDocument/2006/relationships/tags" Target="../tags/tag15.xml"/><Relationship Id="rId6" Type="http://schemas.openxmlformats.org/officeDocument/2006/relationships/image" Target="../media/image47.gif"/><Relationship Id="rId11" Type="http://schemas.openxmlformats.org/officeDocument/2006/relationships/image" Target="../media/image52.gif"/><Relationship Id="rId24" Type="http://schemas.openxmlformats.org/officeDocument/2006/relationships/image" Target="../media/image71.jpeg"/><Relationship Id="rId32" Type="http://schemas.openxmlformats.org/officeDocument/2006/relationships/image" Target="../media/image79.jpeg"/><Relationship Id="rId5" Type="http://schemas.openxmlformats.org/officeDocument/2006/relationships/image" Target="../media/image1.emf"/><Relationship Id="rId15" Type="http://schemas.openxmlformats.org/officeDocument/2006/relationships/image" Target="../media/image62.gif"/><Relationship Id="rId23" Type="http://schemas.openxmlformats.org/officeDocument/2006/relationships/image" Target="../media/image70.jpeg"/><Relationship Id="rId28" Type="http://schemas.openxmlformats.org/officeDocument/2006/relationships/image" Target="../media/image75.jpeg"/><Relationship Id="rId10" Type="http://schemas.openxmlformats.org/officeDocument/2006/relationships/image" Target="../media/image51.gif"/><Relationship Id="rId19" Type="http://schemas.openxmlformats.org/officeDocument/2006/relationships/image" Target="../media/image66.gif"/><Relationship Id="rId31" Type="http://schemas.openxmlformats.org/officeDocument/2006/relationships/image" Target="../media/image78.jpeg"/><Relationship Id="rId4" Type="http://schemas.openxmlformats.org/officeDocument/2006/relationships/oleObject" Target="../embeddings/oleObject14.bin"/><Relationship Id="rId9" Type="http://schemas.openxmlformats.org/officeDocument/2006/relationships/image" Target="../media/image50.gif"/><Relationship Id="rId14" Type="http://schemas.openxmlformats.org/officeDocument/2006/relationships/image" Target="../media/image55.gif"/><Relationship Id="rId22" Type="http://schemas.openxmlformats.org/officeDocument/2006/relationships/image" Target="../media/image69.jpeg"/><Relationship Id="rId27" Type="http://schemas.openxmlformats.org/officeDocument/2006/relationships/image" Target="../media/image74.jpeg"/><Relationship Id="rId30" Type="http://schemas.openxmlformats.org/officeDocument/2006/relationships/image" Target="../media/image77.jpe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hyperlink" Target="https://likumi.lv/ta/id/134571-noteikumi-par-prasibam-bistamo-kimisko-vielu-un-kimisko-preparatu-produktu-uzglabasanas-rezervuaru-projektesanai-uzstadisanai-par-to-atbilstibas-novertesanas-kartibu-un-tirgus-uzraudzibu" TargetMode="External"/><Relationship Id="rId2" Type="http://schemas.openxmlformats.org/officeDocument/2006/relationships/slideLayout" Target="../slideLayouts/slideLayout8.xml"/><Relationship Id="rId1" Type="http://schemas.openxmlformats.org/officeDocument/2006/relationships/tags" Target="../tags/tag16.xml"/><Relationship Id="rId6" Type="http://schemas.openxmlformats.org/officeDocument/2006/relationships/image" Target="../media/image80.jp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hyperlink" Target="http://stradavesels.lv/Uploads/2018/03/20/329_2017_Atgadne_stradajot_ar_kimiskam_vielam.pdf" TargetMode="External"/><Relationship Id="rId2" Type="http://schemas.openxmlformats.org/officeDocument/2006/relationships/slideLayout" Target="../slideLayouts/slideLayout8.xml"/><Relationship Id="rId1" Type="http://schemas.openxmlformats.org/officeDocument/2006/relationships/tags" Target="../tags/tag18.xml"/><Relationship Id="rId6" Type="http://schemas.openxmlformats.org/officeDocument/2006/relationships/image" Target="../media/image81.jp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83.png"/><Relationship Id="rId2" Type="http://schemas.openxmlformats.org/officeDocument/2006/relationships/slideLayout" Target="../slideLayouts/slideLayout8.xml"/><Relationship Id="rId1" Type="http://schemas.openxmlformats.org/officeDocument/2006/relationships/tags" Target="../tags/tag19.xml"/><Relationship Id="rId6" Type="http://schemas.openxmlformats.org/officeDocument/2006/relationships/image" Target="../media/image82.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36.xml.rels><?xml version="1.0" encoding="UTF-8" standalone="yes"?>
<Relationships xmlns="http://schemas.openxmlformats.org/package/2006/relationships"><Relationship Id="rId3" Type="http://schemas.openxmlformats.org/officeDocument/2006/relationships/hyperlink" Target="https://echa.europa.eu/documents/10162/23036412/sds_lv.pdf/0e0c8ba2-63d9-4c95-9187-9de6a50fcac6" TargetMode="External"/><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32.xml"/><Relationship Id="rId1" Type="http://schemas.openxmlformats.org/officeDocument/2006/relationships/slideLayout" Target="../slideLayouts/slideLayout8.xml"/><Relationship Id="rId4" Type="http://schemas.openxmlformats.org/officeDocument/2006/relationships/hyperlink" Target="https://likumi.lv/ta/id/65619-darba-aizsardzibas-prasibas-lietojot-individualos-aizsardzibas-lidzeklus" TargetMode="Externa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hyperlink" Target="https://www.nmpd.gov.lv/lv/media/592/download" TargetMode="External"/><Relationship Id="rId2" Type="http://schemas.openxmlformats.org/officeDocument/2006/relationships/slideLayout" Target="../slideLayouts/slideLayout8.xml"/><Relationship Id="rId1" Type="http://schemas.openxmlformats.org/officeDocument/2006/relationships/tags" Target="../tags/tag20.xml"/><Relationship Id="rId6" Type="http://schemas.openxmlformats.org/officeDocument/2006/relationships/image" Target="../media/image85.jpg"/><Relationship Id="rId5" Type="http://schemas.openxmlformats.org/officeDocument/2006/relationships/image" Target="../media/image34.emf"/><Relationship Id="rId4" Type="http://schemas.openxmlformats.org/officeDocument/2006/relationships/oleObject" Target="../embeddings/oleObject19.bin"/></Relationships>
</file>

<file path=ppt/slides/_rels/slide3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hyperlink" Target="https://likumi.lv/ta/id/282333-civilas-aizsardzibas-un-katastrofas-parvaldisanas-likums" TargetMode="External"/><Relationship Id="rId2" Type="http://schemas.openxmlformats.org/officeDocument/2006/relationships/image" Target="../media/image14.jpe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svg"/><Relationship Id="rId18" Type="http://schemas.openxmlformats.org/officeDocument/2006/relationships/image" Target="../media/image29.png"/><Relationship Id="rId3" Type="http://schemas.openxmlformats.org/officeDocument/2006/relationships/hyperlink" Target="https://likumi.lv/ta/id/282333-civilas-aizsardzibas-un-katastrofas-parvaldisanas-likums" TargetMode="External"/><Relationship Id="rId7" Type="http://schemas.openxmlformats.org/officeDocument/2006/relationships/image" Target="../media/image18.svg"/><Relationship Id="rId12" Type="http://schemas.openxmlformats.org/officeDocument/2006/relationships/image" Target="../media/image23.png"/><Relationship Id="rId17" Type="http://schemas.openxmlformats.org/officeDocument/2006/relationships/image" Target="../media/image28.svg"/><Relationship Id="rId2" Type="http://schemas.openxmlformats.org/officeDocument/2006/relationships/notesSlide" Target="../notesSlides/notesSlide4.xml"/><Relationship Id="rId16" Type="http://schemas.openxmlformats.org/officeDocument/2006/relationships/image" Target="../media/image27.png"/><Relationship Id="rId1" Type="http://schemas.openxmlformats.org/officeDocument/2006/relationships/slideLayout" Target="../slideLayouts/slideLayout8.xml"/><Relationship Id="rId6" Type="http://schemas.openxmlformats.org/officeDocument/2006/relationships/image" Target="../media/image17.png"/><Relationship Id="rId11" Type="http://schemas.openxmlformats.org/officeDocument/2006/relationships/image" Target="../media/image22.svg"/><Relationship Id="rId5" Type="http://schemas.openxmlformats.org/officeDocument/2006/relationships/image" Target="../media/image16.svg"/><Relationship Id="rId15" Type="http://schemas.openxmlformats.org/officeDocument/2006/relationships/image" Target="../media/image26.svg"/><Relationship Id="rId10" Type="http://schemas.openxmlformats.org/officeDocument/2006/relationships/image" Target="../media/image21.png"/><Relationship Id="rId19" Type="http://schemas.openxmlformats.org/officeDocument/2006/relationships/image" Target="../media/image30.svg"/><Relationship Id="rId4" Type="http://schemas.openxmlformats.org/officeDocument/2006/relationships/image" Target="../media/image15.png"/><Relationship Id="rId9" Type="http://schemas.openxmlformats.org/officeDocument/2006/relationships/image" Target="../media/image20.svg"/><Relationship Id="rId1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23" descr="A road with fallen branches and debris on it&#10;&#10;Description automatically generated">
            <a:extLst>
              <a:ext uri="{FF2B5EF4-FFF2-40B4-BE49-F238E27FC236}">
                <a16:creationId xmlns:a16="http://schemas.microsoft.com/office/drawing/2014/main" id="{6333E015-E3E5-C297-ECEF-3FBADE746AAA}"/>
              </a:ext>
            </a:extLst>
          </p:cNvPr>
          <p:cNvPicPr>
            <a:picLocks noGrp="1" noChangeAspect="1"/>
          </p:cNvPicPr>
          <p:nvPr>
            <p:ph type="pic" sz="quarter" idx="10"/>
          </p:nvPr>
        </p:nvPicPr>
        <p:blipFill rotWithShape="1">
          <a:blip r:embed="rId2"/>
          <a:srcRect l="38" t="-39" r="-39" b="15699"/>
          <a:stretch/>
        </p:blipFill>
        <p:spPr>
          <a:xfrm>
            <a:off x="-244" y="-3176"/>
            <a:ext cx="12201872" cy="6867395"/>
          </a:xfrm>
        </p:spPr>
      </p:pic>
      <p:sp>
        <p:nvSpPr>
          <p:cNvPr id="22" name="Rectangle 21">
            <a:extLst>
              <a:ext uri="{FF2B5EF4-FFF2-40B4-BE49-F238E27FC236}">
                <a16:creationId xmlns:a16="http://schemas.microsoft.com/office/drawing/2014/main" id="{1DD6BAA7-6B8B-B5D1-983C-47F7088D2D65}"/>
              </a:ext>
            </a:extLst>
          </p:cNvPr>
          <p:cNvSpPr/>
          <p:nvPr/>
        </p:nvSpPr>
        <p:spPr>
          <a:xfrm>
            <a:off x="0" y="-1"/>
            <a:ext cx="12192000" cy="6858001"/>
          </a:xfrm>
          <a:prstGeom prst="rect">
            <a:avLst/>
          </a:prstGeom>
          <a:solidFill>
            <a:srgbClr val="525A72">
              <a:alpha val="55000"/>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grpSp>
        <p:nvGrpSpPr>
          <p:cNvPr id="11" name="Group 10">
            <a:extLst>
              <a:ext uri="{FF2B5EF4-FFF2-40B4-BE49-F238E27FC236}">
                <a16:creationId xmlns:a16="http://schemas.microsoft.com/office/drawing/2014/main" id="{31723724-4107-226F-F1E6-53B5BB42B4BC}"/>
              </a:ext>
            </a:extLst>
          </p:cNvPr>
          <p:cNvGrpSpPr/>
          <p:nvPr/>
        </p:nvGrpSpPr>
        <p:grpSpPr>
          <a:xfrm>
            <a:off x="12385675" y="0"/>
            <a:ext cx="659900" cy="5589977"/>
            <a:chOff x="12385675" y="0"/>
            <a:chExt cx="659900" cy="5589977"/>
          </a:xfrm>
        </p:grpSpPr>
        <p:sp>
          <p:nvSpPr>
            <p:cNvPr id="3" name="Taisnstūris 6">
              <a:extLst>
                <a:ext uri="{FF2B5EF4-FFF2-40B4-BE49-F238E27FC236}">
                  <a16:creationId xmlns:a16="http://schemas.microsoft.com/office/drawing/2014/main" id="{37267F3F-3C79-EF9D-4013-2A14E3EBFE3F}"/>
                </a:ext>
              </a:extLst>
            </p:cNvPr>
            <p:cNvSpPr/>
            <p:nvPr/>
          </p:nvSpPr>
          <p:spPr>
            <a:xfrm>
              <a:off x="12385782" y="0"/>
              <a:ext cx="635096" cy="809893"/>
            </a:xfrm>
            <a:prstGeom prst="rect">
              <a:avLst/>
            </a:prstGeom>
            <a:solidFill>
              <a:srgbClr val="A4A3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4" name="Taisnstūris 3">
              <a:extLst>
                <a:ext uri="{FF2B5EF4-FFF2-40B4-BE49-F238E27FC236}">
                  <a16:creationId xmlns:a16="http://schemas.microsoft.com/office/drawing/2014/main" id="{94123E11-711D-5A13-033D-AE9D77328D6B}"/>
                </a:ext>
              </a:extLst>
            </p:cNvPr>
            <p:cNvSpPr/>
            <p:nvPr/>
          </p:nvSpPr>
          <p:spPr>
            <a:xfrm>
              <a:off x="12385675" y="1008559"/>
              <a:ext cx="635000" cy="809625"/>
            </a:xfrm>
            <a:prstGeom prst="rect">
              <a:avLst/>
            </a:prstGeom>
            <a:solidFill>
              <a:srgbClr val="A81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5" name="Taisnstūris 4">
              <a:extLst>
                <a:ext uri="{FF2B5EF4-FFF2-40B4-BE49-F238E27FC236}">
                  <a16:creationId xmlns:a16="http://schemas.microsoft.com/office/drawing/2014/main" id="{1A4E8801-B52C-477A-BE05-598045550E0E}"/>
                </a:ext>
              </a:extLst>
            </p:cNvPr>
            <p:cNvSpPr/>
            <p:nvPr/>
          </p:nvSpPr>
          <p:spPr>
            <a:xfrm>
              <a:off x="12398375" y="1984646"/>
              <a:ext cx="635000" cy="809625"/>
            </a:xfrm>
            <a:prstGeom prst="rect">
              <a:avLst/>
            </a:pr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6" name="Taisnstūris 7">
              <a:extLst>
                <a:ext uri="{FF2B5EF4-FFF2-40B4-BE49-F238E27FC236}">
                  <a16:creationId xmlns:a16="http://schemas.microsoft.com/office/drawing/2014/main" id="{BEA22475-3583-8047-B9BE-F5D5E10ED608}"/>
                </a:ext>
              </a:extLst>
            </p:cNvPr>
            <p:cNvSpPr/>
            <p:nvPr/>
          </p:nvSpPr>
          <p:spPr>
            <a:xfrm>
              <a:off x="12410575" y="2912953"/>
              <a:ext cx="635000" cy="809625"/>
            </a:xfrm>
            <a:prstGeom prst="rect">
              <a:avLst/>
            </a:prstGeom>
            <a:solidFill>
              <a:srgbClr val="D18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7" name="Taisnstūris 5">
              <a:extLst>
                <a:ext uri="{FF2B5EF4-FFF2-40B4-BE49-F238E27FC236}">
                  <a16:creationId xmlns:a16="http://schemas.microsoft.com/office/drawing/2014/main" id="{11DB0F86-0170-F6DC-6FA0-DC797009A96A}"/>
                </a:ext>
              </a:extLst>
            </p:cNvPr>
            <p:cNvSpPr/>
            <p:nvPr/>
          </p:nvSpPr>
          <p:spPr>
            <a:xfrm>
              <a:off x="12410575" y="3848479"/>
              <a:ext cx="635000" cy="809625"/>
            </a:xfrm>
            <a:prstGeom prst="rect">
              <a:avLst/>
            </a:prstGeom>
            <a:solidFill>
              <a:srgbClr val="D0C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8" name="Rectangle 7">
              <a:extLst>
                <a:ext uri="{FF2B5EF4-FFF2-40B4-BE49-F238E27FC236}">
                  <a16:creationId xmlns:a16="http://schemas.microsoft.com/office/drawing/2014/main" id="{17E8C80F-695C-E6A6-B494-95F1A03A429E}"/>
                </a:ext>
              </a:extLst>
            </p:cNvPr>
            <p:cNvSpPr/>
            <p:nvPr/>
          </p:nvSpPr>
          <p:spPr>
            <a:xfrm>
              <a:off x="12410575" y="4780352"/>
              <a:ext cx="635000" cy="809625"/>
            </a:xfrm>
            <a:prstGeom prst="rect">
              <a:avLst/>
            </a:prstGeom>
            <a:solidFill>
              <a:srgbClr val="CFD6E8"/>
            </a:solidFill>
            <a:ln>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
        <p:nvSpPr>
          <p:cNvPr id="13" name="Rectangle 12">
            <a:extLst>
              <a:ext uri="{FF2B5EF4-FFF2-40B4-BE49-F238E27FC236}">
                <a16:creationId xmlns:a16="http://schemas.microsoft.com/office/drawing/2014/main" id="{0C5D88B1-D717-ACB8-1CC6-5FD5E37AC03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BECC70D6-4932-221C-EABA-6937F376022A}"/>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5" name="Rectangle 14">
            <a:extLst>
              <a:ext uri="{FF2B5EF4-FFF2-40B4-BE49-F238E27FC236}">
                <a16:creationId xmlns:a16="http://schemas.microsoft.com/office/drawing/2014/main" id="{20E77B47-979D-E6D5-D405-AE342CC4CCF7}"/>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6" name="Rectangle 15">
            <a:extLst>
              <a:ext uri="{FF2B5EF4-FFF2-40B4-BE49-F238E27FC236}">
                <a16:creationId xmlns:a16="http://schemas.microsoft.com/office/drawing/2014/main" id="{9F36931A-ACCC-7B2A-CED4-8445987E292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7" name="Rectangle 16">
            <a:extLst>
              <a:ext uri="{FF2B5EF4-FFF2-40B4-BE49-F238E27FC236}">
                <a16:creationId xmlns:a16="http://schemas.microsoft.com/office/drawing/2014/main" id="{27D077D9-38D3-223A-3C73-BAE9AEC947C8}"/>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1" name="Rectangle 20">
            <a:extLst>
              <a:ext uri="{FF2B5EF4-FFF2-40B4-BE49-F238E27FC236}">
                <a16:creationId xmlns:a16="http://schemas.microsoft.com/office/drawing/2014/main" id="{33708452-0105-B103-BDC2-411DE3647398}"/>
              </a:ext>
            </a:extLst>
          </p:cNvPr>
          <p:cNvSpPr/>
          <p:nvPr/>
        </p:nvSpPr>
        <p:spPr>
          <a:xfrm>
            <a:off x="0" y="4952770"/>
            <a:ext cx="11034402" cy="190523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pic>
        <p:nvPicPr>
          <p:cNvPr id="23" name="Picture 4" descr="Valsts ugunsdzēsības un glābšanas dienests">
            <a:extLst>
              <a:ext uri="{FF2B5EF4-FFF2-40B4-BE49-F238E27FC236}">
                <a16:creationId xmlns:a16="http://schemas.microsoft.com/office/drawing/2014/main" id="{A53D7D9E-0DE9-6516-5146-F913966FB450}"/>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171195" y="5339519"/>
            <a:ext cx="1422523" cy="127847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F2523734-6987-9999-BFB1-A306BD772D6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02336" y="5185164"/>
            <a:ext cx="1566523" cy="1587180"/>
          </a:xfrm>
          <a:prstGeom prst="rect">
            <a:avLst/>
          </a:prstGeom>
        </p:spPr>
      </p:pic>
      <p:sp>
        <p:nvSpPr>
          <p:cNvPr id="26" name="TextBox 25">
            <a:extLst>
              <a:ext uri="{FF2B5EF4-FFF2-40B4-BE49-F238E27FC236}">
                <a16:creationId xmlns:a16="http://schemas.microsoft.com/office/drawing/2014/main" id="{E7547A2F-AE9E-271D-1AF9-55BAE6CCE9CE}"/>
              </a:ext>
            </a:extLst>
          </p:cNvPr>
          <p:cNvSpPr txBox="1"/>
          <p:nvPr/>
        </p:nvSpPr>
        <p:spPr>
          <a:xfrm>
            <a:off x="0" y="857851"/>
            <a:ext cx="10113199" cy="1415120"/>
          </a:xfrm>
          <a:prstGeom prst="rect">
            <a:avLst/>
          </a:prstGeom>
          <a:solidFill>
            <a:srgbClr val="525A72"/>
          </a:solidFill>
        </p:spPr>
        <p:txBody>
          <a:bodyPr wrap="square" lIns="468000" tIns="108000" rIns="108000" bIns="108000" anchor="ctr">
            <a:noAutofit/>
          </a:bodyPr>
          <a:lstStyle/>
          <a:p>
            <a:pPr>
              <a:lnSpc>
                <a:spcPct val="90000"/>
              </a:lnSpc>
            </a:pPr>
            <a:r>
              <a:rPr lang="lv-LV" sz="4000" dirty="0">
                <a:solidFill>
                  <a:schemeClr val="bg1"/>
                </a:solidFill>
                <a:latin typeface="+mj-lt"/>
              </a:rPr>
              <a:t>5. Katastrofu veidi, apdraudējuma riska novērtēšana un drošības pasākumi</a:t>
            </a:r>
          </a:p>
        </p:txBody>
      </p:sp>
      <p:sp>
        <p:nvSpPr>
          <p:cNvPr id="2" name="TextBox 1">
            <a:extLst>
              <a:ext uri="{FF2B5EF4-FFF2-40B4-BE49-F238E27FC236}">
                <a16:creationId xmlns:a16="http://schemas.microsoft.com/office/drawing/2014/main" id="{6B361641-B2C8-1D54-5E2A-B80A7C3D9D33}"/>
              </a:ext>
            </a:extLst>
          </p:cNvPr>
          <p:cNvSpPr txBox="1"/>
          <p:nvPr/>
        </p:nvSpPr>
        <p:spPr>
          <a:xfrm>
            <a:off x="0" y="435446"/>
            <a:ext cx="8940800" cy="422405"/>
          </a:xfrm>
          <a:prstGeom prst="rect">
            <a:avLst/>
          </a:prstGeom>
          <a:solidFill>
            <a:srgbClr val="CFD6E8"/>
          </a:solidFill>
        </p:spPr>
        <p:txBody>
          <a:bodyPr wrap="square" lIns="468000" tIns="72000" rIns="72000" bIns="72000">
            <a:spAutoFit/>
          </a:bodyPr>
          <a:lstStyle/>
          <a:p>
            <a:r>
              <a:rPr lang="lv-LV" dirty="0">
                <a:latin typeface="+mj-lt"/>
              </a:rPr>
              <a:t>Studiju kurss "Civilā aizsardzība"</a:t>
            </a:r>
            <a:endParaRPr lang="en-GB" dirty="0"/>
          </a:p>
        </p:txBody>
      </p:sp>
      <p:sp>
        <p:nvSpPr>
          <p:cNvPr id="9" name="TextBox 8">
            <a:extLst>
              <a:ext uri="{FF2B5EF4-FFF2-40B4-BE49-F238E27FC236}">
                <a16:creationId xmlns:a16="http://schemas.microsoft.com/office/drawing/2014/main" id="{E69B39FE-875A-489D-52D4-533D10EBC3B1}"/>
              </a:ext>
            </a:extLst>
          </p:cNvPr>
          <p:cNvSpPr txBox="1"/>
          <p:nvPr/>
        </p:nvSpPr>
        <p:spPr>
          <a:xfrm>
            <a:off x="442911" y="3456928"/>
            <a:ext cx="10113199" cy="1007181"/>
          </a:xfrm>
          <a:prstGeom prst="rect">
            <a:avLst/>
          </a:prstGeom>
          <a:noFill/>
        </p:spPr>
        <p:txBody>
          <a:bodyPr wrap="square" lIns="72000" tIns="72000" rIns="72000" bIns="72000">
            <a:spAutoFit/>
          </a:bodyPr>
          <a:lstStyle/>
          <a:p>
            <a:r>
              <a:rPr lang="lv-LV" sz="1400" b="0" i="0">
                <a:solidFill>
                  <a:schemeClr val="bg1"/>
                </a:solidFill>
                <a:effectLst/>
                <a:latin typeface="+mj-lt"/>
              </a:rPr>
              <a:t>Izstrādāts Eiropas Komisijas Civilās aizsardzības finanšu instrumenta „Track1” programmas projekta “Visaptverošas civilās aizsardzības un katastrofas pārvaldīšanas apmācības izveide valsts institūcijām, pašvaldību civilās aizsardzības komisijām, augstskolām, Ugunsdrošības un civilās aizsardzības koledžai, kā arī drošības padomu izveide sabiedrībai” (ECHO/SUB/2022/TRACK1/884396) ietvaros</a:t>
            </a:r>
            <a:endParaRPr lang="lv-LV" sz="1400">
              <a:solidFill>
                <a:schemeClr val="bg1"/>
              </a:solidFill>
              <a:latin typeface="+mj-lt"/>
            </a:endParaRPr>
          </a:p>
        </p:txBody>
      </p:sp>
    </p:spTree>
    <p:extLst>
      <p:ext uri="{BB962C8B-B14F-4D97-AF65-F5344CB8AC3E}">
        <p14:creationId xmlns:p14="http://schemas.microsoft.com/office/powerpoint/2010/main" val="13735547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01EB5CC6-22DC-65CA-3971-1B529156DAF5}"/>
              </a:ext>
            </a:extLst>
          </p:cNvPr>
          <p:cNvPicPr>
            <a:picLocks noGrp="1" noChangeAspect="1"/>
          </p:cNvPicPr>
          <p:nvPr>
            <p:ph type="pic" sz="quarter" idx="10"/>
          </p:nvPr>
        </p:nvPicPr>
        <p:blipFill rotWithShape="1">
          <a:blip r:embed="rId3"/>
          <a:srcRect t="31352" r="19121" b="12231"/>
          <a:stretch/>
        </p:blipFill>
        <p:spPr>
          <a:xfrm>
            <a:off x="4327525" y="0"/>
            <a:ext cx="7864475" cy="6858000"/>
          </a:xfrm>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p:nvPr>
        </p:nvSpPr>
        <p:spPr>
          <a:xfrm>
            <a:off x="442913" y="1893539"/>
            <a:ext cx="7418387" cy="2428875"/>
          </a:xfrm>
        </p:spPr>
        <p:txBody>
          <a:bodyPr vert="horz">
            <a:normAutofit/>
          </a:bodyPr>
          <a:lstStyle/>
          <a:p>
            <a:pPr>
              <a:lnSpc>
                <a:spcPct val="90000"/>
              </a:lnSpc>
            </a:pPr>
            <a:r>
              <a:rPr lang="lv-LV" sz="4000" dirty="0"/>
              <a:t>5</a:t>
            </a:r>
            <a:r>
              <a:rPr lang="lv-LV" sz="4000" dirty="0">
                <a:latin typeface="+mj-lt"/>
              </a:rPr>
              <a:t>.2. </a:t>
            </a:r>
            <a:r>
              <a:rPr lang="lv-LV" sz="4000" dirty="0">
                <a:cs typeface="Arial"/>
              </a:rPr>
              <a:t>Katastrofas pārvaldīšanas principi</a:t>
            </a:r>
            <a:endParaRPr lang="en-GB" sz="4000" dirty="0">
              <a:latin typeface="+mj-lt"/>
              <a:cs typeface="Arial"/>
            </a:endParaRPr>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6795216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68A857FA-F039-D655-36D8-0108AC975ED5}"/>
              </a:ext>
            </a:extLst>
          </p:cNvPr>
          <p:cNvSpPr>
            <a:spLocks noGrp="1"/>
          </p:cNvSpPr>
          <p:nvPr>
            <p:ph type="title"/>
          </p:nvPr>
        </p:nvSpPr>
        <p:spPr/>
        <p:txBody>
          <a:bodyPr vert="horz"/>
          <a:lstStyle/>
          <a:p>
            <a:r>
              <a:rPr lang="lv-LV"/>
              <a:t>Katastrofas pārvaldīšanas pasākumu kopums, kuri tiek veikti, lai nodrošinātu civilās aizsardzības uzdevumu izpildi</a:t>
            </a:r>
            <a:endParaRPr lang="en-US"/>
          </a:p>
        </p:txBody>
      </p:sp>
      <p:sp>
        <p:nvSpPr>
          <p:cNvPr id="26" name="Rectangle 25">
            <a:extLst>
              <a:ext uri="{FF2B5EF4-FFF2-40B4-BE49-F238E27FC236}">
                <a16:creationId xmlns:a16="http://schemas.microsoft.com/office/drawing/2014/main" id="{1607F7F1-1C72-FF33-F6D1-9CD3D5D23E51}"/>
              </a:ext>
            </a:extLst>
          </p:cNvPr>
          <p:cNvSpPr/>
          <p:nvPr/>
        </p:nvSpPr>
        <p:spPr>
          <a:xfrm rot="16200000">
            <a:off x="8977313" y="3400425"/>
            <a:ext cx="71438" cy="54737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7" name="Rectangle 26">
            <a:extLst>
              <a:ext uri="{FF2B5EF4-FFF2-40B4-BE49-F238E27FC236}">
                <a16:creationId xmlns:a16="http://schemas.microsoft.com/office/drawing/2014/main" id="{15984EE8-C9BB-B60C-BB13-33D33B1BFB30}"/>
              </a:ext>
            </a:extLst>
          </p:cNvPr>
          <p:cNvSpPr/>
          <p:nvPr/>
        </p:nvSpPr>
        <p:spPr>
          <a:xfrm>
            <a:off x="3449638" y="2636313"/>
            <a:ext cx="2474913" cy="638175"/>
          </a:xfrm>
          <a:prstGeom prst="rect">
            <a:avLst/>
          </a:prstGeom>
          <a:solidFill>
            <a:schemeClr val="bg1">
              <a:lumMod val="95000"/>
            </a:schemeClr>
          </a:solidFill>
          <a:ln w="25400" cap="flat" cmpd="sng" algn="ctr">
            <a:noFill/>
            <a:prstDash val="solid"/>
          </a:ln>
          <a:effectLst/>
        </p:spPr>
        <p:txBody>
          <a:bodyPr wrap="square" lIns="36000" tIns="36000" rIns="36000" bIns="36000" rtlCol="0" anchor="ctr">
            <a:noAutofit/>
          </a:bodyPr>
          <a:lstStyle/>
          <a:p>
            <a:pPr algn="ctr">
              <a:buClrTx/>
              <a:defRPr/>
            </a:pPr>
            <a:r>
              <a:rPr lang="lv-LV" sz="1600"/>
              <a:t>Gatavības pasākumi</a:t>
            </a:r>
          </a:p>
        </p:txBody>
      </p:sp>
      <p:sp>
        <p:nvSpPr>
          <p:cNvPr id="29" name="Rectangle 28">
            <a:extLst>
              <a:ext uri="{FF2B5EF4-FFF2-40B4-BE49-F238E27FC236}">
                <a16:creationId xmlns:a16="http://schemas.microsoft.com/office/drawing/2014/main" id="{22DC0F7F-BD66-DF56-4F98-E93B8F0FCFE9}"/>
              </a:ext>
            </a:extLst>
          </p:cNvPr>
          <p:cNvSpPr/>
          <p:nvPr/>
        </p:nvSpPr>
        <p:spPr>
          <a:xfrm>
            <a:off x="450850" y="2636313"/>
            <a:ext cx="2474913" cy="638175"/>
          </a:xfrm>
          <a:prstGeom prst="rect">
            <a:avLst/>
          </a:prstGeom>
          <a:solidFill>
            <a:schemeClr val="bg1">
              <a:lumMod val="95000"/>
            </a:schemeClr>
          </a:solidFill>
          <a:ln w="25400" cap="flat" cmpd="sng" algn="ctr">
            <a:noFill/>
            <a:prstDash val="solid"/>
          </a:ln>
          <a:effectLst/>
        </p:spPr>
        <p:txBody>
          <a:bodyPr wrap="square" lIns="36000" tIns="36000" rIns="36000" bIns="36000" rtlCol="0" anchor="ctr">
            <a:noAutofit/>
          </a:bodyPr>
          <a:lstStyle/>
          <a:p>
            <a:pPr algn="ctr">
              <a:buClrTx/>
              <a:defRPr/>
            </a:pPr>
            <a:r>
              <a:rPr lang="lv-LV" sz="1600"/>
              <a:t>Preventīvie pasākumi</a:t>
            </a:r>
          </a:p>
        </p:txBody>
      </p:sp>
      <p:sp>
        <p:nvSpPr>
          <p:cNvPr id="30" name="Rectangle 29">
            <a:extLst>
              <a:ext uri="{FF2B5EF4-FFF2-40B4-BE49-F238E27FC236}">
                <a16:creationId xmlns:a16="http://schemas.microsoft.com/office/drawing/2014/main" id="{A2195644-7FE7-004F-5A00-A8977CAFA56E}"/>
              </a:ext>
            </a:extLst>
          </p:cNvPr>
          <p:cNvSpPr/>
          <p:nvPr/>
        </p:nvSpPr>
        <p:spPr>
          <a:xfrm>
            <a:off x="1759267" y="5534026"/>
            <a:ext cx="2474913" cy="638175"/>
          </a:xfrm>
          <a:prstGeom prst="rect">
            <a:avLst/>
          </a:prstGeom>
          <a:solidFill>
            <a:schemeClr val="bg1">
              <a:lumMod val="95000"/>
            </a:schemeClr>
          </a:solidFill>
          <a:ln w="25400" cap="flat" cmpd="sng" algn="ctr">
            <a:noFill/>
            <a:prstDash val="solid"/>
          </a:ln>
          <a:effectLst/>
        </p:spPr>
        <p:txBody>
          <a:bodyPr wrap="square" lIns="36000" tIns="36000" rIns="36000" bIns="36000" rtlCol="0" anchor="ctr">
            <a:noAutofit/>
          </a:bodyPr>
          <a:lstStyle/>
          <a:p>
            <a:pPr algn="ctr">
              <a:buClrTx/>
              <a:defRPr/>
            </a:pPr>
            <a:r>
              <a:rPr lang="lv-LV" sz="1600"/>
              <a:t>Seku likvidēšanas</a:t>
            </a:r>
          </a:p>
          <a:p>
            <a:pPr algn="ctr">
              <a:buClrTx/>
              <a:defRPr/>
            </a:pPr>
            <a:r>
              <a:rPr lang="lv-LV" sz="1600"/>
              <a:t>pasākumi</a:t>
            </a:r>
          </a:p>
        </p:txBody>
      </p:sp>
      <p:sp>
        <p:nvSpPr>
          <p:cNvPr id="31" name="Rectangle 30">
            <a:extLst>
              <a:ext uri="{FF2B5EF4-FFF2-40B4-BE49-F238E27FC236}">
                <a16:creationId xmlns:a16="http://schemas.microsoft.com/office/drawing/2014/main" id="{4AA2E851-1C50-1074-E2C6-39B51A56ADCD}"/>
              </a:ext>
            </a:extLst>
          </p:cNvPr>
          <p:cNvSpPr/>
          <p:nvPr/>
        </p:nvSpPr>
        <p:spPr>
          <a:xfrm>
            <a:off x="4244976" y="4169646"/>
            <a:ext cx="1671638" cy="637849"/>
          </a:xfrm>
          <a:prstGeom prst="rect">
            <a:avLst/>
          </a:prstGeom>
          <a:solidFill>
            <a:schemeClr val="bg1">
              <a:lumMod val="95000"/>
            </a:schemeClr>
          </a:solidFill>
          <a:ln w="25400" cap="flat" cmpd="sng" algn="ctr">
            <a:noFill/>
            <a:prstDash val="solid"/>
          </a:ln>
          <a:effectLst/>
        </p:spPr>
        <p:txBody>
          <a:bodyPr wrap="square" lIns="72000" tIns="72000" rIns="72000" bIns="72000" rtlCol="0" anchor="ctr">
            <a:noAutofit/>
          </a:bodyPr>
          <a:lstStyle/>
          <a:p>
            <a:pPr algn="ctr">
              <a:buClrTx/>
              <a:defRPr/>
            </a:pPr>
            <a:r>
              <a:rPr lang="lv-LV" sz="1600"/>
              <a:t>Reaģēšanas</a:t>
            </a:r>
          </a:p>
          <a:p>
            <a:pPr algn="ctr">
              <a:buClrTx/>
              <a:defRPr/>
            </a:pPr>
            <a:r>
              <a:rPr lang="lv-LV" sz="1600"/>
              <a:t>pasākumi</a:t>
            </a:r>
          </a:p>
        </p:txBody>
      </p:sp>
      <p:sp>
        <p:nvSpPr>
          <p:cNvPr id="32" name="Rectangle 31">
            <a:extLst>
              <a:ext uri="{FF2B5EF4-FFF2-40B4-BE49-F238E27FC236}">
                <a16:creationId xmlns:a16="http://schemas.microsoft.com/office/drawing/2014/main" id="{8A224914-0B0F-18E4-7544-B750500D16F7}"/>
              </a:ext>
            </a:extLst>
          </p:cNvPr>
          <p:cNvSpPr/>
          <p:nvPr/>
        </p:nvSpPr>
        <p:spPr>
          <a:xfrm>
            <a:off x="450850" y="4169646"/>
            <a:ext cx="1672159" cy="637849"/>
          </a:xfrm>
          <a:prstGeom prst="rect">
            <a:avLst/>
          </a:prstGeom>
          <a:solidFill>
            <a:schemeClr val="bg1">
              <a:lumMod val="95000"/>
            </a:schemeClr>
          </a:solidFill>
          <a:ln w="25400" cap="flat" cmpd="sng" algn="ctr">
            <a:noFill/>
            <a:prstDash val="solid"/>
          </a:ln>
          <a:effectLst/>
        </p:spPr>
        <p:txBody>
          <a:bodyPr wrap="square" lIns="72000" tIns="72000" rIns="72000" bIns="72000" rtlCol="0" anchor="ctr">
            <a:noAutofit/>
          </a:bodyPr>
          <a:lstStyle/>
          <a:p>
            <a:pPr algn="ctr">
              <a:buClrTx/>
              <a:defRPr/>
            </a:pPr>
            <a:r>
              <a:rPr lang="lv-LV" sz="1600"/>
              <a:t>Atjaunošanas</a:t>
            </a:r>
          </a:p>
          <a:p>
            <a:pPr algn="ctr">
              <a:buClrTx/>
              <a:defRPr/>
            </a:pPr>
            <a:r>
              <a:rPr lang="lv-LV" sz="1600"/>
              <a:t>pasākumi</a:t>
            </a:r>
          </a:p>
        </p:txBody>
      </p:sp>
      <p:sp>
        <p:nvSpPr>
          <p:cNvPr id="33" name="Rectangle 32">
            <a:extLst>
              <a:ext uri="{FF2B5EF4-FFF2-40B4-BE49-F238E27FC236}">
                <a16:creationId xmlns:a16="http://schemas.microsoft.com/office/drawing/2014/main" id="{95E4BD4E-B554-1845-8B82-E05522B519FA}"/>
              </a:ext>
            </a:extLst>
          </p:cNvPr>
          <p:cNvSpPr/>
          <p:nvPr/>
        </p:nvSpPr>
        <p:spPr>
          <a:xfrm>
            <a:off x="2348173" y="4169646"/>
            <a:ext cx="1671638" cy="637849"/>
          </a:xfrm>
          <a:prstGeom prst="rect">
            <a:avLst/>
          </a:prstGeom>
          <a:solidFill>
            <a:srgbClr val="525A72"/>
          </a:solidFill>
          <a:ln w="25400" cap="flat" cmpd="sng" algn="ctr">
            <a:noFill/>
            <a:prstDash val="solid"/>
          </a:ln>
          <a:effectLst/>
        </p:spPr>
        <p:txBody>
          <a:bodyPr wrap="square" lIns="72000" tIns="72000" rIns="72000" bIns="72000" rtlCol="0" anchor="ctr">
            <a:noAutofit/>
          </a:bodyPr>
          <a:lstStyle/>
          <a:p>
            <a:pPr algn="ctr">
              <a:buClrTx/>
              <a:defRPr/>
            </a:pPr>
            <a:r>
              <a:rPr lang="lv-LV" sz="1600">
                <a:solidFill>
                  <a:schemeClr val="bg1"/>
                </a:solidFill>
              </a:rPr>
              <a:t>Katastrofu</a:t>
            </a:r>
          </a:p>
          <a:p>
            <a:pPr algn="ctr">
              <a:buClrTx/>
              <a:defRPr/>
            </a:pPr>
            <a:r>
              <a:rPr lang="lv-LV" sz="1600">
                <a:solidFill>
                  <a:schemeClr val="bg1"/>
                </a:solidFill>
              </a:rPr>
              <a:t>pārvaldīšana</a:t>
            </a:r>
          </a:p>
        </p:txBody>
      </p:sp>
      <p:sp>
        <p:nvSpPr>
          <p:cNvPr id="34" name="TextBox 33">
            <a:extLst>
              <a:ext uri="{FF2B5EF4-FFF2-40B4-BE49-F238E27FC236}">
                <a16:creationId xmlns:a16="http://schemas.microsoft.com/office/drawing/2014/main" id="{AE274C7E-C9F8-C153-DCD4-02857A1ACE02}"/>
              </a:ext>
            </a:extLst>
          </p:cNvPr>
          <p:cNvSpPr txBox="1"/>
          <p:nvPr/>
        </p:nvSpPr>
        <p:spPr>
          <a:xfrm>
            <a:off x="5229444" y="4015758"/>
            <a:ext cx="684483" cy="153888"/>
          </a:xfrm>
          <a:prstGeom prst="rect">
            <a:avLst/>
          </a:prstGeom>
          <a:noFill/>
        </p:spPr>
        <p:txBody>
          <a:bodyPr wrap="none" lIns="0" tIns="0" rIns="0" bIns="0" anchor="ctr">
            <a:spAutoFit/>
          </a:bodyPr>
          <a:lstStyle/>
          <a:p>
            <a:pPr defTabSz="822960">
              <a:spcAft>
                <a:spcPts val="270"/>
              </a:spcAft>
              <a:defRPr/>
            </a:pPr>
            <a:r>
              <a:rPr lang="lv-LV" sz="1000" b="1">
                <a:solidFill>
                  <a:srgbClr val="000000"/>
                </a:solidFill>
                <a:ea typeface="Times New Roman" panose="02020603050405020304" pitchFamily="18" charset="0"/>
                <a:cs typeface="Times New Roman" panose="02020603050405020304" pitchFamily="18" charset="0"/>
              </a:rPr>
              <a:t>NOTIKUMS</a:t>
            </a:r>
          </a:p>
        </p:txBody>
      </p:sp>
      <p:cxnSp>
        <p:nvCxnSpPr>
          <p:cNvPr id="59" name="Straight Arrow Connector 58">
            <a:extLst>
              <a:ext uri="{FF2B5EF4-FFF2-40B4-BE49-F238E27FC236}">
                <a16:creationId xmlns:a16="http://schemas.microsoft.com/office/drawing/2014/main" id="{080656EA-CA32-EA83-16A6-89DAA75EEADC}"/>
              </a:ext>
            </a:extLst>
          </p:cNvPr>
          <p:cNvCxnSpPr/>
          <p:nvPr/>
        </p:nvCxnSpPr>
        <p:spPr>
          <a:xfrm>
            <a:off x="2934393" y="2963962"/>
            <a:ext cx="515245" cy="0"/>
          </a:xfrm>
          <a:prstGeom prst="straightConnector1">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61" name="Straight Arrow Connector 60">
            <a:extLst>
              <a:ext uri="{FF2B5EF4-FFF2-40B4-BE49-F238E27FC236}">
                <a16:creationId xmlns:a16="http://schemas.microsoft.com/office/drawing/2014/main" id="{EDDDF744-C4BB-915A-E6E9-779FBDCB621C}"/>
              </a:ext>
            </a:extLst>
          </p:cNvPr>
          <p:cNvCxnSpPr>
            <a:cxnSpLocks/>
            <a:endCxn id="31" idx="0"/>
          </p:cNvCxnSpPr>
          <p:nvPr/>
        </p:nvCxnSpPr>
        <p:spPr>
          <a:xfrm>
            <a:off x="5080795" y="3274244"/>
            <a:ext cx="0" cy="895402"/>
          </a:xfrm>
          <a:prstGeom prst="straightConnector1">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63" name="Straight Arrow Connector 62">
            <a:extLst>
              <a:ext uri="{FF2B5EF4-FFF2-40B4-BE49-F238E27FC236}">
                <a16:creationId xmlns:a16="http://schemas.microsoft.com/office/drawing/2014/main" id="{E7FE51D5-B22B-39F1-B3B0-76BC875E88B0}"/>
              </a:ext>
            </a:extLst>
          </p:cNvPr>
          <p:cNvCxnSpPr>
            <a:cxnSpLocks/>
            <a:stCxn id="32" idx="0"/>
          </p:cNvCxnSpPr>
          <p:nvPr/>
        </p:nvCxnSpPr>
        <p:spPr>
          <a:xfrm flipV="1">
            <a:off x="1286930" y="3274244"/>
            <a:ext cx="0" cy="895402"/>
          </a:xfrm>
          <a:prstGeom prst="straightConnector1">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25" name="Connector: Elbow 1024">
            <a:extLst>
              <a:ext uri="{FF2B5EF4-FFF2-40B4-BE49-F238E27FC236}">
                <a16:creationId xmlns:a16="http://schemas.microsoft.com/office/drawing/2014/main" id="{434C3596-23D8-1100-6792-128CE3F52FA2}"/>
              </a:ext>
            </a:extLst>
          </p:cNvPr>
          <p:cNvCxnSpPr>
            <a:cxnSpLocks/>
            <a:stCxn id="31" idx="2"/>
            <a:endCxn id="30" idx="3"/>
          </p:cNvCxnSpPr>
          <p:nvPr/>
        </p:nvCxnSpPr>
        <p:spPr>
          <a:xfrm rot="5400000">
            <a:off x="4134679" y="4906997"/>
            <a:ext cx="1045619" cy="846615"/>
          </a:xfrm>
          <a:prstGeom prst="bentConnector2">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28" name="Connector: Elbow 1027">
            <a:extLst>
              <a:ext uri="{FF2B5EF4-FFF2-40B4-BE49-F238E27FC236}">
                <a16:creationId xmlns:a16="http://schemas.microsoft.com/office/drawing/2014/main" id="{BC80B717-DBCE-A0DC-53C8-F511A5B51EED}"/>
              </a:ext>
            </a:extLst>
          </p:cNvPr>
          <p:cNvCxnSpPr>
            <a:cxnSpLocks/>
            <a:stCxn id="30" idx="1"/>
            <a:endCxn id="32" idx="2"/>
          </p:cNvCxnSpPr>
          <p:nvPr/>
        </p:nvCxnSpPr>
        <p:spPr>
          <a:xfrm rot="10800000">
            <a:off x="1286931" y="4807496"/>
            <a:ext cx="472337" cy="1045619"/>
          </a:xfrm>
          <a:prstGeom prst="bentConnector2">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sp>
        <p:nvSpPr>
          <p:cNvPr id="1029" name="Rectangle 1028">
            <a:extLst>
              <a:ext uri="{FF2B5EF4-FFF2-40B4-BE49-F238E27FC236}">
                <a16:creationId xmlns:a16="http://schemas.microsoft.com/office/drawing/2014/main" id="{138DAF56-3BB3-5618-C2A9-CA2840884100}"/>
              </a:ext>
            </a:extLst>
          </p:cNvPr>
          <p:cNvSpPr/>
          <p:nvPr/>
        </p:nvSpPr>
        <p:spPr>
          <a:xfrm>
            <a:off x="450850" y="2636313"/>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30" name="Rectangle 1029">
            <a:extLst>
              <a:ext uri="{FF2B5EF4-FFF2-40B4-BE49-F238E27FC236}">
                <a16:creationId xmlns:a16="http://schemas.microsoft.com/office/drawing/2014/main" id="{DA9567F8-09A8-7F7E-2290-A19597F1D3F8}"/>
              </a:ext>
            </a:extLst>
          </p:cNvPr>
          <p:cNvSpPr/>
          <p:nvPr/>
        </p:nvSpPr>
        <p:spPr>
          <a:xfrm>
            <a:off x="3449638" y="2636313"/>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31" name="Rectangle 1030">
            <a:extLst>
              <a:ext uri="{FF2B5EF4-FFF2-40B4-BE49-F238E27FC236}">
                <a16:creationId xmlns:a16="http://schemas.microsoft.com/office/drawing/2014/main" id="{0DA85A8D-077A-1486-D9A3-9245CB6A490B}"/>
              </a:ext>
            </a:extLst>
          </p:cNvPr>
          <p:cNvSpPr/>
          <p:nvPr/>
        </p:nvSpPr>
        <p:spPr>
          <a:xfrm>
            <a:off x="4244976" y="4169320"/>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32" name="Rectangle 1031">
            <a:extLst>
              <a:ext uri="{FF2B5EF4-FFF2-40B4-BE49-F238E27FC236}">
                <a16:creationId xmlns:a16="http://schemas.microsoft.com/office/drawing/2014/main" id="{A4DB1FDE-C313-B79E-FA88-34994B68B90E}"/>
              </a:ext>
            </a:extLst>
          </p:cNvPr>
          <p:cNvSpPr/>
          <p:nvPr/>
        </p:nvSpPr>
        <p:spPr>
          <a:xfrm>
            <a:off x="450850" y="4169320"/>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33" name="Rectangle 1032">
            <a:extLst>
              <a:ext uri="{FF2B5EF4-FFF2-40B4-BE49-F238E27FC236}">
                <a16:creationId xmlns:a16="http://schemas.microsoft.com/office/drawing/2014/main" id="{C153FC83-5E11-78B8-0FB8-C4C70CC079D2}"/>
              </a:ext>
            </a:extLst>
          </p:cNvPr>
          <p:cNvSpPr/>
          <p:nvPr/>
        </p:nvSpPr>
        <p:spPr>
          <a:xfrm>
            <a:off x="1759267" y="5533777"/>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35" name="Slide Number Placeholder 3">
            <a:extLst>
              <a:ext uri="{FF2B5EF4-FFF2-40B4-BE49-F238E27FC236}">
                <a16:creationId xmlns:a16="http://schemas.microsoft.com/office/drawing/2014/main" id="{9ADE683B-E8DD-0456-EA23-3FB1B5D9F04E}"/>
              </a:ext>
            </a:extLst>
          </p:cNvPr>
          <p:cNvSpPr>
            <a:spLocks noGrp="1"/>
          </p:cNvSpPr>
          <p:nvPr>
            <p:ph type="sldNum" sz="quarter" idx="11"/>
          </p:nvPr>
        </p:nvSpPr>
        <p:spPr>
          <a:xfrm>
            <a:off x="9983788" y="6492875"/>
            <a:ext cx="1765300" cy="136525"/>
          </a:xfrm>
        </p:spPr>
        <p:txBody>
          <a:bodyPr/>
          <a:lstStyle/>
          <a:p>
            <a:fld id="{7870704B-CE94-48CC-AF30-84932A1262A7}" type="slidenum">
              <a:rPr lang="en-GB" smtClean="0"/>
              <a:pPr/>
              <a:t>11</a:t>
            </a:fld>
            <a:endParaRPr lang="en-GB"/>
          </a:p>
        </p:txBody>
      </p:sp>
      <p:sp>
        <p:nvSpPr>
          <p:cNvPr id="8" name="Rectangle 7">
            <a:extLst>
              <a:ext uri="{FF2B5EF4-FFF2-40B4-BE49-F238E27FC236}">
                <a16:creationId xmlns:a16="http://schemas.microsoft.com/office/drawing/2014/main" id="{9BD67A22-D86F-7BD8-3A81-31954ADD6283}"/>
              </a:ext>
            </a:extLst>
          </p:cNvPr>
          <p:cNvSpPr/>
          <p:nvPr/>
        </p:nvSpPr>
        <p:spPr>
          <a:xfrm>
            <a:off x="1031875" y="1829210"/>
            <a:ext cx="10717212" cy="58559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marL="0" indent="0">
              <a:spcAft>
                <a:spcPts val="600"/>
              </a:spcAft>
              <a:buNone/>
            </a:pPr>
            <a:r>
              <a:rPr lang="lv-LV" altLang="lv-LV" sz="1400" b="1">
                <a:solidFill>
                  <a:schemeClr val="tx1"/>
                </a:solidFill>
                <a:cs typeface="Arial"/>
              </a:rPr>
              <a:t>Katastrofas pārvaldīšana </a:t>
            </a:r>
            <a:r>
              <a:rPr lang="lv-LV" altLang="lv-LV" sz="1400">
                <a:solidFill>
                  <a:schemeClr val="tx1"/>
                </a:solidFill>
                <a:cs typeface="Arial"/>
              </a:rPr>
              <a:t>– tādu vadītu un koordinētu preventīvo, gatavības, reaģēšanas, seku likvidēšanas pasākumu, kā arī atjaunošanas pasākumu kopums, kuri tiek veikti, lai nodrošinātu civilās aizsardzības uzdevumu izpildi </a:t>
            </a:r>
          </a:p>
        </p:txBody>
      </p:sp>
      <p:sp>
        <p:nvSpPr>
          <p:cNvPr id="9" name="Rectangle 8">
            <a:extLst>
              <a:ext uri="{FF2B5EF4-FFF2-40B4-BE49-F238E27FC236}">
                <a16:creationId xmlns:a16="http://schemas.microsoft.com/office/drawing/2014/main" id="{A97DF582-0037-7FA2-D4D8-4A8568682683}"/>
              </a:ext>
            </a:extLst>
          </p:cNvPr>
          <p:cNvSpPr/>
          <p:nvPr/>
        </p:nvSpPr>
        <p:spPr>
          <a:xfrm>
            <a:off x="441325" y="1829014"/>
            <a:ext cx="586800" cy="5857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 name="Freeform 20">
            <a:extLst>
              <a:ext uri="{FF2B5EF4-FFF2-40B4-BE49-F238E27FC236}">
                <a16:creationId xmlns:a16="http://schemas.microsoft.com/office/drawing/2014/main" id="{E566CE8A-64C9-AD1F-35CF-3FDE1EA618BF}"/>
              </a:ext>
            </a:extLst>
          </p:cNvPr>
          <p:cNvSpPr>
            <a:spLocks noChangeAspect="1" noEditPoints="1"/>
          </p:cNvSpPr>
          <p:nvPr/>
        </p:nvSpPr>
        <p:spPr bwMode="auto">
          <a:xfrm>
            <a:off x="506414" y="1893308"/>
            <a:ext cx="455613" cy="4572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2 w 346"/>
              <a:gd name="T11" fmla="*/ 331 h 346"/>
              <a:gd name="T12" fmla="*/ 15 w 346"/>
              <a:gd name="T13" fmla="*/ 331 h 346"/>
              <a:gd name="T14" fmla="*/ 15 w 346"/>
              <a:gd name="T15" fmla="*/ 15 h 346"/>
              <a:gd name="T16" fmla="*/ 332 w 346"/>
              <a:gd name="T17" fmla="*/ 15 h 346"/>
              <a:gd name="T18" fmla="*/ 332 w 346"/>
              <a:gd name="T19" fmla="*/ 331 h 346"/>
              <a:gd name="T20" fmla="*/ 80 w 346"/>
              <a:gd name="T21" fmla="*/ 145 h 346"/>
              <a:gd name="T22" fmla="*/ 32 w 346"/>
              <a:gd name="T23" fmla="*/ 239 h 346"/>
              <a:gd name="T24" fmla="*/ 127 w 346"/>
              <a:gd name="T25" fmla="*/ 239 h 346"/>
              <a:gd name="T26" fmla="*/ 80 w 346"/>
              <a:gd name="T27" fmla="*/ 145 h 346"/>
              <a:gd name="T28" fmla="*/ 80 w 346"/>
              <a:gd name="T29" fmla="*/ 178 h 346"/>
              <a:gd name="T30" fmla="*/ 103 w 346"/>
              <a:gd name="T31" fmla="*/ 224 h 346"/>
              <a:gd name="T32" fmla="*/ 56 w 346"/>
              <a:gd name="T33" fmla="*/ 224 h 346"/>
              <a:gd name="T34" fmla="*/ 80 w 346"/>
              <a:gd name="T35" fmla="*/ 178 h 346"/>
              <a:gd name="T36" fmla="*/ 219 w 346"/>
              <a:gd name="T37" fmla="*/ 195 h 346"/>
              <a:gd name="T38" fmla="*/ 315 w 346"/>
              <a:gd name="T39" fmla="*/ 195 h 346"/>
              <a:gd name="T40" fmla="*/ 267 w 346"/>
              <a:gd name="T41" fmla="*/ 101 h 346"/>
              <a:gd name="T42" fmla="*/ 219 w 346"/>
              <a:gd name="T43" fmla="*/ 195 h 346"/>
              <a:gd name="T44" fmla="*/ 243 w 346"/>
              <a:gd name="T45" fmla="*/ 180 h 346"/>
              <a:gd name="T46" fmla="*/ 267 w 346"/>
              <a:gd name="T47" fmla="*/ 133 h 346"/>
              <a:gd name="T48" fmla="*/ 291 w 346"/>
              <a:gd name="T49" fmla="*/ 180 h 346"/>
              <a:gd name="T50" fmla="*/ 243 w 346"/>
              <a:gd name="T51" fmla="*/ 180 h 346"/>
              <a:gd name="T52" fmla="*/ 83 w 346"/>
              <a:gd name="T53" fmla="*/ 104 h 346"/>
              <a:gd name="T54" fmla="*/ 136 w 346"/>
              <a:gd name="T55" fmla="*/ 95 h 346"/>
              <a:gd name="T56" fmla="*/ 164 w 346"/>
              <a:gd name="T57" fmla="*/ 119 h 346"/>
              <a:gd name="T58" fmla="*/ 164 w 346"/>
              <a:gd name="T59" fmla="*/ 295 h 346"/>
              <a:gd name="T60" fmla="*/ 120 w 346"/>
              <a:gd name="T61" fmla="*/ 295 h 346"/>
              <a:gd name="T62" fmla="*/ 120 w 346"/>
              <a:gd name="T63" fmla="*/ 310 h 346"/>
              <a:gd name="T64" fmla="*/ 227 w 346"/>
              <a:gd name="T65" fmla="*/ 310 h 346"/>
              <a:gd name="T66" fmla="*/ 227 w 346"/>
              <a:gd name="T67" fmla="*/ 295 h 346"/>
              <a:gd name="T68" fmla="*/ 179 w 346"/>
              <a:gd name="T69" fmla="*/ 295 h 346"/>
              <a:gd name="T70" fmla="*/ 179 w 346"/>
              <a:gd name="T71" fmla="*/ 119 h 346"/>
              <a:gd name="T72" fmla="*/ 210 w 346"/>
              <a:gd name="T73" fmla="*/ 81 h 346"/>
              <a:gd name="T74" fmla="*/ 210 w 346"/>
              <a:gd name="T75" fmla="*/ 81 h 346"/>
              <a:gd name="T76" fmla="*/ 260 w 346"/>
              <a:gd name="T77" fmla="*/ 71 h 346"/>
              <a:gd name="T78" fmla="*/ 260 w 346"/>
              <a:gd name="T79" fmla="*/ 81 h 346"/>
              <a:gd name="T80" fmla="*/ 275 w 346"/>
              <a:gd name="T81" fmla="*/ 81 h 346"/>
              <a:gd name="T82" fmla="*/ 275 w 346"/>
              <a:gd name="T83" fmla="*/ 54 h 346"/>
              <a:gd name="T84" fmla="*/ 207 w 346"/>
              <a:gd name="T85" fmla="*/ 66 h 346"/>
              <a:gd name="T86" fmla="*/ 172 w 346"/>
              <a:gd name="T87" fmla="*/ 43 h 346"/>
              <a:gd name="T88" fmla="*/ 133 w 346"/>
              <a:gd name="T89" fmla="*/ 80 h 346"/>
              <a:gd name="T90" fmla="*/ 68 w 346"/>
              <a:gd name="T91" fmla="*/ 92 h 346"/>
              <a:gd name="T92" fmla="*/ 68 w 346"/>
              <a:gd name="T93" fmla="*/ 121 h 346"/>
              <a:gd name="T94" fmla="*/ 83 w 346"/>
              <a:gd name="T95" fmla="*/ 121 h 346"/>
              <a:gd name="T96" fmla="*/ 83 w 346"/>
              <a:gd name="T97" fmla="*/ 104 h 346"/>
              <a:gd name="T98" fmla="*/ 172 w 346"/>
              <a:gd name="T99" fmla="*/ 58 h 346"/>
              <a:gd name="T100" fmla="*/ 195 w 346"/>
              <a:gd name="T101" fmla="*/ 81 h 346"/>
              <a:gd name="T102" fmla="*/ 172 w 346"/>
              <a:gd name="T103" fmla="*/ 105 h 346"/>
              <a:gd name="T104" fmla="*/ 148 w 346"/>
              <a:gd name="T105" fmla="*/ 81 h 346"/>
              <a:gd name="T106" fmla="*/ 172 w 346"/>
              <a:gd name="T107" fmla="*/ 5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tx1"/>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a:solidFill>
                <a:schemeClr val="accent1"/>
              </a:solidFill>
            </a:endParaRPr>
          </a:p>
        </p:txBody>
      </p:sp>
      <p:sp>
        <p:nvSpPr>
          <p:cNvPr id="4" name="TextBox 3">
            <a:extLst>
              <a:ext uri="{FF2B5EF4-FFF2-40B4-BE49-F238E27FC236}">
                <a16:creationId xmlns:a16="http://schemas.microsoft.com/office/drawing/2014/main" id="{3811CC6E-BA17-D27E-F8DE-BBCC40A80142}"/>
              </a:ext>
            </a:extLst>
          </p:cNvPr>
          <p:cNvSpPr txBox="1"/>
          <p:nvPr/>
        </p:nvSpPr>
        <p:spPr>
          <a:xfrm>
            <a:off x="6276181" y="2636313"/>
            <a:ext cx="5473702" cy="2402413"/>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just"/>
            <a:r>
              <a:rPr lang="lv-LV" sz="1400" b="1" kern="100">
                <a:solidFill>
                  <a:schemeClr val="tx1"/>
                </a:solidFill>
                <a:effectLst/>
                <a:latin typeface="Arial" panose="020B0604020202020204" pitchFamily="34" charset="0"/>
                <a:cs typeface="Arial" panose="020B0604020202020204" pitchFamily="34" charset="0"/>
              </a:rPr>
              <a:t>Katastrofas pārvaldīšanu koordinē</a:t>
            </a:r>
            <a:r>
              <a:rPr lang="lv-LV" sz="1400" kern="100">
                <a:solidFill>
                  <a:schemeClr val="tx1"/>
                </a:solidFill>
                <a:effectLst/>
                <a:latin typeface="Arial" panose="020B0604020202020204" pitchFamily="34" charset="0"/>
                <a:cs typeface="Arial" panose="020B0604020202020204" pitchFamily="34" charset="0"/>
              </a:rPr>
              <a:t>:</a:t>
            </a:r>
            <a:endParaRPr lang="en-GB" sz="1400" kern="100">
              <a:solidFill>
                <a:schemeClr val="tx1"/>
              </a:solidFill>
              <a:effectLst/>
              <a:latin typeface="Arial" panose="020B0604020202020204" pitchFamily="34" charset="0"/>
              <a:cs typeface="Arial" panose="020B0604020202020204" pitchFamily="34" charset="0"/>
            </a:endParaRPr>
          </a:p>
          <a:p>
            <a:pPr marL="342900" lvl="0" indent="-342900" algn="just">
              <a:spcAft>
                <a:spcPts val="100"/>
              </a:spcAft>
              <a:buFont typeface="Symbol" panose="05050102010706020507" pitchFamily="18" charset="2"/>
              <a:buBlip>
                <a:blip r:embed="rId3"/>
              </a:buBlip>
            </a:pPr>
            <a:r>
              <a:rPr lang="lv-LV" sz="1400" kern="100">
                <a:solidFill>
                  <a:schemeClr val="tx1"/>
                </a:solidFill>
                <a:effectLst/>
                <a:latin typeface="Arial" panose="020B0604020202020204" pitchFamily="34" charset="0"/>
                <a:cs typeface="Arial" panose="020B0604020202020204" pitchFamily="34" charset="0"/>
              </a:rPr>
              <a:t>Aizsardzības ministrija</a:t>
            </a:r>
          </a:p>
          <a:p>
            <a:pPr marL="342900" lvl="0" indent="-342900" algn="just">
              <a:spcAft>
                <a:spcPts val="100"/>
              </a:spcAft>
              <a:buFont typeface="Symbol" panose="05050102010706020507" pitchFamily="18" charset="2"/>
              <a:buBlip>
                <a:blip r:embed="rId3"/>
              </a:buBlip>
            </a:pPr>
            <a:r>
              <a:rPr lang="lv-LV" sz="1400" kern="100">
                <a:solidFill>
                  <a:schemeClr val="tx1"/>
                </a:solidFill>
                <a:effectLst/>
                <a:latin typeface="Arial" panose="020B0604020202020204" pitchFamily="34" charset="0"/>
                <a:cs typeface="Arial" panose="020B0604020202020204" pitchFamily="34" charset="0"/>
              </a:rPr>
              <a:t>Ārlietu ministrija</a:t>
            </a:r>
          </a:p>
          <a:p>
            <a:pPr marL="342900" lvl="0" indent="-342900" algn="just">
              <a:spcAft>
                <a:spcPts val="100"/>
              </a:spcAft>
              <a:buFont typeface="Symbol" panose="05050102010706020507" pitchFamily="18" charset="2"/>
              <a:buBlip>
                <a:blip r:embed="rId3"/>
              </a:buBlip>
            </a:pPr>
            <a:r>
              <a:rPr lang="lv-LV" sz="1400" kern="100">
                <a:solidFill>
                  <a:schemeClr val="tx1"/>
                </a:solidFill>
                <a:effectLst/>
                <a:latin typeface="Arial" panose="020B0604020202020204" pitchFamily="34" charset="0"/>
                <a:cs typeface="Arial" panose="020B0604020202020204" pitchFamily="34" charset="0"/>
              </a:rPr>
              <a:t>Klimata un enerģētikas ministrija</a:t>
            </a:r>
          </a:p>
          <a:p>
            <a:pPr marL="342900" lvl="0" indent="-342900" algn="just">
              <a:spcAft>
                <a:spcPts val="100"/>
              </a:spcAft>
              <a:buFont typeface="Symbol" panose="05050102010706020507" pitchFamily="18" charset="2"/>
              <a:buBlip>
                <a:blip r:embed="rId3"/>
              </a:buBlip>
            </a:pPr>
            <a:r>
              <a:rPr lang="lv-LV" sz="1400" kern="100" err="1">
                <a:solidFill>
                  <a:schemeClr val="tx1"/>
                </a:solidFill>
                <a:effectLst/>
                <a:latin typeface="Arial" panose="020B0604020202020204" pitchFamily="34" charset="0"/>
                <a:cs typeface="Arial" panose="020B0604020202020204" pitchFamily="34" charset="0"/>
              </a:rPr>
              <a:t>Iekšlietu</a:t>
            </a:r>
            <a:r>
              <a:rPr lang="lv-LV" sz="1400" kern="100">
                <a:solidFill>
                  <a:schemeClr val="tx1"/>
                </a:solidFill>
                <a:effectLst/>
                <a:latin typeface="Arial" panose="020B0604020202020204" pitchFamily="34" charset="0"/>
                <a:cs typeface="Arial" panose="020B0604020202020204" pitchFamily="34" charset="0"/>
              </a:rPr>
              <a:t> ministrija</a:t>
            </a:r>
          </a:p>
          <a:p>
            <a:pPr marL="342900" lvl="0" indent="-342900" algn="just">
              <a:spcAft>
                <a:spcPts val="100"/>
              </a:spcAft>
              <a:buFont typeface="Symbol" panose="05050102010706020507" pitchFamily="18" charset="2"/>
              <a:buBlip>
                <a:blip r:embed="rId3"/>
              </a:buBlip>
            </a:pPr>
            <a:r>
              <a:rPr lang="lv-LV" sz="1400" kern="100">
                <a:solidFill>
                  <a:schemeClr val="tx1"/>
                </a:solidFill>
                <a:effectLst/>
                <a:latin typeface="Arial" panose="020B0604020202020204" pitchFamily="34" charset="0"/>
                <a:cs typeface="Arial" panose="020B0604020202020204" pitchFamily="34" charset="0"/>
              </a:rPr>
              <a:t>Vides aizsardzības un reģionālās attīstības ministrija</a:t>
            </a:r>
          </a:p>
          <a:p>
            <a:pPr marL="342900" lvl="0" indent="-342900" algn="just">
              <a:spcAft>
                <a:spcPts val="100"/>
              </a:spcAft>
              <a:buFont typeface="Symbol" panose="05050102010706020507" pitchFamily="18" charset="2"/>
              <a:buBlip>
                <a:blip r:embed="rId3"/>
              </a:buBlip>
            </a:pPr>
            <a:r>
              <a:rPr lang="lv-LV" sz="1400" kern="100">
                <a:solidFill>
                  <a:schemeClr val="tx1"/>
                </a:solidFill>
                <a:effectLst/>
                <a:latin typeface="Arial" panose="020B0604020202020204" pitchFamily="34" charset="0"/>
                <a:cs typeface="Arial" panose="020B0604020202020204" pitchFamily="34" charset="0"/>
              </a:rPr>
              <a:t>Satiksmes ministrija</a:t>
            </a:r>
          </a:p>
          <a:p>
            <a:pPr marL="342900" lvl="0" indent="-342900" algn="just">
              <a:spcAft>
                <a:spcPts val="100"/>
              </a:spcAft>
              <a:buFont typeface="Symbol" panose="05050102010706020507" pitchFamily="18" charset="2"/>
              <a:buBlip>
                <a:blip r:embed="rId3"/>
              </a:buBlip>
            </a:pPr>
            <a:r>
              <a:rPr lang="lv-LV" sz="1400" kern="100">
                <a:solidFill>
                  <a:schemeClr val="tx1"/>
                </a:solidFill>
                <a:effectLst/>
                <a:latin typeface="Arial" panose="020B0604020202020204" pitchFamily="34" charset="0"/>
                <a:cs typeface="Arial" panose="020B0604020202020204" pitchFamily="34" charset="0"/>
              </a:rPr>
              <a:t>Veselības ministrija</a:t>
            </a:r>
          </a:p>
          <a:p>
            <a:pPr marL="342900" lvl="0" indent="-342900" algn="just">
              <a:spcAft>
                <a:spcPts val="100"/>
              </a:spcAft>
              <a:buFont typeface="Symbol" panose="05050102010706020507" pitchFamily="18" charset="2"/>
              <a:buBlip>
                <a:blip r:embed="rId3"/>
              </a:buBlip>
            </a:pPr>
            <a:r>
              <a:rPr lang="lv-LV" sz="1400" kern="100">
                <a:solidFill>
                  <a:schemeClr val="tx1"/>
                </a:solidFill>
                <a:effectLst/>
                <a:latin typeface="Arial" panose="020B0604020202020204" pitchFamily="34" charset="0"/>
                <a:cs typeface="Arial" panose="020B0604020202020204" pitchFamily="34" charset="0"/>
              </a:rPr>
              <a:t>Zemkopības ministrija</a:t>
            </a:r>
          </a:p>
          <a:p>
            <a:pPr marL="342900" lvl="0" indent="-342900" algn="just">
              <a:spcAft>
                <a:spcPts val="100"/>
              </a:spcAft>
              <a:buFont typeface="Symbol" panose="05050102010706020507" pitchFamily="18" charset="2"/>
              <a:buBlip>
                <a:blip r:embed="rId3"/>
              </a:buBlip>
            </a:pPr>
            <a:r>
              <a:rPr lang="lv-LV" sz="1400" kern="100">
                <a:solidFill>
                  <a:schemeClr val="tx1"/>
                </a:solidFill>
                <a:effectLst/>
                <a:latin typeface="Arial" panose="020B0604020202020204" pitchFamily="34" charset="0"/>
                <a:cs typeface="Arial" panose="020B0604020202020204" pitchFamily="34" charset="0"/>
              </a:rPr>
              <a:t>pašvaldības</a:t>
            </a:r>
          </a:p>
        </p:txBody>
      </p:sp>
      <p:pic>
        <p:nvPicPr>
          <p:cNvPr id="16" name="Picture 15">
            <a:extLst>
              <a:ext uri="{FF2B5EF4-FFF2-40B4-BE49-F238E27FC236}">
                <a16:creationId xmlns:a16="http://schemas.microsoft.com/office/drawing/2014/main" id="{301BF128-1E73-DE1F-B720-7F9B1422279B}"/>
              </a:ext>
            </a:extLst>
          </p:cNvPr>
          <p:cNvPicPr>
            <a:picLocks/>
          </p:cNvPicPr>
          <p:nvPr/>
        </p:nvPicPr>
        <p:blipFill rotWithShape="1">
          <a:blip r:embed="rId4"/>
          <a:srcRect t="54432" b="14451"/>
          <a:stretch/>
        </p:blipFill>
        <p:spPr>
          <a:xfrm>
            <a:off x="6276181" y="5038726"/>
            <a:ext cx="5477256" cy="1060704"/>
          </a:xfrm>
          <a:prstGeom prst="rect">
            <a:avLst/>
          </a:prstGeom>
        </p:spPr>
      </p:pic>
      <p:grpSp>
        <p:nvGrpSpPr>
          <p:cNvPr id="18" name="Group 17">
            <a:extLst>
              <a:ext uri="{FF2B5EF4-FFF2-40B4-BE49-F238E27FC236}">
                <a16:creationId xmlns:a16="http://schemas.microsoft.com/office/drawing/2014/main" id="{7B62855D-4874-47E2-C8CB-C08BD503BEC3}"/>
              </a:ext>
            </a:extLst>
          </p:cNvPr>
          <p:cNvGrpSpPr/>
          <p:nvPr/>
        </p:nvGrpSpPr>
        <p:grpSpPr>
          <a:xfrm>
            <a:off x="8801780" y="159786"/>
            <a:ext cx="2947308" cy="217488"/>
            <a:chOff x="8559953" y="1390211"/>
            <a:chExt cx="2947308" cy="217488"/>
          </a:xfrm>
        </p:grpSpPr>
        <p:sp>
          <p:nvSpPr>
            <p:cNvPr id="3" name="Rectangle 2">
              <a:extLst>
                <a:ext uri="{FF2B5EF4-FFF2-40B4-BE49-F238E27FC236}">
                  <a16:creationId xmlns:a16="http://schemas.microsoft.com/office/drawing/2014/main" id="{68750462-EDFE-5212-F348-EBBAB98ABB4A}"/>
                </a:ext>
              </a:extLst>
            </p:cNvPr>
            <p:cNvSpPr/>
            <p:nvPr/>
          </p:nvSpPr>
          <p:spPr>
            <a:xfrm>
              <a:off x="8801780" y="1390211"/>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5</a:t>
              </a:r>
              <a:r>
                <a:rPr kumimoji="0" lang="lv-LV" sz="800" b="1" i="0" u="none" strike="noStrike" kern="0" cap="none" spc="0" normalizeH="0" baseline="0" dirty="0">
                  <a:ln>
                    <a:noFill/>
                  </a:ln>
                  <a:effectLst/>
                  <a:uLnTx/>
                  <a:uFillTx/>
                  <a:ea typeface="Georgia"/>
                  <a:cs typeface="Georgia"/>
                  <a:sym typeface="Georgia"/>
                </a:rPr>
                <a:t>.</a:t>
              </a:r>
              <a:r>
                <a:rPr kumimoji="0" lang="en-US" sz="800" b="1" i="0" u="none" strike="noStrike" kern="0" cap="none" spc="0" normalizeH="0" baseline="0" dirty="0">
                  <a:ln>
                    <a:noFill/>
                  </a:ln>
                  <a:effectLst/>
                  <a:uLnTx/>
                  <a:uFillTx/>
                  <a:ea typeface="Georgia"/>
                  <a:cs typeface="Georgia"/>
                  <a:sym typeface="Georgia"/>
                </a:rPr>
                <a:t>2</a:t>
              </a:r>
              <a:endParaRPr kumimoji="0" lang="lv-LV" sz="800" b="1" i="0" u="none" strike="noStrike" kern="0" cap="none" spc="0" normalizeH="0" baseline="0" dirty="0">
                <a:ln>
                  <a:noFill/>
                </a:ln>
                <a:effectLst/>
                <a:uLnTx/>
                <a:uFillTx/>
                <a:ea typeface="Georgia"/>
                <a:cs typeface="Georgia"/>
                <a:sym typeface="Georgia"/>
              </a:endParaRPr>
            </a:p>
          </p:txBody>
        </p:sp>
        <p:sp>
          <p:nvSpPr>
            <p:cNvPr id="5" name="Rectangle 4">
              <a:extLst>
                <a:ext uri="{FF2B5EF4-FFF2-40B4-BE49-F238E27FC236}">
                  <a16:creationId xmlns:a16="http://schemas.microsoft.com/office/drawing/2014/main" id="{6DF3A74B-47B0-304E-9C1E-248762D0F3F0}"/>
                </a:ext>
              </a:extLst>
            </p:cNvPr>
            <p:cNvSpPr/>
            <p:nvPr/>
          </p:nvSpPr>
          <p:spPr>
            <a:xfrm>
              <a:off x="11049434" y="13902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3</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6" name="Rectangle 5">
              <a:extLst>
                <a:ext uri="{FF2B5EF4-FFF2-40B4-BE49-F238E27FC236}">
                  <a16:creationId xmlns:a16="http://schemas.microsoft.com/office/drawing/2014/main" id="{69D2C3FF-E990-8EB4-FE27-0F0B2D445313}"/>
                </a:ext>
              </a:extLst>
            </p:cNvPr>
            <p:cNvSpPr/>
            <p:nvPr/>
          </p:nvSpPr>
          <p:spPr>
            <a:xfrm>
              <a:off x="9043607" y="1390211"/>
              <a:ext cx="198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err="1">
                  <a:ln>
                    <a:noFill/>
                  </a:ln>
                  <a:effectLst/>
                  <a:uLnTx/>
                  <a:uFillTx/>
                  <a:ea typeface="Georgia"/>
                  <a:cs typeface="Georgia"/>
                  <a:sym typeface="Georgia"/>
                </a:rPr>
                <a:t>Katastrofas</a:t>
              </a:r>
              <a:r>
                <a:rPr kumimoji="0" lang="en-US" sz="800" b="1" i="0" u="none" strike="noStrike" kern="0" cap="none" spc="0" normalizeH="0" baseline="0" dirty="0">
                  <a:ln>
                    <a:noFill/>
                  </a:ln>
                  <a:effectLst/>
                  <a:uLnTx/>
                  <a:uFillTx/>
                  <a:ea typeface="Georgia"/>
                  <a:cs typeface="Georgia"/>
                  <a:sym typeface="Georgia"/>
                </a:rPr>
                <a:t> </a:t>
              </a:r>
              <a:r>
                <a:rPr kumimoji="0" lang="en-US" sz="800" b="1" i="0" u="none" strike="noStrike" kern="0" cap="none" spc="0" normalizeH="0" baseline="0" dirty="0" err="1">
                  <a:ln>
                    <a:noFill/>
                  </a:ln>
                  <a:effectLst/>
                  <a:uLnTx/>
                  <a:uFillTx/>
                  <a:ea typeface="Georgia"/>
                  <a:cs typeface="Georgia"/>
                  <a:sym typeface="Georgia"/>
                </a:rPr>
                <a:t>pārvaldīšanas</a:t>
              </a:r>
              <a:r>
                <a:rPr kumimoji="0" lang="en-US" sz="800" b="1" i="0" u="none" strike="noStrike" kern="0" cap="none" spc="0" normalizeH="0" baseline="0" dirty="0">
                  <a:ln>
                    <a:noFill/>
                  </a:ln>
                  <a:effectLst/>
                  <a:uLnTx/>
                  <a:uFillTx/>
                  <a:ea typeface="Georgia"/>
                  <a:cs typeface="Georgia"/>
                  <a:sym typeface="Georgia"/>
                </a:rPr>
                <a:t> </a:t>
              </a:r>
              <a:r>
                <a:rPr kumimoji="0" lang="en-US" sz="800" b="1" i="0" u="none" strike="noStrike" kern="0" cap="none" spc="0" normalizeH="0" baseline="0" dirty="0" err="1">
                  <a:ln>
                    <a:noFill/>
                  </a:ln>
                  <a:effectLst/>
                  <a:uLnTx/>
                  <a:uFillTx/>
                  <a:ea typeface="Georgia"/>
                  <a:cs typeface="Georgia"/>
                  <a:sym typeface="Georgia"/>
                </a:rPr>
                <a:t>principi</a:t>
              </a:r>
              <a:endParaRPr kumimoji="0" lang="en-US" sz="800" b="1" i="0" u="none" strike="noStrike" kern="0" cap="none" spc="0" normalizeH="0" baseline="0" dirty="0">
                <a:ln>
                  <a:noFill/>
                </a:ln>
                <a:effectLst/>
                <a:uLnTx/>
                <a:uFillTx/>
                <a:ea typeface="Georgia"/>
                <a:cs typeface="Georgia"/>
                <a:sym typeface="Georgia"/>
              </a:endParaRPr>
            </a:p>
          </p:txBody>
        </p:sp>
        <p:sp>
          <p:nvSpPr>
            <p:cNvPr id="7" name="Rectangle 6">
              <a:extLst>
                <a:ext uri="{FF2B5EF4-FFF2-40B4-BE49-F238E27FC236}">
                  <a16:creationId xmlns:a16="http://schemas.microsoft.com/office/drawing/2014/main" id="{5675C0C4-2A2B-6648-0717-BACB8F4F4827}"/>
                </a:ext>
              </a:extLst>
            </p:cNvPr>
            <p:cNvSpPr/>
            <p:nvPr/>
          </p:nvSpPr>
          <p:spPr>
            <a:xfrm>
              <a:off x="11291261" y="13902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4</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17" name="Rectangle 16">
              <a:extLst>
                <a:ext uri="{FF2B5EF4-FFF2-40B4-BE49-F238E27FC236}">
                  <a16:creationId xmlns:a16="http://schemas.microsoft.com/office/drawing/2014/main" id="{CA7F64D7-E26F-210F-9C4D-FE40FB8A7FE6}"/>
                </a:ext>
              </a:extLst>
            </p:cNvPr>
            <p:cNvSpPr/>
            <p:nvPr/>
          </p:nvSpPr>
          <p:spPr>
            <a:xfrm>
              <a:off x="8559953" y="13902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26170025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F8F9EB-E525-84E8-2D87-E5722AA8CFC6}"/>
              </a:ext>
            </a:extLst>
          </p:cNvPr>
          <p:cNvGraphicFramePr>
            <a:graphicFrameLocks noChangeAspect="1"/>
          </p:cNvGraphicFramePr>
          <p:nvPr>
            <p:custDataLst>
              <p:tags r:id="rId1"/>
            </p:custDataLst>
            <p:extLst>
              <p:ext uri="{D42A27DB-BD31-4B8C-83A1-F6EECF244321}">
                <p14:modId xmlns:p14="http://schemas.microsoft.com/office/powerpoint/2010/main" val="78877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65F8F9EB-E525-84E8-2D87-E5722AA8CF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TextBox 27">
            <a:extLst>
              <a:ext uri="{FF2B5EF4-FFF2-40B4-BE49-F238E27FC236}">
                <a16:creationId xmlns:a16="http://schemas.microsoft.com/office/drawing/2014/main" id="{EC4B3CC5-465D-8CDC-0CC9-FB7F6C64B1B3}"/>
              </a:ext>
            </a:extLst>
          </p:cNvPr>
          <p:cNvSpPr txBox="1"/>
          <p:nvPr/>
        </p:nvSpPr>
        <p:spPr>
          <a:xfrm>
            <a:off x="442913" y="2628993"/>
            <a:ext cx="11306175" cy="288000"/>
          </a:xfrm>
          <a:prstGeom prst="rect">
            <a:avLst/>
          </a:prstGeom>
          <a:solidFill>
            <a:srgbClr val="A8192D"/>
          </a:solidFill>
        </p:spPr>
        <p:txBody>
          <a:bodyPr wrap="square" lIns="72000" tIns="0" rIns="0" bIns="0" anchor="ctr">
            <a:noAutofit/>
          </a:bodyPr>
          <a:lstStyle/>
          <a:p>
            <a:r>
              <a:rPr lang="lv-LV" sz="1600" b="1" dirty="0">
                <a:solidFill>
                  <a:schemeClr val="bg1"/>
                </a:solidFill>
                <a:latin typeface="Arial" panose="020B0604020202020204" pitchFamily="34" charset="0"/>
              </a:rPr>
              <a:t>Piemēri</a:t>
            </a:r>
            <a:r>
              <a:rPr lang="lv-LV" sz="1600" b="1" dirty="0">
                <a:solidFill>
                  <a:srgbClr val="A8192D"/>
                </a:solidFill>
                <a:latin typeface="Arial" panose="020B0604020202020204" pitchFamily="34" charset="0"/>
              </a:rPr>
              <a:t>:</a:t>
            </a:r>
            <a:endParaRPr lang="lv-LV" sz="1600" b="1" dirty="0">
              <a:solidFill>
                <a:srgbClr val="A8192D"/>
              </a:solidFill>
            </a:endParaRPr>
          </a:p>
        </p:txBody>
      </p:sp>
      <p:sp>
        <p:nvSpPr>
          <p:cNvPr id="4" name="Rectangle 3">
            <a:extLst>
              <a:ext uri="{FF2B5EF4-FFF2-40B4-BE49-F238E27FC236}">
                <a16:creationId xmlns:a16="http://schemas.microsoft.com/office/drawing/2014/main" id="{674B5DEB-76A0-F72E-279B-8606E0EC858C}"/>
              </a:ext>
            </a:extLst>
          </p:cNvPr>
          <p:cNvSpPr/>
          <p:nvPr/>
        </p:nvSpPr>
        <p:spPr>
          <a:xfrm>
            <a:off x="441324" y="3429000"/>
            <a:ext cx="5535502" cy="274954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t"/>
          <a:lstStyle/>
          <a:p>
            <a:pPr marL="285750" indent="-285750">
              <a:lnSpc>
                <a:spcPct val="100000"/>
              </a:lnSpc>
              <a:spcAft>
                <a:spcPts val="1200"/>
              </a:spcAft>
              <a:buSzPct val="120000"/>
              <a:buBlip>
                <a:blip r:embed="rId6"/>
              </a:buBlip>
            </a:pPr>
            <a:r>
              <a:rPr lang="lv-LV" sz="1600" dirty="0">
                <a:solidFill>
                  <a:schemeClr val="tx1"/>
                </a:solidFill>
              </a:rPr>
              <a:t>VUGD organizē pasākumus sabiedrības izglītošanā, lai veicinātu izpratni par drošības jautājumiem, lai mazinātu ugunsgrēkos un citos negadījumos bojāgājušo un cietušo skaitu, informētu sabiedrību par ugunsdrošības, ugunsdzēsības, glābšanas un civilās aizsardzības sistēmas darbības principiem. </a:t>
            </a:r>
          </a:p>
        </p:txBody>
      </p:sp>
      <p:sp>
        <p:nvSpPr>
          <p:cNvPr id="2" name="Title 1">
            <a:extLst>
              <a:ext uri="{FF2B5EF4-FFF2-40B4-BE49-F238E27FC236}">
                <a16:creationId xmlns:a16="http://schemas.microsoft.com/office/drawing/2014/main" id="{47CC329B-CDB7-2001-9801-C52084777AED}"/>
              </a:ext>
            </a:extLst>
          </p:cNvPr>
          <p:cNvSpPr>
            <a:spLocks noGrp="1"/>
          </p:cNvSpPr>
          <p:nvPr>
            <p:ph type="title"/>
          </p:nvPr>
        </p:nvSpPr>
        <p:spPr/>
        <p:txBody>
          <a:bodyPr vert="horz"/>
          <a:lstStyle/>
          <a:p>
            <a:r>
              <a:rPr lang="lv-LV"/>
              <a:t>Preventīvie pasākumi</a:t>
            </a:r>
          </a:p>
        </p:txBody>
      </p:sp>
      <p:sp>
        <p:nvSpPr>
          <p:cNvPr id="3" name="Slide Number Placeholder 2">
            <a:extLst>
              <a:ext uri="{FF2B5EF4-FFF2-40B4-BE49-F238E27FC236}">
                <a16:creationId xmlns:a16="http://schemas.microsoft.com/office/drawing/2014/main" id="{D0C87657-18F7-4849-83B2-178542C39E1D}"/>
              </a:ext>
            </a:extLst>
          </p:cNvPr>
          <p:cNvSpPr>
            <a:spLocks noGrp="1"/>
          </p:cNvSpPr>
          <p:nvPr>
            <p:ph type="sldNum" sz="quarter" idx="11"/>
          </p:nvPr>
        </p:nvSpPr>
        <p:spPr/>
        <p:txBody>
          <a:bodyPr/>
          <a:lstStyle/>
          <a:p>
            <a:fld id="{7870704B-CE94-48CC-AF30-84932A1262A7}" type="slidenum">
              <a:rPr lang="en-GB" smtClean="0"/>
              <a:pPr/>
              <a:t>12</a:t>
            </a:fld>
            <a:endParaRPr lang="en-GB"/>
          </a:p>
        </p:txBody>
      </p:sp>
      <p:sp>
        <p:nvSpPr>
          <p:cNvPr id="18" name="Rectangle 17">
            <a:extLst>
              <a:ext uri="{FF2B5EF4-FFF2-40B4-BE49-F238E27FC236}">
                <a16:creationId xmlns:a16="http://schemas.microsoft.com/office/drawing/2014/main" id="{6089AE78-0CAF-CEDF-B2B4-07C00F474C28}"/>
              </a:ext>
            </a:extLst>
          </p:cNvPr>
          <p:cNvSpPr/>
          <p:nvPr/>
        </p:nvSpPr>
        <p:spPr>
          <a:xfrm>
            <a:off x="441325" y="1819275"/>
            <a:ext cx="11306175"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buClrTx/>
              <a:buSzPct val="100000"/>
              <a:buFontTx/>
              <a:buNone/>
              <a:tabLst/>
              <a:defRPr/>
            </a:pPr>
            <a:r>
              <a:rPr kumimoji="0" lang="lv-LV" sz="1600" b="1" i="0" u="none" strike="noStrike" kern="1200" cap="none" spc="0" normalizeH="0" baseline="0" noProof="0" dirty="0">
                <a:ln>
                  <a:noFill/>
                </a:ln>
                <a:solidFill>
                  <a:schemeClr val="tx1"/>
                </a:solidFill>
                <a:effectLst/>
                <a:uLnTx/>
                <a:uFillTx/>
                <a:latin typeface="Arial"/>
                <a:ea typeface="+mn-ea"/>
                <a:cs typeface="+mn-cs"/>
              </a:rPr>
              <a:t>Preventīvie pasākumi </a:t>
            </a:r>
            <a:r>
              <a:rPr kumimoji="0" lang="lv-LV" sz="1600" i="0" u="none" strike="noStrike" kern="1200" cap="none" spc="0" normalizeH="0" baseline="0" noProof="0" dirty="0">
                <a:ln>
                  <a:noFill/>
                </a:ln>
                <a:solidFill>
                  <a:schemeClr val="tx1"/>
                </a:solidFill>
                <a:effectLst/>
                <a:uLnTx/>
                <a:uFillTx/>
                <a:latin typeface="Arial"/>
                <a:ea typeface="+mn-ea"/>
                <a:cs typeface="+mn-cs"/>
              </a:rPr>
              <a:t>— tādu pasākumu kopums, kuri tiek veikti, lai novērstu vai mazinātu katastrofas draudus.</a:t>
            </a:r>
          </a:p>
        </p:txBody>
      </p:sp>
      <p:sp>
        <p:nvSpPr>
          <p:cNvPr id="19" name="Rectangle 18">
            <a:extLst>
              <a:ext uri="{FF2B5EF4-FFF2-40B4-BE49-F238E27FC236}">
                <a16:creationId xmlns:a16="http://schemas.microsoft.com/office/drawing/2014/main" id="{D9D955C2-A768-ADEC-22BB-5DFE4F968142}"/>
              </a:ext>
            </a:extLst>
          </p:cNvPr>
          <p:cNvSpPr/>
          <p:nvPr/>
        </p:nvSpPr>
        <p:spPr>
          <a:xfrm>
            <a:off x="11171500" y="1819275"/>
            <a:ext cx="576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chemeClr val="tx1"/>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BA94E0BC-3387-4274-01EC-8180D3FD291B}"/>
              </a:ext>
            </a:extLst>
          </p:cNvPr>
          <p:cNvSpPr/>
          <p:nvPr/>
        </p:nvSpPr>
        <p:spPr>
          <a:xfrm>
            <a:off x="111006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21" name="Google Shape;778;p79">
            <a:extLst>
              <a:ext uri="{FF2B5EF4-FFF2-40B4-BE49-F238E27FC236}">
                <a16:creationId xmlns:a16="http://schemas.microsoft.com/office/drawing/2014/main" id="{F4ACF7E1-872D-75B6-78FF-523C8F1BB8D7}"/>
              </a:ext>
            </a:extLst>
          </p:cNvPr>
          <p:cNvSpPr/>
          <p:nvPr/>
        </p:nvSpPr>
        <p:spPr>
          <a:xfrm>
            <a:off x="11279500" y="1927275"/>
            <a:ext cx="360000" cy="360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3" name="TextBox 42">
            <a:extLst>
              <a:ext uri="{FF2B5EF4-FFF2-40B4-BE49-F238E27FC236}">
                <a16:creationId xmlns:a16="http://schemas.microsoft.com/office/drawing/2014/main" id="{A1E16382-901C-CCF9-055B-983C47F0D0B7}"/>
              </a:ext>
            </a:extLst>
          </p:cNvPr>
          <p:cNvSpPr txBox="1"/>
          <p:nvPr/>
        </p:nvSpPr>
        <p:spPr>
          <a:xfrm>
            <a:off x="441325" y="3049886"/>
            <a:ext cx="4350171" cy="246221"/>
          </a:xfrm>
          <a:prstGeom prst="rect">
            <a:avLst/>
          </a:prstGeom>
          <a:noFill/>
        </p:spPr>
        <p:txBody>
          <a:bodyPr wrap="square" lIns="0" tIns="0" rIns="0" bIns="0">
            <a:spAutoFit/>
          </a:bodyPr>
          <a:lstStyle/>
          <a:p>
            <a:r>
              <a:rPr lang="lv-LV" sz="1600" b="1" i="0" dirty="0">
                <a:solidFill>
                  <a:srgbClr val="414142"/>
                </a:solidFill>
                <a:effectLst/>
                <a:latin typeface="Arial" panose="020B0604020202020204" pitchFamily="34" charset="0"/>
              </a:rPr>
              <a:t>Sabiedrības izglītošana</a:t>
            </a:r>
          </a:p>
        </p:txBody>
      </p:sp>
      <p:sp>
        <p:nvSpPr>
          <p:cNvPr id="45" name="Rectangle 44">
            <a:extLst>
              <a:ext uri="{FF2B5EF4-FFF2-40B4-BE49-F238E27FC236}">
                <a16:creationId xmlns:a16="http://schemas.microsoft.com/office/drawing/2014/main" id="{65D9191D-9B41-9F87-1C1C-96451EA4A4BF}"/>
              </a:ext>
            </a:extLst>
          </p:cNvPr>
          <p:cNvSpPr/>
          <p:nvPr/>
        </p:nvSpPr>
        <p:spPr>
          <a:xfrm rot="5400000">
            <a:off x="3171825" y="3375025"/>
            <a:ext cx="73025" cy="553561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47" name="TextBox 46">
            <a:extLst>
              <a:ext uri="{FF2B5EF4-FFF2-40B4-BE49-F238E27FC236}">
                <a16:creationId xmlns:a16="http://schemas.microsoft.com/office/drawing/2014/main" id="{ECE3F00E-3F72-2716-390E-833E998251C9}"/>
              </a:ext>
            </a:extLst>
          </p:cNvPr>
          <p:cNvSpPr txBox="1"/>
          <p:nvPr/>
        </p:nvSpPr>
        <p:spPr>
          <a:xfrm>
            <a:off x="6232108" y="2926775"/>
            <a:ext cx="5516979" cy="492443"/>
          </a:xfrm>
          <a:prstGeom prst="rect">
            <a:avLst/>
          </a:prstGeom>
          <a:noFill/>
        </p:spPr>
        <p:txBody>
          <a:bodyPr wrap="square" lIns="0" tIns="0" rIns="0" bIns="0">
            <a:spAutoFit/>
          </a:bodyPr>
          <a:lstStyle/>
          <a:p>
            <a:r>
              <a:rPr lang="lv-LV" sz="1600" b="1" dirty="0">
                <a:solidFill>
                  <a:srgbClr val="414142"/>
                </a:solidFill>
                <a:latin typeface="Arial" panose="020B0604020202020204" pitchFamily="34" charset="0"/>
              </a:rPr>
              <a:t>Ledus uzlaušana un spridzināšana plūdu draudu novēršanai</a:t>
            </a:r>
          </a:p>
        </p:txBody>
      </p:sp>
      <p:sp>
        <p:nvSpPr>
          <p:cNvPr id="48" name="Rectangle 47">
            <a:extLst>
              <a:ext uri="{FF2B5EF4-FFF2-40B4-BE49-F238E27FC236}">
                <a16:creationId xmlns:a16="http://schemas.microsoft.com/office/drawing/2014/main" id="{067BD4AD-7AC5-C2CD-8FA7-ED5BF95D1564}"/>
              </a:ext>
            </a:extLst>
          </p:cNvPr>
          <p:cNvSpPr/>
          <p:nvPr/>
        </p:nvSpPr>
        <p:spPr>
          <a:xfrm>
            <a:off x="6275388" y="3615788"/>
            <a:ext cx="5473700" cy="256276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spcAft>
                <a:spcPts val="1200"/>
              </a:spcAft>
              <a:buSzPct val="120000"/>
            </a:pPr>
            <a:endParaRPr lang="lv-LV" sz="1600">
              <a:solidFill>
                <a:schemeClr val="tx1"/>
              </a:solidFill>
            </a:endParaRPr>
          </a:p>
        </p:txBody>
      </p:sp>
      <p:pic>
        <p:nvPicPr>
          <p:cNvPr id="2050" name="Picture 2" descr="Ogrē spridzina ledu - YouTube">
            <a:extLst>
              <a:ext uri="{FF2B5EF4-FFF2-40B4-BE49-F238E27FC236}">
                <a16:creationId xmlns:a16="http://schemas.microsoft.com/office/drawing/2014/main" id="{343CF03C-E166-DCEF-3F7E-CF30F945A60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6179"/>
          <a:stretch/>
        </p:blipFill>
        <p:spPr bwMode="auto">
          <a:xfrm>
            <a:off x="6212065" y="3429000"/>
            <a:ext cx="5537023" cy="2749550"/>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 25">
            <a:extLst>
              <a:ext uri="{FF2B5EF4-FFF2-40B4-BE49-F238E27FC236}">
                <a16:creationId xmlns:a16="http://schemas.microsoft.com/office/drawing/2014/main" id="{79E22E16-C247-00E2-6F3D-9F1A342A64B1}"/>
              </a:ext>
            </a:extLst>
          </p:cNvPr>
          <p:cNvGrpSpPr/>
          <p:nvPr/>
        </p:nvGrpSpPr>
        <p:grpSpPr>
          <a:xfrm>
            <a:off x="6212065" y="3429000"/>
            <a:ext cx="2078771" cy="584200"/>
            <a:chOff x="6232109" y="3615788"/>
            <a:chExt cx="2078771" cy="584200"/>
          </a:xfrm>
        </p:grpSpPr>
        <p:sp>
          <p:nvSpPr>
            <p:cNvPr id="51" name="Rectangle 50">
              <a:extLst>
                <a:ext uri="{FF2B5EF4-FFF2-40B4-BE49-F238E27FC236}">
                  <a16:creationId xmlns:a16="http://schemas.microsoft.com/office/drawing/2014/main" id="{CCE3A18E-4094-2B3B-F112-1B973343FFAF}"/>
                </a:ext>
              </a:extLst>
            </p:cNvPr>
            <p:cNvSpPr/>
            <p:nvPr/>
          </p:nvSpPr>
          <p:spPr>
            <a:xfrm>
              <a:off x="6232109" y="3615788"/>
              <a:ext cx="2078771" cy="584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2" name="Freeform 50">
              <a:extLst>
                <a:ext uri="{FF2B5EF4-FFF2-40B4-BE49-F238E27FC236}">
                  <a16:creationId xmlns:a16="http://schemas.microsoft.com/office/drawing/2014/main" id="{361CA655-AAF9-0205-0EC7-BC30C75585A3}"/>
                </a:ext>
              </a:extLst>
            </p:cNvPr>
            <p:cNvSpPr>
              <a:spLocks noChangeAspect="1"/>
            </p:cNvSpPr>
            <p:nvPr/>
          </p:nvSpPr>
          <p:spPr bwMode="auto">
            <a:xfrm>
              <a:off x="6379591" y="3766279"/>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grpSp>
      <p:sp>
        <p:nvSpPr>
          <p:cNvPr id="53" name="Google Shape;2685;p25">
            <a:extLst>
              <a:ext uri="{FF2B5EF4-FFF2-40B4-BE49-F238E27FC236}">
                <a16:creationId xmlns:a16="http://schemas.microsoft.com/office/drawing/2014/main" id="{9518988B-4343-71AF-7E6F-6C35B2A0C484}"/>
              </a:ext>
            </a:extLst>
          </p:cNvPr>
          <p:cNvSpPr txBox="1"/>
          <p:nvPr/>
        </p:nvSpPr>
        <p:spPr>
          <a:xfrm>
            <a:off x="6839223" y="3636462"/>
            <a:ext cx="2890519" cy="169277"/>
          </a:xfrm>
          <a:prstGeom prst="rect">
            <a:avLst/>
          </a:prstGeom>
          <a:noFill/>
          <a:ln>
            <a:noFill/>
          </a:ln>
        </p:spPr>
        <p:txBody>
          <a:bodyPr spcFirstLastPara="1" wrap="square" lIns="0" tIns="0" rIns="72000" bIns="0" anchor="ctr" anchorCtr="0">
            <a:spAutoFit/>
          </a:bodyPr>
          <a:lstStyle/>
          <a:p>
            <a:pPr>
              <a:lnSpc>
                <a:spcPct val="100000"/>
              </a:lnSpc>
              <a:buSzPct val="100000"/>
            </a:pPr>
            <a:r>
              <a:rPr lang="lv-LV" sz="1100" dirty="0">
                <a:hlinkClick r:id="rId8">
                  <a:extLst>
                    <a:ext uri="{A12FA001-AC4F-418D-AE19-62706E023703}">
                      <ahyp:hlinkClr xmlns:ahyp="http://schemas.microsoft.com/office/drawing/2018/hyperlinkcolor" val="tx"/>
                    </a:ext>
                  </a:extLst>
                </a:hlinkClick>
              </a:rPr>
              <a:t>Ogrē spridzina ledu</a:t>
            </a:r>
            <a:endParaRPr lang="lv-LV" sz="1100" dirty="0"/>
          </a:p>
        </p:txBody>
      </p:sp>
      <p:grpSp>
        <p:nvGrpSpPr>
          <p:cNvPr id="10" name="Group 9">
            <a:extLst>
              <a:ext uri="{FF2B5EF4-FFF2-40B4-BE49-F238E27FC236}">
                <a16:creationId xmlns:a16="http://schemas.microsoft.com/office/drawing/2014/main" id="{6819015F-3EFA-1D9D-29F3-775575D52D74}"/>
              </a:ext>
            </a:extLst>
          </p:cNvPr>
          <p:cNvGrpSpPr/>
          <p:nvPr/>
        </p:nvGrpSpPr>
        <p:grpSpPr>
          <a:xfrm>
            <a:off x="8801780" y="159786"/>
            <a:ext cx="2947308" cy="217488"/>
            <a:chOff x="8559953" y="1390211"/>
            <a:chExt cx="2947308" cy="217488"/>
          </a:xfrm>
        </p:grpSpPr>
        <p:sp>
          <p:nvSpPr>
            <p:cNvPr id="13" name="Rectangle 12">
              <a:extLst>
                <a:ext uri="{FF2B5EF4-FFF2-40B4-BE49-F238E27FC236}">
                  <a16:creationId xmlns:a16="http://schemas.microsoft.com/office/drawing/2014/main" id="{16C7C75E-8349-99D4-F095-230E13BCF1C1}"/>
                </a:ext>
              </a:extLst>
            </p:cNvPr>
            <p:cNvSpPr/>
            <p:nvPr/>
          </p:nvSpPr>
          <p:spPr>
            <a:xfrm>
              <a:off x="8801780" y="1390211"/>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5</a:t>
              </a:r>
              <a:r>
                <a:rPr kumimoji="0" lang="lv-LV" sz="800" b="1" i="0" u="none" strike="noStrike" kern="0" cap="none" spc="0" normalizeH="0" baseline="0" dirty="0">
                  <a:ln>
                    <a:noFill/>
                  </a:ln>
                  <a:effectLst/>
                  <a:uLnTx/>
                  <a:uFillTx/>
                  <a:ea typeface="Georgia"/>
                  <a:cs typeface="Georgia"/>
                  <a:sym typeface="Georgia"/>
                </a:rPr>
                <a:t>.</a:t>
              </a:r>
              <a:r>
                <a:rPr kumimoji="0" lang="en-US" sz="800" b="1" i="0" u="none" strike="noStrike" kern="0" cap="none" spc="0" normalizeH="0" baseline="0" dirty="0">
                  <a:ln>
                    <a:noFill/>
                  </a:ln>
                  <a:effectLst/>
                  <a:uLnTx/>
                  <a:uFillTx/>
                  <a:ea typeface="Georgia"/>
                  <a:cs typeface="Georgia"/>
                  <a:sym typeface="Georgia"/>
                </a:rPr>
                <a:t>2</a:t>
              </a:r>
              <a:endParaRPr kumimoji="0" lang="lv-LV" sz="800" b="1" i="0" u="none" strike="noStrike" kern="0" cap="none" spc="0" normalizeH="0" baseline="0" dirty="0">
                <a:ln>
                  <a:noFill/>
                </a:ln>
                <a:effectLst/>
                <a:uLnTx/>
                <a:uFillTx/>
                <a:ea typeface="Georgia"/>
                <a:cs typeface="Georgia"/>
                <a:sym typeface="Georgia"/>
              </a:endParaRPr>
            </a:p>
          </p:txBody>
        </p:sp>
        <p:sp>
          <p:nvSpPr>
            <p:cNvPr id="14" name="Rectangle 13">
              <a:extLst>
                <a:ext uri="{FF2B5EF4-FFF2-40B4-BE49-F238E27FC236}">
                  <a16:creationId xmlns:a16="http://schemas.microsoft.com/office/drawing/2014/main" id="{68A0E964-78A1-4FF3-F879-0363CB44F34E}"/>
                </a:ext>
              </a:extLst>
            </p:cNvPr>
            <p:cNvSpPr/>
            <p:nvPr/>
          </p:nvSpPr>
          <p:spPr>
            <a:xfrm>
              <a:off x="11049434" y="13902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3</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6397F1B4-4FF5-E410-379E-AA78000601F7}"/>
                </a:ext>
              </a:extLst>
            </p:cNvPr>
            <p:cNvSpPr/>
            <p:nvPr/>
          </p:nvSpPr>
          <p:spPr>
            <a:xfrm>
              <a:off x="9043607" y="1390211"/>
              <a:ext cx="198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err="1">
                  <a:ln>
                    <a:noFill/>
                  </a:ln>
                  <a:effectLst/>
                  <a:uLnTx/>
                  <a:uFillTx/>
                  <a:ea typeface="Georgia"/>
                  <a:cs typeface="Georgia"/>
                  <a:sym typeface="Georgia"/>
                </a:rPr>
                <a:t>Katastrofas</a:t>
              </a:r>
              <a:r>
                <a:rPr kumimoji="0" lang="en-US" sz="800" b="1" i="0" u="none" strike="noStrike" kern="0" cap="none" spc="0" normalizeH="0" baseline="0" dirty="0">
                  <a:ln>
                    <a:noFill/>
                  </a:ln>
                  <a:effectLst/>
                  <a:uLnTx/>
                  <a:uFillTx/>
                  <a:ea typeface="Georgia"/>
                  <a:cs typeface="Georgia"/>
                  <a:sym typeface="Georgia"/>
                </a:rPr>
                <a:t> </a:t>
              </a:r>
              <a:r>
                <a:rPr kumimoji="0" lang="en-US" sz="800" b="1" i="0" u="none" strike="noStrike" kern="0" cap="none" spc="0" normalizeH="0" baseline="0" dirty="0" err="1">
                  <a:ln>
                    <a:noFill/>
                  </a:ln>
                  <a:effectLst/>
                  <a:uLnTx/>
                  <a:uFillTx/>
                  <a:ea typeface="Georgia"/>
                  <a:cs typeface="Georgia"/>
                  <a:sym typeface="Georgia"/>
                </a:rPr>
                <a:t>pārvaldīšanas</a:t>
              </a:r>
              <a:r>
                <a:rPr kumimoji="0" lang="en-US" sz="800" b="1" i="0" u="none" strike="noStrike" kern="0" cap="none" spc="0" normalizeH="0" baseline="0" dirty="0">
                  <a:ln>
                    <a:noFill/>
                  </a:ln>
                  <a:effectLst/>
                  <a:uLnTx/>
                  <a:uFillTx/>
                  <a:ea typeface="Georgia"/>
                  <a:cs typeface="Georgia"/>
                  <a:sym typeface="Georgia"/>
                </a:rPr>
                <a:t> </a:t>
              </a:r>
              <a:r>
                <a:rPr kumimoji="0" lang="en-US" sz="800" b="1" i="0" u="none" strike="noStrike" kern="0" cap="none" spc="0" normalizeH="0" baseline="0" dirty="0" err="1">
                  <a:ln>
                    <a:noFill/>
                  </a:ln>
                  <a:effectLst/>
                  <a:uLnTx/>
                  <a:uFillTx/>
                  <a:ea typeface="Georgia"/>
                  <a:cs typeface="Georgia"/>
                  <a:sym typeface="Georgia"/>
                </a:rPr>
                <a:t>principi</a:t>
              </a:r>
              <a:endParaRPr kumimoji="0" lang="en-US" sz="800" b="1" i="0" u="none" strike="noStrike" kern="0" cap="none" spc="0" normalizeH="0" baseline="0" dirty="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93B4617F-E5F7-FB3C-DF8D-AC7FF2273EF4}"/>
                </a:ext>
              </a:extLst>
            </p:cNvPr>
            <p:cNvSpPr/>
            <p:nvPr/>
          </p:nvSpPr>
          <p:spPr>
            <a:xfrm>
              <a:off x="11291261" y="13902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4</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17" name="Rectangle 16">
              <a:extLst>
                <a:ext uri="{FF2B5EF4-FFF2-40B4-BE49-F238E27FC236}">
                  <a16:creationId xmlns:a16="http://schemas.microsoft.com/office/drawing/2014/main" id="{76112BE9-6566-871A-66F7-DA1C658AAC38}"/>
                </a:ext>
              </a:extLst>
            </p:cNvPr>
            <p:cNvSpPr/>
            <p:nvPr/>
          </p:nvSpPr>
          <p:spPr>
            <a:xfrm>
              <a:off x="8559953" y="13902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4116760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F38C7326-2BE0-B213-C81A-6B11E39A7ECF}"/>
              </a:ext>
            </a:extLst>
          </p:cNvPr>
          <p:cNvGraphicFramePr>
            <a:graphicFrameLocks noChangeAspect="1"/>
          </p:cNvGraphicFramePr>
          <p:nvPr>
            <p:custDataLst>
              <p:tags r:id="rId1"/>
            </p:custDataLst>
            <p:extLst>
              <p:ext uri="{D42A27DB-BD31-4B8C-83A1-F6EECF244321}">
                <p14:modId xmlns:p14="http://schemas.microsoft.com/office/powerpoint/2010/main" val="1570726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7" name="think-cell data - do not delete" hidden="1">
                        <a:extLst>
                          <a:ext uri="{FF2B5EF4-FFF2-40B4-BE49-F238E27FC236}">
                            <a16:creationId xmlns:a16="http://schemas.microsoft.com/office/drawing/2014/main" id="{F38C7326-2BE0-B213-C81A-6B11E39A7E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extBox 30">
            <a:extLst>
              <a:ext uri="{FF2B5EF4-FFF2-40B4-BE49-F238E27FC236}">
                <a16:creationId xmlns:a16="http://schemas.microsoft.com/office/drawing/2014/main" id="{0A3AF848-2AF1-831E-2825-EAA28ABF429C}"/>
              </a:ext>
            </a:extLst>
          </p:cNvPr>
          <p:cNvSpPr txBox="1"/>
          <p:nvPr/>
        </p:nvSpPr>
        <p:spPr>
          <a:xfrm>
            <a:off x="442913" y="2628993"/>
            <a:ext cx="11306175" cy="288000"/>
          </a:xfrm>
          <a:prstGeom prst="rect">
            <a:avLst/>
          </a:prstGeom>
          <a:solidFill>
            <a:srgbClr val="A8192D"/>
          </a:solidFill>
        </p:spPr>
        <p:txBody>
          <a:bodyPr wrap="square" lIns="72000" tIns="0" rIns="0" bIns="0" anchor="ctr">
            <a:noAutofit/>
          </a:bodyPr>
          <a:lstStyle/>
          <a:p>
            <a:r>
              <a:rPr lang="lv-LV" sz="1600" b="1" dirty="0">
                <a:solidFill>
                  <a:schemeClr val="bg1"/>
                </a:solidFill>
                <a:latin typeface="Arial" panose="020B0604020202020204" pitchFamily="34" charset="0"/>
              </a:rPr>
              <a:t>Piemēri</a:t>
            </a:r>
            <a:r>
              <a:rPr lang="lv-LV" sz="1600" b="1" dirty="0">
                <a:solidFill>
                  <a:srgbClr val="A8192D"/>
                </a:solidFill>
                <a:latin typeface="Arial" panose="020B0604020202020204" pitchFamily="34" charset="0"/>
              </a:rPr>
              <a:t>:</a:t>
            </a:r>
            <a:endParaRPr lang="lv-LV" sz="1600" b="1" dirty="0">
              <a:solidFill>
                <a:srgbClr val="A8192D"/>
              </a:solidFill>
            </a:endParaRPr>
          </a:p>
        </p:txBody>
      </p:sp>
      <p:sp>
        <p:nvSpPr>
          <p:cNvPr id="2" name="Title 1">
            <a:extLst>
              <a:ext uri="{FF2B5EF4-FFF2-40B4-BE49-F238E27FC236}">
                <a16:creationId xmlns:a16="http://schemas.microsoft.com/office/drawing/2014/main" id="{47CC329B-CDB7-2001-9801-C52084777AED}"/>
              </a:ext>
            </a:extLst>
          </p:cNvPr>
          <p:cNvSpPr>
            <a:spLocks noGrp="1"/>
          </p:cNvSpPr>
          <p:nvPr>
            <p:ph type="title"/>
          </p:nvPr>
        </p:nvSpPr>
        <p:spPr>
          <a:xfrm>
            <a:off x="442913" y="432001"/>
            <a:ext cx="11306175" cy="1387274"/>
          </a:xfrm>
        </p:spPr>
        <p:txBody>
          <a:bodyPr vert="horz"/>
          <a:lstStyle/>
          <a:p>
            <a:r>
              <a:rPr lang="lv-LV"/>
              <a:t>Gatavības pasākumi</a:t>
            </a:r>
          </a:p>
        </p:txBody>
      </p:sp>
      <p:sp>
        <p:nvSpPr>
          <p:cNvPr id="3" name="Slide Number Placeholder 2">
            <a:extLst>
              <a:ext uri="{FF2B5EF4-FFF2-40B4-BE49-F238E27FC236}">
                <a16:creationId xmlns:a16="http://schemas.microsoft.com/office/drawing/2014/main" id="{D0C87657-18F7-4849-83B2-178542C39E1D}"/>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3</a:t>
            </a:fld>
            <a:endParaRPr lang="en-GB"/>
          </a:p>
        </p:txBody>
      </p:sp>
      <p:sp>
        <p:nvSpPr>
          <p:cNvPr id="9" name="TextBox 8">
            <a:extLst>
              <a:ext uri="{FF2B5EF4-FFF2-40B4-BE49-F238E27FC236}">
                <a16:creationId xmlns:a16="http://schemas.microsoft.com/office/drawing/2014/main" id="{8C0307FD-DC81-2CE7-F782-62171BF19161}"/>
              </a:ext>
            </a:extLst>
          </p:cNvPr>
          <p:cNvSpPr txBox="1"/>
          <p:nvPr/>
        </p:nvSpPr>
        <p:spPr>
          <a:xfrm>
            <a:off x="441324" y="3049886"/>
            <a:ext cx="5518565" cy="246221"/>
          </a:xfrm>
          <a:prstGeom prst="rect">
            <a:avLst/>
          </a:prstGeom>
          <a:noFill/>
        </p:spPr>
        <p:txBody>
          <a:bodyPr wrap="square" lIns="0" tIns="0" rIns="0" bIns="0">
            <a:spAutoFit/>
          </a:bodyPr>
          <a:lstStyle/>
          <a:p>
            <a:r>
              <a:rPr lang="lv-LV" sz="1600" b="1" dirty="0">
                <a:solidFill>
                  <a:srgbClr val="414142"/>
                </a:solidFill>
                <a:latin typeface="Arial" panose="020B0604020202020204" pitchFamily="34" charset="0"/>
              </a:rPr>
              <a:t>Valsts materiālās rezerves (VMR)</a:t>
            </a:r>
          </a:p>
        </p:txBody>
      </p:sp>
      <p:sp>
        <p:nvSpPr>
          <p:cNvPr id="13" name="TextBox 12">
            <a:extLst>
              <a:ext uri="{FF2B5EF4-FFF2-40B4-BE49-F238E27FC236}">
                <a16:creationId xmlns:a16="http://schemas.microsoft.com/office/drawing/2014/main" id="{5F3666AF-285A-3EE5-AC15-F699BD77C504}"/>
              </a:ext>
            </a:extLst>
          </p:cNvPr>
          <p:cNvSpPr txBox="1"/>
          <p:nvPr/>
        </p:nvSpPr>
        <p:spPr>
          <a:xfrm>
            <a:off x="6230521" y="3069136"/>
            <a:ext cx="4395037" cy="246221"/>
          </a:xfrm>
          <a:prstGeom prst="rect">
            <a:avLst/>
          </a:prstGeom>
          <a:noFill/>
        </p:spPr>
        <p:txBody>
          <a:bodyPr wrap="square" lIns="0" tIns="0" rIns="0" bIns="0">
            <a:spAutoFit/>
          </a:bodyPr>
          <a:lstStyle/>
          <a:p>
            <a:r>
              <a:rPr lang="lv-LV" sz="1600" b="1" i="0" dirty="0">
                <a:solidFill>
                  <a:srgbClr val="414142"/>
                </a:solidFill>
                <a:effectLst/>
                <a:latin typeface="Arial" panose="020B0604020202020204" pitchFamily="34" charset="0"/>
              </a:rPr>
              <a:t>Valsts agrīnās brīdināšanas sistēma</a:t>
            </a:r>
            <a:endParaRPr lang="lv-LV" sz="1600" b="1" dirty="0"/>
          </a:p>
        </p:txBody>
      </p:sp>
      <p:sp>
        <p:nvSpPr>
          <p:cNvPr id="14" name="Rectangle 13">
            <a:extLst>
              <a:ext uri="{FF2B5EF4-FFF2-40B4-BE49-F238E27FC236}">
                <a16:creationId xmlns:a16="http://schemas.microsoft.com/office/drawing/2014/main" id="{E2D35C53-4E79-C51D-E315-7AD42809D29F}"/>
              </a:ext>
            </a:extLst>
          </p:cNvPr>
          <p:cNvSpPr/>
          <p:nvPr/>
        </p:nvSpPr>
        <p:spPr>
          <a:xfrm>
            <a:off x="6212065" y="3428999"/>
            <a:ext cx="5537022" cy="274955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t"/>
          <a:lstStyle/>
          <a:p>
            <a:pPr marL="285750" indent="-285750">
              <a:lnSpc>
                <a:spcPct val="100000"/>
              </a:lnSpc>
              <a:spcAft>
                <a:spcPts val="1200"/>
              </a:spcAft>
              <a:buSzPct val="120000"/>
              <a:buBlip>
                <a:blip r:embed="rId6"/>
              </a:buBlip>
            </a:pPr>
            <a:r>
              <a:rPr lang="lv-LV" sz="1600" dirty="0">
                <a:solidFill>
                  <a:schemeClr val="tx1"/>
                </a:solidFill>
              </a:rPr>
              <a:t>Valsts agrīnās brīdināšanas sistēma ir autonomi funkcionējoša tehnoloģiska sistēma vai šādu sistēmu kopums, kas nodrošina agrīno brīdināšanu – </a:t>
            </a:r>
            <a:r>
              <a:rPr lang="lv-LV" altLang="lv-LV" sz="1600" b="0" dirty="0">
                <a:solidFill>
                  <a:schemeClr val="tx1"/>
                </a:solidFill>
              </a:rPr>
              <a:t>informēšanu par katastrofu vai katastrofas draudiem un nepieciešamo rīcību. </a:t>
            </a:r>
          </a:p>
          <a:p>
            <a:pPr marL="285750" indent="-285750">
              <a:spcAft>
                <a:spcPts val="1200"/>
              </a:spcAft>
              <a:buSzPct val="120000"/>
              <a:buBlip>
                <a:blip r:embed="rId6"/>
              </a:buBlip>
            </a:pPr>
            <a:r>
              <a:rPr lang="lv-LV" sz="1600" dirty="0">
                <a:solidFill>
                  <a:schemeClr val="tx1"/>
                </a:solidFill>
              </a:rPr>
              <a:t>Sistēmā ietilpst trauksmes sirēnas, sabiedriskie mediji (radio, TV, LTV un LR), valsts un pašvaldību institūciju trauksmes un apziņošanas iekārtas, operatīvais transports un citi risinājumi.</a:t>
            </a:r>
          </a:p>
          <a:p>
            <a:pPr marL="285750" indent="-285750">
              <a:lnSpc>
                <a:spcPct val="100000"/>
              </a:lnSpc>
              <a:spcAft>
                <a:spcPts val="1200"/>
              </a:spcAft>
              <a:buSzPct val="120000"/>
              <a:buBlip>
                <a:blip r:embed="rId6"/>
              </a:buBlip>
            </a:pPr>
            <a:endParaRPr lang="lv-LV" sz="1600" dirty="0">
              <a:solidFill>
                <a:schemeClr val="tx1"/>
              </a:solidFill>
            </a:endParaRPr>
          </a:p>
        </p:txBody>
      </p:sp>
      <p:sp>
        <p:nvSpPr>
          <p:cNvPr id="17" name="Rectangle 16">
            <a:extLst>
              <a:ext uri="{FF2B5EF4-FFF2-40B4-BE49-F238E27FC236}">
                <a16:creationId xmlns:a16="http://schemas.microsoft.com/office/drawing/2014/main" id="{2C3F4A98-1971-DF77-C3FF-F182B8D95D3F}"/>
              </a:ext>
            </a:extLst>
          </p:cNvPr>
          <p:cNvSpPr/>
          <p:nvPr/>
        </p:nvSpPr>
        <p:spPr>
          <a:xfrm>
            <a:off x="441325" y="1819275"/>
            <a:ext cx="11306175"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buClrTx/>
              <a:buSzPct val="100000"/>
              <a:buFontTx/>
              <a:buNone/>
              <a:tabLst/>
              <a:defRPr/>
            </a:pPr>
            <a:r>
              <a:rPr kumimoji="0" lang="lv-LV" sz="1600" b="1" i="0" u="none" strike="noStrike" kern="1200" cap="none" spc="0" normalizeH="0" baseline="0" noProof="0">
                <a:ln>
                  <a:noFill/>
                </a:ln>
                <a:solidFill>
                  <a:schemeClr val="tx1"/>
                </a:solidFill>
                <a:effectLst/>
                <a:uLnTx/>
                <a:uFillTx/>
                <a:latin typeface="Arial"/>
                <a:ea typeface="+mn-ea"/>
                <a:cs typeface="+mn-cs"/>
              </a:rPr>
              <a:t>Gatavības pasākumi — </a:t>
            </a:r>
            <a:r>
              <a:rPr kumimoji="0" lang="lv-LV" sz="1600" i="0" u="none" strike="noStrike" kern="1200" cap="none" spc="0" normalizeH="0" baseline="0" noProof="0">
                <a:ln>
                  <a:noFill/>
                </a:ln>
                <a:solidFill>
                  <a:schemeClr val="tx1"/>
                </a:solidFill>
                <a:effectLst/>
                <a:uLnTx/>
                <a:uFillTx/>
                <a:latin typeface="Arial"/>
                <a:ea typeface="+mn-ea"/>
                <a:cs typeface="+mn-cs"/>
              </a:rPr>
              <a:t>tādu pasākumu kopums, kuri tiek veikti, lai sagatavotos katastrofas gadījumā </a:t>
            </a:r>
            <a:br>
              <a:rPr kumimoji="0" lang="lv-LV" sz="1600" i="0" u="none" strike="noStrike" kern="1200" cap="none" spc="0" normalizeH="0" baseline="0" noProof="0">
                <a:ln>
                  <a:noFill/>
                </a:ln>
                <a:solidFill>
                  <a:schemeClr val="tx1"/>
                </a:solidFill>
                <a:effectLst/>
                <a:uLnTx/>
                <a:uFillTx/>
                <a:latin typeface="Arial"/>
                <a:ea typeface="+mn-ea"/>
                <a:cs typeface="+mn-cs"/>
              </a:rPr>
            </a:br>
            <a:r>
              <a:rPr kumimoji="0" lang="lv-LV" sz="1600" i="0" u="none" strike="noStrike" kern="1200" cap="none" spc="0" normalizeH="0" baseline="0" noProof="0">
                <a:ln>
                  <a:noFill/>
                </a:ln>
                <a:solidFill>
                  <a:schemeClr val="tx1"/>
                </a:solidFill>
                <a:effectLst/>
                <a:uLnTx/>
                <a:uFillTx/>
                <a:latin typeface="Arial"/>
                <a:ea typeface="+mn-ea"/>
                <a:cs typeface="+mn-cs"/>
              </a:rPr>
              <a:t>nepieciešamajai rīcībai</a:t>
            </a:r>
          </a:p>
        </p:txBody>
      </p:sp>
      <p:sp>
        <p:nvSpPr>
          <p:cNvPr id="18" name="Rectangle 17">
            <a:extLst>
              <a:ext uri="{FF2B5EF4-FFF2-40B4-BE49-F238E27FC236}">
                <a16:creationId xmlns:a16="http://schemas.microsoft.com/office/drawing/2014/main" id="{C68A8364-C7C8-451D-4DDE-73D7E7A3EDE3}"/>
              </a:ext>
            </a:extLst>
          </p:cNvPr>
          <p:cNvSpPr/>
          <p:nvPr/>
        </p:nvSpPr>
        <p:spPr>
          <a:xfrm>
            <a:off x="11171500" y="1819275"/>
            <a:ext cx="576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chemeClr val="tx1"/>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270D5711-0907-C505-77BA-4A88D1607A23}"/>
              </a:ext>
            </a:extLst>
          </p:cNvPr>
          <p:cNvSpPr/>
          <p:nvPr/>
        </p:nvSpPr>
        <p:spPr>
          <a:xfrm>
            <a:off x="111006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4F011B6E-E93E-6D7F-D3CE-E0CED144E9D5}"/>
              </a:ext>
            </a:extLst>
          </p:cNvPr>
          <p:cNvSpPr/>
          <p:nvPr/>
        </p:nvSpPr>
        <p:spPr>
          <a:xfrm rot="5400000">
            <a:off x="8944153" y="3375025"/>
            <a:ext cx="73025" cy="55372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24" name="Google Shape;778;p79">
            <a:extLst>
              <a:ext uri="{FF2B5EF4-FFF2-40B4-BE49-F238E27FC236}">
                <a16:creationId xmlns:a16="http://schemas.microsoft.com/office/drawing/2014/main" id="{BC8FA7B8-D3BE-BBE4-85FC-E07BDB73B7F2}"/>
              </a:ext>
            </a:extLst>
          </p:cNvPr>
          <p:cNvSpPr/>
          <p:nvPr/>
        </p:nvSpPr>
        <p:spPr>
          <a:xfrm>
            <a:off x="11279500" y="1927275"/>
            <a:ext cx="360000" cy="360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4" name="Group 3">
            <a:extLst>
              <a:ext uri="{FF2B5EF4-FFF2-40B4-BE49-F238E27FC236}">
                <a16:creationId xmlns:a16="http://schemas.microsoft.com/office/drawing/2014/main" id="{4D375F3B-F2C7-23FE-51CD-7CCF3EAE4325}"/>
              </a:ext>
            </a:extLst>
          </p:cNvPr>
          <p:cNvGrpSpPr/>
          <p:nvPr/>
        </p:nvGrpSpPr>
        <p:grpSpPr>
          <a:xfrm>
            <a:off x="8801780" y="159786"/>
            <a:ext cx="2947308" cy="217488"/>
            <a:chOff x="8559953" y="1390211"/>
            <a:chExt cx="2947308" cy="217488"/>
          </a:xfrm>
        </p:grpSpPr>
        <p:sp>
          <p:nvSpPr>
            <p:cNvPr id="8" name="Rectangle 7">
              <a:extLst>
                <a:ext uri="{FF2B5EF4-FFF2-40B4-BE49-F238E27FC236}">
                  <a16:creationId xmlns:a16="http://schemas.microsoft.com/office/drawing/2014/main" id="{4A75527B-1BD3-B9F6-1A0B-AD954C4211F4}"/>
                </a:ext>
              </a:extLst>
            </p:cNvPr>
            <p:cNvSpPr/>
            <p:nvPr/>
          </p:nvSpPr>
          <p:spPr>
            <a:xfrm>
              <a:off x="8801780" y="1390211"/>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5</a:t>
              </a:r>
              <a:r>
                <a:rPr kumimoji="0" lang="lv-LV" sz="800" b="1" i="0" u="none" strike="noStrike" kern="0" cap="none" spc="0" normalizeH="0" baseline="0" dirty="0">
                  <a:ln>
                    <a:noFill/>
                  </a:ln>
                  <a:effectLst/>
                  <a:uLnTx/>
                  <a:uFillTx/>
                  <a:ea typeface="Georgia"/>
                  <a:cs typeface="Georgia"/>
                  <a:sym typeface="Georgia"/>
                </a:rPr>
                <a:t>.</a:t>
              </a:r>
              <a:r>
                <a:rPr kumimoji="0" lang="en-US" sz="800" b="1" i="0" u="none" strike="noStrike" kern="0" cap="none" spc="0" normalizeH="0" baseline="0" dirty="0">
                  <a:ln>
                    <a:noFill/>
                  </a:ln>
                  <a:effectLst/>
                  <a:uLnTx/>
                  <a:uFillTx/>
                  <a:ea typeface="Georgia"/>
                  <a:cs typeface="Georgia"/>
                  <a:sym typeface="Georgia"/>
                </a:rPr>
                <a:t>2</a:t>
              </a:r>
              <a:endParaRPr kumimoji="0" lang="lv-LV" sz="800" b="1" i="0" u="none" strike="noStrike" kern="0" cap="none" spc="0" normalizeH="0" baseline="0" dirty="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9023542D-D3F6-60F2-3AC6-0709C5F69D56}"/>
                </a:ext>
              </a:extLst>
            </p:cNvPr>
            <p:cNvSpPr/>
            <p:nvPr/>
          </p:nvSpPr>
          <p:spPr>
            <a:xfrm>
              <a:off x="11049434" y="13902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3</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1BDD7FDA-C2D6-C843-4C61-644D4927E56A}"/>
                </a:ext>
              </a:extLst>
            </p:cNvPr>
            <p:cNvSpPr/>
            <p:nvPr/>
          </p:nvSpPr>
          <p:spPr>
            <a:xfrm>
              <a:off x="9043607" y="1390211"/>
              <a:ext cx="198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err="1">
                  <a:ln>
                    <a:noFill/>
                  </a:ln>
                  <a:effectLst/>
                  <a:uLnTx/>
                  <a:uFillTx/>
                  <a:ea typeface="Georgia"/>
                  <a:cs typeface="Georgia"/>
                  <a:sym typeface="Georgia"/>
                </a:rPr>
                <a:t>Katastrofas</a:t>
              </a:r>
              <a:r>
                <a:rPr kumimoji="0" lang="en-US" sz="800" b="1" i="0" u="none" strike="noStrike" kern="0" cap="none" spc="0" normalizeH="0" baseline="0" dirty="0">
                  <a:ln>
                    <a:noFill/>
                  </a:ln>
                  <a:effectLst/>
                  <a:uLnTx/>
                  <a:uFillTx/>
                  <a:ea typeface="Georgia"/>
                  <a:cs typeface="Georgia"/>
                  <a:sym typeface="Georgia"/>
                </a:rPr>
                <a:t> </a:t>
              </a:r>
              <a:r>
                <a:rPr kumimoji="0" lang="en-US" sz="800" b="1" i="0" u="none" strike="noStrike" kern="0" cap="none" spc="0" normalizeH="0" baseline="0" dirty="0" err="1">
                  <a:ln>
                    <a:noFill/>
                  </a:ln>
                  <a:effectLst/>
                  <a:uLnTx/>
                  <a:uFillTx/>
                  <a:ea typeface="Georgia"/>
                  <a:cs typeface="Georgia"/>
                  <a:sym typeface="Georgia"/>
                </a:rPr>
                <a:t>pārvaldīšanas</a:t>
              </a:r>
              <a:r>
                <a:rPr kumimoji="0" lang="en-US" sz="800" b="1" i="0" u="none" strike="noStrike" kern="0" cap="none" spc="0" normalizeH="0" baseline="0" dirty="0">
                  <a:ln>
                    <a:noFill/>
                  </a:ln>
                  <a:effectLst/>
                  <a:uLnTx/>
                  <a:uFillTx/>
                  <a:ea typeface="Georgia"/>
                  <a:cs typeface="Georgia"/>
                  <a:sym typeface="Georgia"/>
                </a:rPr>
                <a:t> </a:t>
              </a:r>
              <a:r>
                <a:rPr kumimoji="0" lang="en-US" sz="800" b="1" i="0" u="none" strike="noStrike" kern="0" cap="none" spc="0" normalizeH="0" baseline="0" dirty="0" err="1">
                  <a:ln>
                    <a:noFill/>
                  </a:ln>
                  <a:effectLst/>
                  <a:uLnTx/>
                  <a:uFillTx/>
                  <a:ea typeface="Georgia"/>
                  <a:cs typeface="Georgia"/>
                  <a:sym typeface="Georgia"/>
                </a:rPr>
                <a:t>principi</a:t>
              </a:r>
              <a:endParaRPr kumimoji="0" lang="en-US" sz="800" b="1" i="0" u="none" strike="noStrike" kern="0" cap="none" spc="0" normalizeH="0" baseline="0" dirty="0">
                <a:ln>
                  <a:noFill/>
                </a:ln>
                <a:effectLst/>
                <a:uLnTx/>
                <a:uFillTx/>
                <a:ea typeface="Georgia"/>
                <a:cs typeface="Georgia"/>
                <a:sym typeface="Georgia"/>
              </a:endParaRPr>
            </a:p>
          </p:txBody>
        </p:sp>
        <p:sp>
          <p:nvSpPr>
            <p:cNvPr id="22" name="Rectangle 21">
              <a:extLst>
                <a:ext uri="{FF2B5EF4-FFF2-40B4-BE49-F238E27FC236}">
                  <a16:creationId xmlns:a16="http://schemas.microsoft.com/office/drawing/2014/main" id="{43F20A46-A39C-E7DD-2952-5A51D6ECA3A3}"/>
                </a:ext>
              </a:extLst>
            </p:cNvPr>
            <p:cNvSpPr/>
            <p:nvPr/>
          </p:nvSpPr>
          <p:spPr>
            <a:xfrm>
              <a:off x="11291261" y="13902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4</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25" name="Rectangle 24">
              <a:extLst>
                <a:ext uri="{FF2B5EF4-FFF2-40B4-BE49-F238E27FC236}">
                  <a16:creationId xmlns:a16="http://schemas.microsoft.com/office/drawing/2014/main" id="{0D39065F-1135-C256-FCEC-5F2D13DA4584}"/>
                </a:ext>
              </a:extLst>
            </p:cNvPr>
            <p:cNvSpPr/>
            <p:nvPr/>
          </p:nvSpPr>
          <p:spPr>
            <a:xfrm>
              <a:off x="8559953" y="13902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
        <p:nvSpPr>
          <p:cNvPr id="5" name="Rectangle 4">
            <a:extLst>
              <a:ext uri="{FF2B5EF4-FFF2-40B4-BE49-F238E27FC236}">
                <a16:creationId xmlns:a16="http://schemas.microsoft.com/office/drawing/2014/main" id="{1360CF54-28D8-7E33-0B85-967580880D5F}"/>
              </a:ext>
            </a:extLst>
          </p:cNvPr>
          <p:cNvSpPr/>
          <p:nvPr/>
        </p:nvSpPr>
        <p:spPr>
          <a:xfrm>
            <a:off x="441324" y="3429000"/>
            <a:ext cx="5536607" cy="274954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t"/>
          <a:lstStyle/>
          <a:p>
            <a:pPr marL="285750" indent="-285750">
              <a:lnSpc>
                <a:spcPct val="100000"/>
              </a:lnSpc>
              <a:spcAft>
                <a:spcPts val="1200"/>
              </a:spcAft>
              <a:buSzPct val="120000"/>
              <a:buBlip>
                <a:blip r:embed="rId6"/>
              </a:buBlip>
            </a:pPr>
            <a:r>
              <a:rPr lang="lv-LV" sz="1600" dirty="0">
                <a:solidFill>
                  <a:schemeClr val="tx1"/>
                </a:solidFill>
              </a:rPr>
              <a:t>Valsts materiālās rezerves ir likumā noteiktā kārtībā izveidotais materiālo un finanšu resursu kopums, kuru izmanto katastrofu pārvaldīšanā iesaistītās institūcijas, ja to rīcībā esošie resursi ir nepietiekami reaģēšanas pasākumu veikšanai.</a:t>
            </a:r>
          </a:p>
          <a:p>
            <a:pPr marL="285750" indent="-285750">
              <a:lnSpc>
                <a:spcPct val="100000"/>
              </a:lnSpc>
              <a:spcAft>
                <a:spcPts val="1200"/>
              </a:spcAft>
              <a:buSzPct val="120000"/>
              <a:buBlip>
                <a:blip r:embed="rId6"/>
              </a:buBlip>
            </a:pPr>
            <a:r>
              <a:rPr lang="lv-LV" sz="1600" dirty="0">
                <a:solidFill>
                  <a:schemeClr val="tx1"/>
                </a:solidFill>
              </a:rPr>
              <a:t>VMR izmanto katastrofu pārvaldīšanā ietilpstošajos reaģēšanas, seku likvidēšanas un atjaunošanas pasākumos, krīzes situāciju un militāra apdraudējuma pārvarēšanas pasākumos, humānās palīdzības sniegšanai u.c.</a:t>
            </a:r>
          </a:p>
        </p:txBody>
      </p:sp>
      <p:sp>
        <p:nvSpPr>
          <p:cNvPr id="6" name="Rectangle 5">
            <a:extLst>
              <a:ext uri="{FF2B5EF4-FFF2-40B4-BE49-F238E27FC236}">
                <a16:creationId xmlns:a16="http://schemas.microsoft.com/office/drawing/2014/main" id="{C84EB0AE-3608-5F19-284E-8EB1510291E5}"/>
              </a:ext>
            </a:extLst>
          </p:cNvPr>
          <p:cNvSpPr/>
          <p:nvPr/>
        </p:nvSpPr>
        <p:spPr>
          <a:xfrm rot="5400000">
            <a:off x="3173413" y="3375025"/>
            <a:ext cx="73025" cy="55372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436233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CCE7B07-CD4B-5E73-49C2-B56F6F53BDB2}"/>
              </a:ext>
            </a:extLst>
          </p:cNvPr>
          <p:cNvGraphicFramePr>
            <a:graphicFrameLocks noChangeAspect="1"/>
          </p:cNvGraphicFramePr>
          <p:nvPr>
            <p:custDataLst>
              <p:tags r:id="rId1"/>
            </p:custDataLst>
            <p:extLst>
              <p:ext uri="{D42A27DB-BD31-4B8C-83A1-F6EECF244321}">
                <p14:modId xmlns:p14="http://schemas.microsoft.com/office/powerpoint/2010/main" val="3621557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0" name="think-cell data - do not delete" hidden="1">
                        <a:extLst>
                          <a:ext uri="{FF2B5EF4-FFF2-40B4-BE49-F238E27FC236}">
                            <a16:creationId xmlns:a16="http://schemas.microsoft.com/office/drawing/2014/main" id="{8CCE7B07-CD4B-5E73-49C2-B56F6F53BD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B0FF307F-5A72-87A7-3B8B-5A25D6F7DE1D}"/>
              </a:ext>
            </a:extLst>
          </p:cNvPr>
          <p:cNvSpPr/>
          <p:nvPr/>
        </p:nvSpPr>
        <p:spPr>
          <a:xfrm>
            <a:off x="441325" y="3426594"/>
            <a:ext cx="5537200" cy="275207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t"/>
          <a:lstStyle/>
          <a:p>
            <a:pPr>
              <a:lnSpc>
                <a:spcPct val="100000"/>
              </a:lnSpc>
              <a:spcAft>
                <a:spcPts val="1200"/>
              </a:spcAft>
              <a:buSzPct val="120000"/>
            </a:pPr>
            <a:r>
              <a:rPr lang="lv-LV" sz="1600" dirty="0">
                <a:solidFill>
                  <a:schemeClr val="tx1"/>
                </a:solidFill>
              </a:rPr>
              <a:t>Informācija tiek izplatīta:</a:t>
            </a:r>
          </a:p>
          <a:p>
            <a:pPr marL="285750" indent="-285750">
              <a:lnSpc>
                <a:spcPct val="100000"/>
              </a:lnSpc>
              <a:spcAft>
                <a:spcPts val="1200"/>
              </a:spcAft>
              <a:buSzPct val="100000"/>
              <a:buBlip>
                <a:blip r:embed="rId6"/>
              </a:buBlip>
            </a:pPr>
            <a:r>
              <a:rPr lang="lv-LV" sz="1600" dirty="0">
                <a:solidFill>
                  <a:schemeClr val="tx1"/>
                </a:solidFill>
              </a:rPr>
              <a:t>Elektroniskajos plašsaziņas līdzekļos</a:t>
            </a:r>
          </a:p>
          <a:p>
            <a:pPr marL="285750" indent="-285750">
              <a:lnSpc>
                <a:spcPct val="100000"/>
              </a:lnSpc>
              <a:spcAft>
                <a:spcPts val="1200"/>
              </a:spcAft>
              <a:buSzPct val="100000"/>
              <a:buBlip>
                <a:blip r:embed="rId6"/>
              </a:buBlip>
            </a:pPr>
            <a:r>
              <a:rPr lang="lv-LV" sz="1600" dirty="0">
                <a:solidFill>
                  <a:schemeClr val="tx1"/>
                </a:solidFill>
              </a:rPr>
              <a:t>VUGD sociālajos tīklos un 112 lietotnē</a:t>
            </a:r>
          </a:p>
          <a:p>
            <a:pPr marL="285750" indent="-285750">
              <a:lnSpc>
                <a:spcPct val="100000"/>
              </a:lnSpc>
              <a:spcAft>
                <a:spcPts val="1200"/>
              </a:spcAft>
              <a:buSzPct val="100000"/>
              <a:buBlip>
                <a:blip r:embed="rId6"/>
              </a:buBlip>
            </a:pPr>
            <a:r>
              <a:rPr lang="lv-LV" sz="1600" dirty="0">
                <a:solidFill>
                  <a:schemeClr val="tx1"/>
                </a:solidFill>
              </a:rPr>
              <a:t>Ar trauksmes sirēnu palīdzību</a:t>
            </a:r>
          </a:p>
        </p:txBody>
      </p:sp>
      <p:sp>
        <p:nvSpPr>
          <p:cNvPr id="16" name="TextBox 15">
            <a:extLst>
              <a:ext uri="{FF2B5EF4-FFF2-40B4-BE49-F238E27FC236}">
                <a16:creationId xmlns:a16="http://schemas.microsoft.com/office/drawing/2014/main" id="{31C15E75-A27E-DD9A-2595-6B18B12D60A1}"/>
              </a:ext>
            </a:extLst>
          </p:cNvPr>
          <p:cNvSpPr txBox="1"/>
          <p:nvPr/>
        </p:nvSpPr>
        <p:spPr>
          <a:xfrm>
            <a:off x="442913" y="2628993"/>
            <a:ext cx="11306175" cy="288000"/>
          </a:xfrm>
          <a:prstGeom prst="rect">
            <a:avLst/>
          </a:prstGeom>
          <a:solidFill>
            <a:srgbClr val="A8192D"/>
          </a:solidFill>
        </p:spPr>
        <p:txBody>
          <a:bodyPr wrap="square" lIns="72000" tIns="0" rIns="0" bIns="0" anchor="ctr">
            <a:noAutofit/>
          </a:bodyPr>
          <a:lstStyle/>
          <a:p>
            <a:r>
              <a:rPr lang="lv-LV" sz="1600" b="1" dirty="0">
                <a:solidFill>
                  <a:schemeClr val="bg1"/>
                </a:solidFill>
                <a:latin typeface="Arial" panose="020B0604020202020204" pitchFamily="34" charset="0"/>
              </a:rPr>
              <a:t>Piemēri</a:t>
            </a:r>
            <a:r>
              <a:rPr lang="lv-LV" sz="1600" b="1" dirty="0">
                <a:solidFill>
                  <a:srgbClr val="A8192D"/>
                </a:solidFill>
                <a:latin typeface="Arial" panose="020B0604020202020204" pitchFamily="34" charset="0"/>
              </a:rPr>
              <a:t>:</a:t>
            </a:r>
            <a:endParaRPr lang="lv-LV" sz="1600" b="1" dirty="0">
              <a:solidFill>
                <a:srgbClr val="A8192D"/>
              </a:solidFill>
            </a:endParaRPr>
          </a:p>
        </p:txBody>
      </p:sp>
      <p:sp>
        <p:nvSpPr>
          <p:cNvPr id="2" name="Title 1">
            <a:extLst>
              <a:ext uri="{FF2B5EF4-FFF2-40B4-BE49-F238E27FC236}">
                <a16:creationId xmlns:a16="http://schemas.microsoft.com/office/drawing/2014/main" id="{47CC329B-CDB7-2001-9801-C52084777AED}"/>
              </a:ext>
            </a:extLst>
          </p:cNvPr>
          <p:cNvSpPr>
            <a:spLocks noGrp="1"/>
          </p:cNvSpPr>
          <p:nvPr>
            <p:ph type="title"/>
          </p:nvPr>
        </p:nvSpPr>
        <p:spPr/>
        <p:txBody>
          <a:bodyPr vert="horz"/>
          <a:lstStyle/>
          <a:p>
            <a:r>
              <a:rPr lang="lv-LV"/>
              <a:t>Reaģēšanas pasākumi</a:t>
            </a:r>
          </a:p>
        </p:txBody>
      </p:sp>
      <p:sp>
        <p:nvSpPr>
          <p:cNvPr id="3" name="Slide Number Placeholder 2">
            <a:extLst>
              <a:ext uri="{FF2B5EF4-FFF2-40B4-BE49-F238E27FC236}">
                <a16:creationId xmlns:a16="http://schemas.microsoft.com/office/drawing/2014/main" id="{D0C87657-18F7-4849-83B2-178542C39E1D}"/>
              </a:ext>
            </a:extLst>
          </p:cNvPr>
          <p:cNvSpPr>
            <a:spLocks noGrp="1"/>
          </p:cNvSpPr>
          <p:nvPr>
            <p:ph type="sldNum" sz="quarter" idx="11"/>
          </p:nvPr>
        </p:nvSpPr>
        <p:spPr/>
        <p:txBody>
          <a:bodyPr/>
          <a:lstStyle/>
          <a:p>
            <a:fld id="{7870704B-CE94-48CC-AF30-84932A1262A7}" type="slidenum">
              <a:rPr lang="en-GB" smtClean="0"/>
              <a:pPr/>
              <a:t>14</a:t>
            </a:fld>
            <a:endParaRPr lang="en-GB"/>
          </a:p>
        </p:txBody>
      </p:sp>
      <p:pic>
        <p:nvPicPr>
          <p:cNvPr id="14338" name="Picture 2" descr="72. stundas. Evakuācija un pretošanās">
            <a:extLst>
              <a:ext uri="{FF2B5EF4-FFF2-40B4-BE49-F238E27FC236}">
                <a16:creationId xmlns:a16="http://schemas.microsoft.com/office/drawing/2014/main" id="{7ECAC9D6-DC39-3898-AE7F-410FC24C797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9066" t="3548"/>
          <a:stretch/>
        </p:blipFill>
        <p:spPr bwMode="auto">
          <a:xfrm>
            <a:off x="6211472" y="3429000"/>
            <a:ext cx="5537616" cy="2743201"/>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a:extLst>
              <a:ext uri="{FF2B5EF4-FFF2-40B4-BE49-F238E27FC236}">
                <a16:creationId xmlns:a16="http://schemas.microsoft.com/office/drawing/2014/main" id="{103821F0-77D4-DE60-2C38-EF865526BA1D}"/>
              </a:ext>
            </a:extLst>
          </p:cNvPr>
          <p:cNvSpPr/>
          <p:nvPr/>
        </p:nvSpPr>
        <p:spPr>
          <a:xfrm>
            <a:off x="441325" y="1819275"/>
            <a:ext cx="11306175"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buClrTx/>
              <a:buSzPct val="100000"/>
              <a:buFontTx/>
              <a:buNone/>
              <a:tabLst/>
              <a:defRPr/>
            </a:pPr>
            <a:r>
              <a:rPr kumimoji="0" lang="lv-LV" sz="1600" b="1" i="0" u="none" strike="noStrike" kern="1200" cap="none" spc="0" normalizeH="0" baseline="0" noProof="0">
                <a:ln>
                  <a:noFill/>
                </a:ln>
                <a:solidFill>
                  <a:schemeClr val="tx1"/>
                </a:solidFill>
                <a:effectLst/>
                <a:uLnTx/>
                <a:uFillTx/>
                <a:latin typeface="Arial"/>
                <a:ea typeface="+mn-ea"/>
                <a:cs typeface="+mn-cs"/>
              </a:rPr>
              <a:t>Reaģēšanas pasākumi </a:t>
            </a:r>
            <a:r>
              <a:rPr kumimoji="0" lang="lv-LV" sz="1600" i="0" u="none" strike="noStrike" kern="1200" cap="none" spc="0" normalizeH="0" baseline="0" noProof="0">
                <a:ln>
                  <a:noFill/>
                </a:ln>
                <a:solidFill>
                  <a:schemeClr val="tx1"/>
                </a:solidFill>
                <a:effectLst/>
                <a:uLnTx/>
                <a:uFillTx/>
                <a:latin typeface="Arial"/>
                <a:ea typeface="+mn-ea"/>
                <a:cs typeface="+mn-cs"/>
              </a:rPr>
              <a:t>— tādu pasākumu kopums, kuri tiek veikti, lai mazinātu vai likvidētu postošos apstākļus </a:t>
            </a:r>
            <a:endParaRPr kumimoji="0" lang="en-US" sz="1600" i="0" u="none" strike="noStrike" kern="1200" cap="none" spc="0" normalizeH="0" baseline="0" noProof="0">
              <a:ln>
                <a:noFill/>
              </a:ln>
              <a:solidFill>
                <a:schemeClr val="tx1"/>
              </a:solidFill>
              <a:effectLst/>
              <a:uLnTx/>
              <a:uFillTx/>
              <a:latin typeface="Arial"/>
              <a:ea typeface="+mn-ea"/>
              <a:cs typeface="+mn-cs"/>
            </a:endParaRPr>
          </a:p>
          <a:p>
            <a:pPr marL="0" marR="0" lvl="0" indent="0" algn="l" defTabSz="914400" rtl="0" eaLnBrk="1" fontAlgn="auto" latinLnBrk="0" hangingPunct="1">
              <a:lnSpc>
                <a:spcPct val="100000"/>
              </a:lnSpc>
              <a:spcBef>
                <a:spcPts val="0"/>
              </a:spcBef>
              <a:buClrTx/>
              <a:buSzPct val="100000"/>
              <a:buFontTx/>
              <a:buNone/>
              <a:tabLst/>
              <a:defRPr/>
            </a:pPr>
            <a:r>
              <a:rPr kumimoji="0" lang="lv-LV" sz="1600" i="0" u="none" strike="noStrike" kern="1200" cap="none" spc="0" normalizeH="0" baseline="0" noProof="0">
                <a:ln>
                  <a:noFill/>
                </a:ln>
                <a:solidFill>
                  <a:schemeClr val="tx1"/>
                </a:solidFill>
                <a:effectLst/>
                <a:uLnTx/>
                <a:uFillTx/>
                <a:latin typeface="Arial"/>
                <a:ea typeface="+mn-ea"/>
                <a:cs typeface="+mn-cs"/>
              </a:rPr>
              <a:t>un to izraisītās sekas, novērstu vai mazinātu kaitējumu cilvēkiem, videi un īpašumam </a:t>
            </a:r>
          </a:p>
        </p:txBody>
      </p:sp>
      <p:sp>
        <p:nvSpPr>
          <p:cNvPr id="28" name="Rectangle 27">
            <a:extLst>
              <a:ext uri="{FF2B5EF4-FFF2-40B4-BE49-F238E27FC236}">
                <a16:creationId xmlns:a16="http://schemas.microsoft.com/office/drawing/2014/main" id="{6D97D8E8-75AB-D6CA-03A1-006AA26AE7AA}"/>
              </a:ext>
            </a:extLst>
          </p:cNvPr>
          <p:cNvSpPr/>
          <p:nvPr/>
        </p:nvSpPr>
        <p:spPr>
          <a:xfrm>
            <a:off x="11171500" y="1819275"/>
            <a:ext cx="576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chemeClr val="tx1"/>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95AB0B2F-17F2-2BD6-6CD8-CCF6E5629853}"/>
              </a:ext>
            </a:extLst>
          </p:cNvPr>
          <p:cNvSpPr/>
          <p:nvPr/>
        </p:nvSpPr>
        <p:spPr>
          <a:xfrm>
            <a:off x="111006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30" name="Google Shape;778;p79">
            <a:extLst>
              <a:ext uri="{FF2B5EF4-FFF2-40B4-BE49-F238E27FC236}">
                <a16:creationId xmlns:a16="http://schemas.microsoft.com/office/drawing/2014/main" id="{CAA80753-0628-1F09-93DC-371D0BD465EB}"/>
              </a:ext>
            </a:extLst>
          </p:cNvPr>
          <p:cNvSpPr/>
          <p:nvPr/>
        </p:nvSpPr>
        <p:spPr>
          <a:xfrm>
            <a:off x="11279500" y="1927275"/>
            <a:ext cx="360000" cy="360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1" name="TextBox 30">
            <a:extLst>
              <a:ext uri="{FF2B5EF4-FFF2-40B4-BE49-F238E27FC236}">
                <a16:creationId xmlns:a16="http://schemas.microsoft.com/office/drawing/2014/main" id="{EE203A0F-2ED6-AF84-EB11-3FA841AFC607}"/>
              </a:ext>
            </a:extLst>
          </p:cNvPr>
          <p:cNvSpPr txBox="1"/>
          <p:nvPr/>
        </p:nvSpPr>
        <p:spPr>
          <a:xfrm>
            <a:off x="441325" y="3048683"/>
            <a:ext cx="5473700" cy="246221"/>
          </a:xfrm>
          <a:prstGeom prst="rect">
            <a:avLst/>
          </a:prstGeom>
          <a:noFill/>
        </p:spPr>
        <p:txBody>
          <a:bodyPr wrap="square" lIns="0" tIns="0" rIns="0" bIns="0">
            <a:spAutoFit/>
          </a:bodyPr>
          <a:lstStyle/>
          <a:p>
            <a:r>
              <a:rPr lang="lv-LV" sz="1600" b="1" i="0" dirty="0">
                <a:solidFill>
                  <a:srgbClr val="414142"/>
                </a:solidFill>
                <a:effectLst/>
                <a:latin typeface="Arial" panose="020B0604020202020204" pitchFamily="34" charset="0"/>
              </a:rPr>
              <a:t>Valsts agrīnās brīdināšanas sistēmas aktivizēšana</a:t>
            </a:r>
          </a:p>
        </p:txBody>
      </p:sp>
      <p:sp>
        <p:nvSpPr>
          <p:cNvPr id="33" name="Rectangle 32">
            <a:extLst>
              <a:ext uri="{FF2B5EF4-FFF2-40B4-BE49-F238E27FC236}">
                <a16:creationId xmlns:a16="http://schemas.microsoft.com/office/drawing/2014/main" id="{F63531F1-8552-0200-CCEE-45666B597642}"/>
              </a:ext>
            </a:extLst>
          </p:cNvPr>
          <p:cNvSpPr/>
          <p:nvPr/>
        </p:nvSpPr>
        <p:spPr>
          <a:xfrm rot="5400000">
            <a:off x="3173413" y="3375025"/>
            <a:ext cx="73025" cy="55372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35" name="TextBox 34">
            <a:extLst>
              <a:ext uri="{FF2B5EF4-FFF2-40B4-BE49-F238E27FC236}">
                <a16:creationId xmlns:a16="http://schemas.microsoft.com/office/drawing/2014/main" id="{16F59321-25C4-5097-BD44-47F073255513}"/>
              </a:ext>
            </a:extLst>
          </p:cNvPr>
          <p:cNvSpPr txBox="1"/>
          <p:nvPr/>
        </p:nvSpPr>
        <p:spPr>
          <a:xfrm>
            <a:off x="6246749" y="3049886"/>
            <a:ext cx="4350172" cy="246221"/>
          </a:xfrm>
          <a:prstGeom prst="rect">
            <a:avLst/>
          </a:prstGeom>
          <a:noFill/>
        </p:spPr>
        <p:txBody>
          <a:bodyPr wrap="square" lIns="0" tIns="0" rIns="0" bIns="0">
            <a:spAutoFit/>
          </a:bodyPr>
          <a:lstStyle/>
          <a:p>
            <a:r>
              <a:rPr lang="lv-LV" sz="1600" b="1">
                <a:solidFill>
                  <a:srgbClr val="414142"/>
                </a:solidFill>
                <a:latin typeface="Arial" panose="020B0604020202020204" pitchFamily="34" charset="0"/>
              </a:rPr>
              <a:t>Iedzīvotāju evakuācija</a:t>
            </a:r>
          </a:p>
        </p:txBody>
      </p:sp>
      <p:grpSp>
        <p:nvGrpSpPr>
          <p:cNvPr id="41" name="Group 40">
            <a:extLst>
              <a:ext uri="{FF2B5EF4-FFF2-40B4-BE49-F238E27FC236}">
                <a16:creationId xmlns:a16="http://schemas.microsoft.com/office/drawing/2014/main" id="{2DC22EEE-639F-30E6-DE8A-8EDC5B51E62F}"/>
              </a:ext>
            </a:extLst>
          </p:cNvPr>
          <p:cNvGrpSpPr/>
          <p:nvPr/>
        </p:nvGrpSpPr>
        <p:grpSpPr>
          <a:xfrm>
            <a:off x="6211472" y="3429000"/>
            <a:ext cx="3480751" cy="584200"/>
            <a:chOff x="6210491" y="3606163"/>
            <a:chExt cx="3480751" cy="584200"/>
          </a:xfrm>
        </p:grpSpPr>
        <p:sp>
          <p:nvSpPr>
            <p:cNvPr id="38" name="Rectangle 37">
              <a:extLst>
                <a:ext uri="{FF2B5EF4-FFF2-40B4-BE49-F238E27FC236}">
                  <a16:creationId xmlns:a16="http://schemas.microsoft.com/office/drawing/2014/main" id="{DA0AF533-7833-D600-957C-F41A20739184}"/>
                </a:ext>
              </a:extLst>
            </p:cNvPr>
            <p:cNvSpPr/>
            <p:nvPr/>
          </p:nvSpPr>
          <p:spPr>
            <a:xfrm>
              <a:off x="6210491" y="3606163"/>
              <a:ext cx="3370615" cy="584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9" name="Freeform 50">
              <a:extLst>
                <a:ext uri="{FF2B5EF4-FFF2-40B4-BE49-F238E27FC236}">
                  <a16:creationId xmlns:a16="http://schemas.microsoft.com/office/drawing/2014/main" id="{86065646-861E-48F3-D9BA-6D0D7B1312CC}"/>
                </a:ext>
              </a:extLst>
            </p:cNvPr>
            <p:cNvSpPr>
              <a:spLocks noChangeAspect="1"/>
            </p:cNvSpPr>
            <p:nvPr/>
          </p:nvSpPr>
          <p:spPr bwMode="auto">
            <a:xfrm>
              <a:off x="6341091" y="375665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0" name="Google Shape;2685;p25">
              <a:extLst>
                <a:ext uri="{FF2B5EF4-FFF2-40B4-BE49-F238E27FC236}">
                  <a16:creationId xmlns:a16="http://schemas.microsoft.com/office/drawing/2014/main" id="{43636071-E6F8-100B-B0F6-F4970609F3DE}"/>
                </a:ext>
              </a:extLst>
            </p:cNvPr>
            <p:cNvSpPr txBox="1"/>
            <p:nvPr/>
          </p:nvSpPr>
          <p:spPr>
            <a:xfrm>
              <a:off x="6800723" y="3813625"/>
              <a:ext cx="2890519" cy="169277"/>
            </a:xfrm>
            <a:prstGeom prst="rect">
              <a:avLst/>
            </a:prstGeom>
            <a:noFill/>
            <a:ln>
              <a:noFill/>
            </a:ln>
          </p:spPr>
          <p:txBody>
            <a:bodyPr spcFirstLastPara="1" wrap="square" lIns="0" tIns="0" rIns="72000" bIns="0" anchor="ctr" anchorCtr="0">
              <a:spAutoFit/>
            </a:bodyPr>
            <a:lstStyle/>
            <a:p>
              <a:pPr>
                <a:lnSpc>
                  <a:spcPct val="100000"/>
                </a:lnSpc>
                <a:buSzPct val="100000"/>
              </a:pPr>
              <a:r>
                <a:rPr lang="lv-LV" sz="1100" dirty="0">
                  <a:hlinkClick r:id="rId8">
                    <a:extLst>
                      <a:ext uri="{A12FA001-AC4F-418D-AE19-62706E023703}">
                        <ahyp:hlinkClr xmlns:ahyp="http://schemas.microsoft.com/office/drawing/2018/hyperlinkcolor" val="tx"/>
                      </a:ext>
                    </a:extLst>
                  </a:hlinkClick>
                </a:rPr>
                <a:t>72 stundas. Evakuācija un pretošanās</a:t>
              </a:r>
              <a:endParaRPr lang="lv-LV" sz="1100" dirty="0"/>
            </a:p>
          </p:txBody>
        </p:sp>
      </p:grpSp>
      <p:grpSp>
        <p:nvGrpSpPr>
          <p:cNvPr id="4" name="Group 3">
            <a:extLst>
              <a:ext uri="{FF2B5EF4-FFF2-40B4-BE49-F238E27FC236}">
                <a16:creationId xmlns:a16="http://schemas.microsoft.com/office/drawing/2014/main" id="{5F477239-8BD7-93F2-DE2D-FE102066F98B}"/>
              </a:ext>
            </a:extLst>
          </p:cNvPr>
          <p:cNvGrpSpPr/>
          <p:nvPr/>
        </p:nvGrpSpPr>
        <p:grpSpPr>
          <a:xfrm>
            <a:off x="8801780" y="159786"/>
            <a:ext cx="2947308" cy="217488"/>
            <a:chOff x="8559953" y="1390211"/>
            <a:chExt cx="2947308" cy="217488"/>
          </a:xfrm>
        </p:grpSpPr>
        <p:sp>
          <p:nvSpPr>
            <p:cNvPr id="5" name="Rectangle 4">
              <a:extLst>
                <a:ext uri="{FF2B5EF4-FFF2-40B4-BE49-F238E27FC236}">
                  <a16:creationId xmlns:a16="http://schemas.microsoft.com/office/drawing/2014/main" id="{9988FB77-E90B-DAA0-4324-385FCF1A92C0}"/>
                </a:ext>
              </a:extLst>
            </p:cNvPr>
            <p:cNvSpPr/>
            <p:nvPr/>
          </p:nvSpPr>
          <p:spPr>
            <a:xfrm>
              <a:off x="8801780" y="1390211"/>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5</a:t>
              </a:r>
              <a:r>
                <a:rPr kumimoji="0" lang="lv-LV" sz="800" b="1" i="0" u="none" strike="noStrike" kern="0" cap="none" spc="0" normalizeH="0" baseline="0" dirty="0">
                  <a:ln>
                    <a:noFill/>
                  </a:ln>
                  <a:effectLst/>
                  <a:uLnTx/>
                  <a:uFillTx/>
                  <a:ea typeface="Georgia"/>
                  <a:cs typeface="Georgia"/>
                  <a:sym typeface="Georgia"/>
                </a:rPr>
                <a:t>.</a:t>
              </a:r>
              <a:r>
                <a:rPr kumimoji="0" lang="en-US" sz="800" b="1" i="0" u="none" strike="noStrike" kern="0" cap="none" spc="0" normalizeH="0" baseline="0" dirty="0">
                  <a:ln>
                    <a:noFill/>
                  </a:ln>
                  <a:effectLst/>
                  <a:uLnTx/>
                  <a:uFillTx/>
                  <a:ea typeface="Georgia"/>
                  <a:cs typeface="Georgia"/>
                  <a:sym typeface="Georgia"/>
                </a:rPr>
                <a:t>2</a:t>
              </a:r>
              <a:endParaRPr kumimoji="0" lang="lv-LV" sz="800" b="1" i="0" u="none" strike="noStrike" kern="0" cap="none" spc="0" normalizeH="0" baseline="0" dirty="0">
                <a:ln>
                  <a:noFill/>
                </a:ln>
                <a:effectLst/>
                <a:uLnTx/>
                <a:uFillTx/>
                <a:ea typeface="Georgia"/>
                <a:cs typeface="Georgia"/>
                <a:sym typeface="Georgia"/>
              </a:endParaRPr>
            </a:p>
          </p:txBody>
        </p:sp>
        <p:sp>
          <p:nvSpPr>
            <p:cNvPr id="6" name="Rectangle 5">
              <a:extLst>
                <a:ext uri="{FF2B5EF4-FFF2-40B4-BE49-F238E27FC236}">
                  <a16:creationId xmlns:a16="http://schemas.microsoft.com/office/drawing/2014/main" id="{67C73E0A-0FA6-6945-5687-39FCBA93ECC8}"/>
                </a:ext>
              </a:extLst>
            </p:cNvPr>
            <p:cNvSpPr/>
            <p:nvPr/>
          </p:nvSpPr>
          <p:spPr>
            <a:xfrm>
              <a:off x="11049434" y="13902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3</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7" name="Rectangle 6">
              <a:extLst>
                <a:ext uri="{FF2B5EF4-FFF2-40B4-BE49-F238E27FC236}">
                  <a16:creationId xmlns:a16="http://schemas.microsoft.com/office/drawing/2014/main" id="{2159C8FE-2D95-E045-D014-11D4C2CEAD1B}"/>
                </a:ext>
              </a:extLst>
            </p:cNvPr>
            <p:cNvSpPr/>
            <p:nvPr/>
          </p:nvSpPr>
          <p:spPr>
            <a:xfrm>
              <a:off x="9043607" y="1390211"/>
              <a:ext cx="198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err="1">
                  <a:ln>
                    <a:noFill/>
                  </a:ln>
                  <a:effectLst/>
                  <a:uLnTx/>
                  <a:uFillTx/>
                  <a:ea typeface="Georgia"/>
                  <a:cs typeface="Georgia"/>
                  <a:sym typeface="Georgia"/>
                </a:rPr>
                <a:t>Katastrofas</a:t>
              </a:r>
              <a:r>
                <a:rPr kumimoji="0" lang="en-US" sz="800" b="1" i="0" u="none" strike="noStrike" kern="0" cap="none" spc="0" normalizeH="0" baseline="0" dirty="0">
                  <a:ln>
                    <a:noFill/>
                  </a:ln>
                  <a:effectLst/>
                  <a:uLnTx/>
                  <a:uFillTx/>
                  <a:ea typeface="Georgia"/>
                  <a:cs typeface="Georgia"/>
                  <a:sym typeface="Georgia"/>
                </a:rPr>
                <a:t> </a:t>
              </a:r>
              <a:r>
                <a:rPr kumimoji="0" lang="en-US" sz="800" b="1" i="0" u="none" strike="noStrike" kern="0" cap="none" spc="0" normalizeH="0" baseline="0" dirty="0" err="1">
                  <a:ln>
                    <a:noFill/>
                  </a:ln>
                  <a:effectLst/>
                  <a:uLnTx/>
                  <a:uFillTx/>
                  <a:ea typeface="Georgia"/>
                  <a:cs typeface="Georgia"/>
                  <a:sym typeface="Georgia"/>
                </a:rPr>
                <a:t>pārvaldīšanas</a:t>
              </a:r>
              <a:r>
                <a:rPr kumimoji="0" lang="en-US" sz="800" b="1" i="0" u="none" strike="noStrike" kern="0" cap="none" spc="0" normalizeH="0" baseline="0" dirty="0">
                  <a:ln>
                    <a:noFill/>
                  </a:ln>
                  <a:effectLst/>
                  <a:uLnTx/>
                  <a:uFillTx/>
                  <a:ea typeface="Georgia"/>
                  <a:cs typeface="Georgia"/>
                  <a:sym typeface="Georgia"/>
                </a:rPr>
                <a:t> </a:t>
              </a:r>
              <a:r>
                <a:rPr kumimoji="0" lang="en-US" sz="800" b="1" i="0" u="none" strike="noStrike" kern="0" cap="none" spc="0" normalizeH="0" baseline="0" dirty="0" err="1">
                  <a:ln>
                    <a:noFill/>
                  </a:ln>
                  <a:effectLst/>
                  <a:uLnTx/>
                  <a:uFillTx/>
                  <a:ea typeface="Georgia"/>
                  <a:cs typeface="Georgia"/>
                  <a:sym typeface="Georgia"/>
                </a:rPr>
                <a:t>principi</a:t>
              </a:r>
              <a:endParaRPr kumimoji="0" lang="en-US" sz="800" b="1" i="0" u="none" strike="noStrike" kern="0" cap="none" spc="0" normalizeH="0" baseline="0" dirty="0">
                <a:ln>
                  <a:noFill/>
                </a:ln>
                <a:effectLst/>
                <a:uLnTx/>
                <a:uFillTx/>
                <a:ea typeface="Georgia"/>
                <a:cs typeface="Georgia"/>
                <a:sym typeface="Georgia"/>
              </a:endParaRPr>
            </a:p>
          </p:txBody>
        </p:sp>
        <p:sp>
          <p:nvSpPr>
            <p:cNvPr id="11" name="Rectangle 10">
              <a:extLst>
                <a:ext uri="{FF2B5EF4-FFF2-40B4-BE49-F238E27FC236}">
                  <a16:creationId xmlns:a16="http://schemas.microsoft.com/office/drawing/2014/main" id="{3708B777-BF5A-8265-0122-6A1B42F0C652}"/>
                </a:ext>
              </a:extLst>
            </p:cNvPr>
            <p:cNvSpPr/>
            <p:nvPr/>
          </p:nvSpPr>
          <p:spPr>
            <a:xfrm>
              <a:off x="11291261" y="13902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4</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12" name="Rectangle 11">
              <a:extLst>
                <a:ext uri="{FF2B5EF4-FFF2-40B4-BE49-F238E27FC236}">
                  <a16:creationId xmlns:a16="http://schemas.microsoft.com/office/drawing/2014/main" id="{A6A2B749-37AE-80EE-4CD1-220F600A286B}"/>
                </a:ext>
              </a:extLst>
            </p:cNvPr>
            <p:cNvSpPr/>
            <p:nvPr/>
          </p:nvSpPr>
          <p:spPr>
            <a:xfrm>
              <a:off x="8559953" y="13902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2826364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F38C7326-2BE0-B213-C81A-6B11E39A7ECF}"/>
              </a:ext>
            </a:extLst>
          </p:cNvPr>
          <p:cNvGraphicFramePr>
            <a:graphicFrameLocks noChangeAspect="1"/>
          </p:cNvGraphicFramePr>
          <p:nvPr>
            <p:custDataLst>
              <p:tags r:id="rId1"/>
            </p:custDataLst>
            <p:extLst>
              <p:ext uri="{D42A27DB-BD31-4B8C-83A1-F6EECF244321}">
                <p14:modId xmlns:p14="http://schemas.microsoft.com/office/powerpoint/2010/main" val="2893597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7" name="think-cell data - do not delete" hidden="1">
                        <a:extLst>
                          <a:ext uri="{FF2B5EF4-FFF2-40B4-BE49-F238E27FC236}">
                            <a16:creationId xmlns:a16="http://schemas.microsoft.com/office/drawing/2014/main" id="{F38C7326-2BE0-B213-C81A-6B11E39A7E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CC329B-CDB7-2001-9801-C52084777AED}"/>
              </a:ext>
            </a:extLst>
          </p:cNvPr>
          <p:cNvSpPr>
            <a:spLocks noGrp="1"/>
          </p:cNvSpPr>
          <p:nvPr>
            <p:ph type="title"/>
          </p:nvPr>
        </p:nvSpPr>
        <p:spPr>
          <a:xfrm>
            <a:off x="442913" y="432001"/>
            <a:ext cx="11306175" cy="1387274"/>
          </a:xfrm>
        </p:spPr>
        <p:txBody>
          <a:bodyPr vert="horz"/>
          <a:lstStyle/>
          <a:p>
            <a:r>
              <a:rPr lang="lv-LV" dirty="0"/>
              <a:t>Seku likvidēšanas pasākumi</a:t>
            </a:r>
          </a:p>
        </p:txBody>
      </p:sp>
      <p:sp>
        <p:nvSpPr>
          <p:cNvPr id="3" name="Slide Number Placeholder 2">
            <a:extLst>
              <a:ext uri="{FF2B5EF4-FFF2-40B4-BE49-F238E27FC236}">
                <a16:creationId xmlns:a16="http://schemas.microsoft.com/office/drawing/2014/main" id="{D0C87657-18F7-4849-83B2-178542C39E1D}"/>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5</a:t>
            </a:fld>
            <a:endParaRPr lang="en-GB"/>
          </a:p>
        </p:txBody>
      </p:sp>
      <p:sp>
        <p:nvSpPr>
          <p:cNvPr id="9" name="TextBox 8">
            <a:extLst>
              <a:ext uri="{FF2B5EF4-FFF2-40B4-BE49-F238E27FC236}">
                <a16:creationId xmlns:a16="http://schemas.microsoft.com/office/drawing/2014/main" id="{8C0307FD-DC81-2CE7-F782-62171BF19161}"/>
              </a:ext>
            </a:extLst>
          </p:cNvPr>
          <p:cNvSpPr txBox="1"/>
          <p:nvPr/>
        </p:nvSpPr>
        <p:spPr>
          <a:xfrm>
            <a:off x="440911" y="2926775"/>
            <a:ext cx="5518565" cy="492443"/>
          </a:xfrm>
          <a:prstGeom prst="rect">
            <a:avLst/>
          </a:prstGeom>
          <a:noFill/>
        </p:spPr>
        <p:txBody>
          <a:bodyPr wrap="square" lIns="0" tIns="0" rIns="0" bIns="0">
            <a:spAutoFit/>
          </a:bodyPr>
          <a:lstStyle/>
          <a:p>
            <a:r>
              <a:rPr lang="lv-LV" sz="1600" b="1" dirty="0">
                <a:solidFill>
                  <a:srgbClr val="414142"/>
                </a:solidFill>
                <a:latin typeface="Arial" panose="020B0604020202020204" pitchFamily="34" charset="0"/>
              </a:rPr>
              <a:t>Sabiedrībai sniedzamo pakalpojumu atjaunošana evakuētajās teritorijās</a:t>
            </a:r>
          </a:p>
        </p:txBody>
      </p:sp>
      <p:sp>
        <p:nvSpPr>
          <p:cNvPr id="13" name="TextBox 12">
            <a:extLst>
              <a:ext uri="{FF2B5EF4-FFF2-40B4-BE49-F238E27FC236}">
                <a16:creationId xmlns:a16="http://schemas.microsoft.com/office/drawing/2014/main" id="{5F3666AF-285A-3EE5-AC15-F699BD77C504}"/>
              </a:ext>
            </a:extLst>
          </p:cNvPr>
          <p:cNvSpPr txBox="1"/>
          <p:nvPr/>
        </p:nvSpPr>
        <p:spPr>
          <a:xfrm>
            <a:off x="6230521" y="2926774"/>
            <a:ext cx="4395037" cy="492443"/>
          </a:xfrm>
          <a:prstGeom prst="rect">
            <a:avLst/>
          </a:prstGeom>
          <a:noFill/>
        </p:spPr>
        <p:txBody>
          <a:bodyPr wrap="square" lIns="0" tIns="0" rIns="0" bIns="0">
            <a:spAutoFit/>
          </a:bodyPr>
          <a:lstStyle/>
          <a:p>
            <a:r>
              <a:rPr lang="lv-LV" sz="1600" b="1" i="0" dirty="0">
                <a:solidFill>
                  <a:srgbClr val="414142"/>
                </a:solidFill>
                <a:effectLst/>
                <a:latin typeface="Arial" panose="020B0604020202020204" pitchFamily="34" charset="0"/>
              </a:rPr>
              <a:t>Videi un infrastruktūrai nodarītā kaitējuma novērtēšana un atjaunošana</a:t>
            </a:r>
          </a:p>
        </p:txBody>
      </p:sp>
      <p:sp>
        <p:nvSpPr>
          <p:cNvPr id="14" name="Rectangle 13">
            <a:extLst>
              <a:ext uri="{FF2B5EF4-FFF2-40B4-BE49-F238E27FC236}">
                <a16:creationId xmlns:a16="http://schemas.microsoft.com/office/drawing/2014/main" id="{E2D35C53-4E79-C51D-E315-7AD42809D29F}"/>
              </a:ext>
            </a:extLst>
          </p:cNvPr>
          <p:cNvSpPr/>
          <p:nvPr/>
        </p:nvSpPr>
        <p:spPr>
          <a:xfrm>
            <a:off x="6211888" y="3428999"/>
            <a:ext cx="5518150" cy="274955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t"/>
          <a:lstStyle/>
          <a:p>
            <a:pPr marL="285750" indent="-285750">
              <a:lnSpc>
                <a:spcPct val="100000"/>
              </a:lnSpc>
              <a:spcAft>
                <a:spcPts val="1200"/>
              </a:spcAft>
              <a:buSzPct val="120000"/>
              <a:buBlip>
                <a:blip r:embed="rId6"/>
              </a:buBlip>
            </a:pPr>
            <a:r>
              <a:rPr lang="lv-LV" sz="1600" dirty="0">
                <a:solidFill>
                  <a:schemeClr val="tx1"/>
                </a:solidFill>
              </a:rPr>
              <a:t>Plūdu gadījumā tiek veikti tādi seku likvidēšanas pasākumi kā atsūknēts ūdens no iedzīvotāju mājām, sazāģēti un novākti ūdens izgāzti koki</a:t>
            </a:r>
          </a:p>
        </p:txBody>
      </p:sp>
      <p:sp>
        <p:nvSpPr>
          <p:cNvPr id="17" name="Rectangle 16">
            <a:extLst>
              <a:ext uri="{FF2B5EF4-FFF2-40B4-BE49-F238E27FC236}">
                <a16:creationId xmlns:a16="http://schemas.microsoft.com/office/drawing/2014/main" id="{2C3F4A98-1971-DF77-C3FF-F182B8D95D3F}"/>
              </a:ext>
            </a:extLst>
          </p:cNvPr>
          <p:cNvSpPr/>
          <p:nvPr/>
        </p:nvSpPr>
        <p:spPr>
          <a:xfrm>
            <a:off x="441325" y="1819275"/>
            <a:ext cx="11306175"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buClrTx/>
              <a:buSzPct val="100000"/>
              <a:buFontTx/>
              <a:buNone/>
              <a:tabLst/>
              <a:defRPr/>
            </a:pPr>
            <a:r>
              <a:rPr kumimoji="0" lang="lv-LV" sz="1600" b="1" i="0" u="none" strike="noStrike" kern="1200" cap="none" spc="0" normalizeH="0" baseline="0" noProof="0" dirty="0">
                <a:ln>
                  <a:noFill/>
                </a:ln>
                <a:solidFill>
                  <a:schemeClr val="tx1"/>
                </a:solidFill>
                <a:effectLst/>
                <a:uLnTx/>
                <a:uFillTx/>
                <a:latin typeface="Arial"/>
                <a:ea typeface="+mn-ea"/>
                <a:cs typeface="+mn-cs"/>
              </a:rPr>
              <a:t>Seku likvidēšanas pasākumi — </a:t>
            </a:r>
            <a:r>
              <a:rPr kumimoji="0" lang="lv-LV" sz="1600" i="0" u="none" strike="noStrike" kern="1200" cap="none" spc="0" normalizeH="0" baseline="0" noProof="0" dirty="0">
                <a:ln>
                  <a:noFill/>
                </a:ln>
                <a:solidFill>
                  <a:schemeClr val="tx1"/>
                </a:solidFill>
                <a:effectLst/>
                <a:uLnTx/>
                <a:uFillTx/>
                <a:latin typeface="Arial"/>
                <a:ea typeface="+mn-ea"/>
                <a:cs typeface="+mn-cs"/>
              </a:rPr>
              <a:t>tādu pasākumu kopums, kuri tiek veikti, lai nodrošinātu vismaz minimālās iedzīvotāju pamatvajadzības, kas saistītas ar cilvēku izdzīvošanu, un apturētu vai mazinātu veselības, vides un īpašuma apdraudējumu </a:t>
            </a:r>
          </a:p>
        </p:txBody>
      </p:sp>
      <p:sp>
        <p:nvSpPr>
          <p:cNvPr id="18" name="Rectangle 17">
            <a:extLst>
              <a:ext uri="{FF2B5EF4-FFF2-40B4-BE49-F238E27FC236}">
                <a16:creationId xmlns:a16="http://schemas.microsoft.com/office/drawing/2014/main" id="{C68A8364-C7C8-451D-4DDE-73D7E7A3EDE3}"/>
              </a:ext>
            </a:extLst>
          </p:cNvPr>
          <p:cNvSpPr/>
          <p:nvPr/>
        </p:nvSpPr>
        <p:spPr>
          <a:xfrm>
            <a:off x="11171500" y="1819275"/>
            <a:ext cx="576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chemeClr val="tx1"/>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270D5711-0907-C505-77BA-4A88D1607A23}"/>
              </a:ext>
            </a:extLst>
          </p:cNvPr>
          <p:cNvSpPr/>
          <p:nvPr/>
        </p:nvSpPr>
        <p:spPr>
          <a:xfrm>
            <a:off x="111006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4F011B6E-E93E-6D7F-D3CE-E0CED144E9D5}"/>
              </a:ext>
            </a:extLst>
          </p:cNvPr>
          <p:cNvSpPr/>
          <p:nvPr/>
        </p:nvSpPr>
        <p:spPr>
          <a:xfrm rot="5400000">
            <a:off x="8934451" y="3384550"/>
            <a:ext cx="73025" cy="551815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24" name="Google Shape;778;p79">
            <a:extLst>
              <a:ext uri="{FF2B5EF4-FFF2-40B4-BE49-F238E27FC236}">
                <a16:creationId xmlns:a16="http://schemas.microsoft.com/office/drawing/2014/main" id="{BC8FA7B8-D3BE-BBE4-85FC-E07BDB73B7F2}"/>
              </a:ext>
            </a:extLst>
          </p:cNvPr>
          <p:cNvSpPr/>
          <p:nvPr/>
        </p:nvSpPr>
        <p:spPr>
          <a:xfrm>
            <a:off x="11279500" y="1927275"/>
            <a:ext cx="360000" cy="360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4" name="Group 3">
            <a:extLst>
              <a:ext uri="{FF2B5EF4-FFF2-40B4-BE49-F238E27FC236}">
                <a16:creationId xmlns:a16="http://schemas.microsoft.com/office/drawing/2014/main" id="{4D375F3B-F2C7-23FE-51CD-7CCF3EAE4325}"/>
              </a:ext>
            </a:extLst>
          </p:cNvPr>
          <p:cNvGrpSpPr/>
          <p:nvPr/>
        </p:nvGrpSpPr>
        <p:grpSpPr>
          <a:xfrm>
            <a:off x="8801780" y="159786"/>
            <a:ext cx="2947308" cy="217488"/>
            <a:chOff x="8559953" y="1390211"/>
            <a:chExt cx="2947308" cy="217488"/>
          </a:xfrm>
        </p:grpSpPr>
        <p:sp>
          <p:nvSpPr>
            <p:cNvPr id="8" name="Rectangle 7">
              <a:extLst>
                <a:ext uri="{FF2B5EF4-FFF2-40B4-BE49-F238E27FC236}">
                  <a16:creationId xmlns:a16="http://schemas.microsoft.com/office/drawing/2014/main" id="{4A75527B-1BD3-B9F6-1A0B-AD954C4211F4}"/>
                </a:ext>
              </a:extLst>
            </p:cNvPr>
            <p:cNvSpPr/>
            <p:nvPr/>
          </p:nvSpPr>
          <p:spPr>
            <a:xfrm>
              <a:off x="8801780" y="1390211"/>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5</a:t>
              </a:r>
              <a:r>
                <a:rPr kumimoji="0" lang="lv-LV" sz="800" b="1" i="0" u="none" strike="noStrike" kern="0" cap="none" spc="0" normalizeH="0" baseline="0" dirty="0">
                  <a:ln>
                    <a:noFill/>
                  </a:ln>
                  <a:effectLst/>
                  <a:uLnTx/>
                  <a:uFillTx/>
                  <a:ea typeface="Georgia"/>
                  <a:cs typeface="Georgia"/>
                  <a:sym typeface="Georgia"/>
                </a:rPr>
                <a:t>.</a:t>
              </a:r>
              <a:r>
                <a:rPr kumimoji="0" lang="en-US" sz="800" b="1" i="0" u="none" strike="noStrike" kern="0" cap="none" spc="0" normalizeH="0" baseline="0" dirty="0">
                  <a:ln>
                    <a:noFill/>
                  </a:ln>
                  <a:effectLst/>
                  <a:uLnTx/>
                  <a:uFillTx/>
                  <a:ea typeface="Georgia"/>
                  <a:cs typeface="Georgia"/>
                  <a:sym typeface="Georgia"/>
                </a:rPr>
                <a:t>2</a:t>
              </a:r>
              <a:endParaRPr kumimoji="0" lang="lv-LV" sz="800" b="1" i="0" u="none" strike="noStrike" kern="0" cap="none" spc="0" normalizeH="0" baseline="0" dirty="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9023542D-D3F6-60F2-3AC6-0709C5F69D56}"/>
                </a:ext>
              </a:extLst>
            </p:cNvPr>
            <p:cNvSpPr/>
            <p:nvPr/>
          </p:nvSpPr>
          <p:spPr>
            <a:xfrm>
              <a:off x="11049434" y="13902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3</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1BDD7FDA-C2D6-C843-4C61-644D4927E56A}"/>
                </a:ext>
              </a:extLst>
            </p:cNvPr>
            <p:cNvSpPr/>
            <p:nvPr/>
          </p:nvSpPr>
          <p:spPr>
            <a:xfrm>
              <a:off x="9043607" y="1390211"/>
              <a:ext cx="198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err="1">
                  <a:ln>
                    <a:noFill/>
                  </a:ln>
                  <a:effectLst/>
                  <a:uLnTx/>
                  <a:uFillTx/>
                  <a:ea typeface="Georgia"/>
                  <a:cs typeface="Georgia"/>
                  <a:sym typeface="Georgia"/>
                </a:rPr>
                <a:t>Katastrofas</a:t>
              </a:r>
              <a:r>
                <a:rPr kumimoji="0" lang="en-US" sz="800" b="1" i="0" u="none" strike="noStrike" kern="0" cap="none" spc="0" normalizeH="0" baseline="0" dirty="0">
                  <a:ln>
                    <a:noFill/>
                  </a:ln>
                  <a:effectLst/>
                  <a:uLnTx/>
                  <a:uFillTx/>
                  <a:ea typeface="Georgia"/>
                  <a:cs typeface="Georgia"/>
                  <a:sym typeface="Georgia"/>
                </a:rPr>
                <a:t> </a:t>
              </a:r>
              <a:r>
                <a:rPr kumimoji="0" lang="en-US" sz="800" b="1" i="0" u="none" strike="noStrike" kern="0" cap="none" spc="0" normalizeH="0" baseline="0" dirty="0" err="1">
                  <a:ln>
                    <a:noFill/>
                  </a:ln>
                  <a:effectLst/>
                  <a:uLnTx/>
                  <a:uFillTx/>
                  <a:ea typeface="Georgia"/>
                  <a:cs typeface="Georgia"/>
                  <a:sym typeface="Georgia"/>
                </a:rPr>
                <a:t>pārvaldīšanas</a:t>
              </a:r>
              <a:r>
                <a:rPr kumimoji="0" lang="en-US" sz="800" b="1" i="0" u="none" strike="noStrike" kern="0" cap="none" spc="0" normalizeH="0" baseline="0" dirty="0">
                  <a:ln>
                    <a:noFill/>
                  </a:ln>
                  <a:effectLst/>
                  <a:uLnTx/>
                  <a:uFillTx/>
                  <a:ea typeface="Georgia"/>
                  <a:cs typeface="Georgia"/>
                  <a:sym typeface="Georgia"/>
                </a:rPr>
                <a:t> </a:t>
              </a:r>
              <a:r>
                <a:rPr kumimoji="0" lang="en-US" sz="800" b="1" i="0" u="none" strike="noStrike" kern="0" cap="none" spc="0" normalizeH="0" baseline="0" dirty="0" err="1">
                  <a:ln>
                    <a:noFill/>
                  </a:ln>
                  <a:effectLst/>
                  <a:uLnTx/>
                  <a:uFillTx/>
                  <a:ea typeface="Georgia"/>
                  <a:cs typeface="Georgia"/>
                  <a:sym typeface="Georgia"/>
                </a:rPr>
                <a:t>principi</a:t>
              </a:r>
              <a:endParaRPr kumimoji="0" lang="en-US" sz="800" b="1" i="0" u="none" strike="noStrike" kern="0" cap="none" spc="0" normalizeH="0" baseline="0" dirty="0">
                <a:ln>
                  <a:noFill/>
                </a:ln>
                <a:effectLst/>
                <a:uLnTx/>
                <a:uFillTx/>
                <a:ea typeface="Georgia"/>
                <a:cs typeface="Georgia"/>
                <a:sym typeface="Georgia"/>
              </a:endParaRPr>
            </a:p>
          </p:txBody>
        </p:sp>
        <p:sp>
          <p:nvSpPr>
            <p:cNvPr id="22" name="Rectangle 21">
              <a:extLst>
                <a:ext uri="{FF2B5EF4-FFF2-40B4-BE49-F238E27FC236}">
                  <a16:creationId xmlns:a16="http://schemas.microsoft.com/office/drawing/2014/main" id="{43F20A46-A39C-E7DD-2952-5A51D6ECA3A3}"/>
                </a:ext>
              </a:extLst>
            </p:cNvPr>
            <p:cNvSpPr/>
            <p:nvPr/>
          </p:nvSpPr>
          <p:spPr>
            <a:xfrm>
              <a:off x="11291261" y="13902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4</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25" name="Rectangle 24">
              <a:extLst>
                <a:ext uri="{FF2B5EF4-FFF2-40B4-BE49-F238E27FC236}">
                  <a16:creationId xmlns:a16="http://schemas.microsoft.com/office/drawing/2014/main" id="{0D39065F-1135-C256-FCEC-5F2D13DA4584}"/>
                </a:ext>
              </a:extLst>
            </p:cNvPr>
            <p:cNvSpPr/>
            <p:nvPr/>
          </p:nvSpPr>
          <p:spPr>
            <a:xfrm>
              <a:off x="8559953" y="13902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
        <p:nvSpPr>
          <p:cNvPr id="5" name="Rectangle 4">
            <a:extLst>
              <a:ext uri="{FF2B5EF4-FFF2-40B4-BE49-F238E27FC236}">
                <a16:creationId xmlns:a16="http://schemas.microsoft.com/office/drawing/2014/main" id="{1360CF54-28D8-7E33-0B85-967580880D5F}"/>
              </a:ext>
            </a:extLst>
          </p:cNvPr>
          <p:cNvSpPr/>
          <p:nvPr/>
        </p:nvSpPr>
        <p:spPr>
          <a:xfrm>
            <a:off x="441324" y="3429000"/>
            <a:ext cx="5536607" cy="274954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t"/>
          <a:lstStyle/>
          <a:p>
            <a:pPr marL="285750" indent="-285750">
              <a:lnSpc>
                <a:spcPct val="100000"/>
              </a:lnSpc>
              <a:spcAft>
                <a:spcPts val="1200"/>
              </a:spcAft>
              <a:buSzPct val="120000"/>
              <a:buBlip>
                <a:blip r:embed="rId6"/>
              </a:buBlip>
            </a:pPr>
            <a:r>
              <a:rPr lang="lv-LV" sz="1600" dirty="0">
                <a:solidFill>
                  <a:schemeClr val="tx1"/>
                </a:solidFill>
              </a:rPr>
              <a:t>Veselības aprūpes, izglītības, transporta, ūdensapgādes, elektroenerģijas, komunikācijas un citu būtisko pakalpojumu atjaunošana evakuētajās teritorijās, nodrošinot sabiedrības pamatvajadzības un labklājību</a:t>
            </a:r>
          </a:p>
        </p:txBody>
      </p:sp>
      <p:sp>
        <p:nvSpPr>
          <p:cNvPr id="6" name="Rectangle 5">
            <a:extLst>
              <a:ext uri="{FF2B5EF4-FFF2-40B4-BE49-F238E27FC236}">
                <a16:creationId xmlns:a16="http://schemas.microsoft.com/office/drawing/2014/main" id="{C84EB0AE-3608-5F19-284E-8EB1510291E5}"/>
              </a:ext>
            </a:extLst>
          </p:cNvPr>
          <p:cNvSpPr/>
          <p:nvPr/>
        </p:nvSpPr>
        <p:spPr>
          <a:xfrm rot="5400000">
            <a:off x="3173413" y="3375025"/>
            <a:ext cx="73025" cy="55372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15" name="TextBox 14">
            <a:extLst>
              <a:ext uri="{FF2B5EF4-FFF2-40B4-BE49-F238E27FC236}">
                <a16:creationId xmlns:a16="http://schemas.microsoft.com/office/drawing/2014/main" id="{7A540630-6B82-C856-B1D1-4CB630BB5EF6}"/>
              </a:ext>
            </a:extLst>
          </p:cNvPr>
          <p:cNvSpPr txBox="1"/>
          <p:nvPr/>
        </p:nvSpPr>
        <p:spPr>
          <a:xfrm>
            <a:off x="442913" y="2628993"/>
            <a:ext cx="11306175" cy="288000"/>
          </a:xfrm>
          <a:prstGeom prst="rect">
            <a:avLst/>
          </a:prstGeom>
          <a:solidFill>
            <a:srgbClr val="A8192D"/>
          </a:solidFill>
        </p:spPr>
        <p:txBody>
          <a:bodyPr wrap="square" lIns="72000" tIns="0" rIns="0" bIns="0" anchor="ctr">
            <a:noAutofit/>
          </a:bodyPr>
          <a:lstStyle/>
          <a:p>
            <a:r>
              <a:rPr lang="lv-LV" sz="1600" b="1" dirty="0">
                <a:solidFill>
                  <a:schemeClr val="bg1"/>
                </a:solidFill>
                <a:latin typeface="Arial" panose="020B0604020202020204" pitchFamily="34" charset="0"/>
              </a:rPr>
              <a:t>Piemēri</a:t>
            </a:r>
            <a:r>
              <a:rPr lang="lv-LV" sz="1600" b="1" dirty="0">
                <a:solidFill>
                  <a:srgbClr val="A8192D"/>
                </a:solidFill>
                <a:latin typeface="Arial" panose="020B0604020202020204" pitchFamily="34" charset="0"/>
              </a:rPr>
              <a:t>:</a:t>
            </a:r>
            <a:endParaRPr lang="lv-LV" sz="1600" b="1" dirty="0">
              <a:solidFill>
                <a:srgbClr val="A8192D"/>
              </a:solidFill>
            </a:endParaRPr>
          </a:p>
        </p:txBody>
      </p:sp>
    </p:spTree>
    <p:extLst>
      <p:ext uri="{BB962C8B-B14F-4D97-AF65-F5344CB8AC3E}">
        <p14:creationId xmlns:p14="http://schemas.microsoft.com/office/powerpoint/2010/main" val="4291703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hink-cell data - do not delete" hidden="1">
            <a:extLst>
              <a:ext uri="{FF2B5EF4-FFF2-40B4-BE49-F238E27FC236}">
                <a16:creationId xmlns:a16="http://schemas.microsoft.com/office/drawing/2014/main" id="{0D5158E7-0822-7D95-3AEE-BCB2A136FBA1}"/>
              </a:ext>
            </a:extLst>
          </p:cNvPr>
          <p:cNvGraphicFramePr>
            <a:graphicFrameLocks noChangeAspect="1"/>
          </p:cNvGraphicFramePr>
          <p:nvPr>
            <p:custDataLst>
              <p:tags r:id="rId1"/>
            </p:custDataLst>
            <p:extLst>
              <p:ext uri="{D42A27DB-BD31-4B8C-83A1-F6EECF244321}">
                <p14:modId xmlns:p14="http://schemas.microsoft.com/office/powerpoint/2010/main" val="903318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6" name="think-cell data - do not delete" hidden="1">
                        <a:extLst>
                          <a:ext uri="{FF2B5EF4-FFF2-40B4-BE49-F238E27FC236}">
                            <a16:creationId xmlns:a16="http://schemas.microsoft.com/office/drawing/2014/main" id="{0D5158E7-0822-7D95-3AEE-BCB2A136FB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55C61EFE-1F9D-0948-9C05-6221FEF2C416}"/>
              </a:ext>
            </a:extLst>
          </p:cNvPr>
          <p:cNvSpPr/>
          <p:nvPr/>
        </p:nvSpPr>
        <p:spPr>
          <a:xfrm>
            <a:off x="441325" y="3428999"/>
            <a:ext cx="5537200" cy="2749551"/>
          </a:xfrm>
          <a:prstGeom prst="rect">
            <a:avLst/>
          </a:prstGeom>
          <a:blipFill dpi="0" rotWithShape="1">
            <a:blip r:embed="rId6">
              <a:extLst>
                <a:ext uri="{28A0092B-C50C-407E-A947-70E740481C1C}">
                  <a14:useLocalDpi xmlns:a14="http://schemas.microsoft.com/office/drawing/2010/main" val="0"/>
                </a:ext>
              </a:extLst>
            </a:blip>
            <a:srcRect/>
            <a:stretch>
              <a:fillRect l="28" t="-2463" r="-4600"/>
            </a:stretch>
          </a:blip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 name="Title 1">
            <a:extLst>
              <a:ext uri="{FF2B5EF4-FFF2-40B4-BE49-F238E27FC236}">
                <a16:creationId xmlns:a16="http://schemas.microsoft.com/office/drawing/2014/main" id="{47CC329B-CDB7-2001-9801-C52084777AED}"/>
              </a:ext>
            </a:extLst>
          </p:cNvPr>
          <p:cNvSpPr>
            <a:spLocks noGrp="1"/>
          </p:cNvSpPr>
          <p:nvPr>
            <p:ph type="title"/>
          </p:nvPr>
        </p:nvSpPr>
        <p:spPr/>
        <p:txBody>
          <a:bodyPr vert="horz"/>
          <a:lstStyle/>
          <a:p>
            <a:r>
              <a:rPr lang="lv-LV" dirty="0"/>
              <a:t>Atjaunošanas pasākumi</a:t>
            </a:r>
          </a:p>
        </p:txBody>
      </p:sp>
      <p:sp>
        <p:nvSpPr>
          <p:cNvPr id="3" name="Slide Number Placeholder 2">
            <a:extLst>
              <a:ext uri="{FF2B5EF4-FFF2-40B4-BE49-F238E27FC236}">
                <a16:creationId xmlns:a16="http://schemas.microsoft.com/office/drawing/2014/main" id="{D0C87657-18F7-4849-83B2-178542C39E1D}"/>
              </a:ext>
            </a:extLst>
          </p:cNvPr>
          <p:cNvSpPr>
            <a:spLocks noGrp="1"/>
          </p:cNvSpPr>
          <p:nvPr>
            <p:ph type="sldNum" sz="quarter" idx="11"/>
          </p:nvPr>
        </p:nvSpPr>
        <p:spPr/>
        <p:txBody>
          <a:bodyPr/>
          <a:lstStyle/>
          <a:p>
            <a:fld id="{7870704B-CE94-48CC-AF30-84932A1262A7}" type="slidenum">
              <a:rPr lang="en-GB" smtClean="0"/>
              <a:pPr/>
              <a:t>16</a:t>
            </a:fld>
            <a:endParaRPr lang="en-GB"/>
          </a:p>
        </p:txBody>
      </p:sp>
      <p:sp>
        <p:nvSpPr>
          <p:cNvPr id="26" name="TextBox 25">
            <a:extLst>
              <a:ext uri="{FF2B5EF4-FFF2-40B4-BE49-F238E27FC236}">
                <a16:creationId xmlns:a16="http://schemas.microsoft.com/office/drawing/2014/main" id="{F635F117-55A7-EAB5-34AF-6C9D0D4C2F6F}"/>
              </a:ext>
            </a:extLst>
          </p:cNvPr>
          <p:cNvSpPr txBox="1"/>
          <p:nvPr/>
        </p:nvSpPr>
        <p:spPr>
          <a:xfrm>
            <a:off x="441325" y="3049886"/>
            <a:ext cx="4350172" cy="246221"/>
          </a:xfrm>
          <a:prstGeom prst="rect">
            <a:avLst/>
          </a:prstGeom>
          <a:noFill/>
        </p:spPr>
        <p:txBody>
          <a:bodyPr wrap="square" lIns="0" tIns="0" rIns="0" bIns="0">
            <a:spAutoFit/>
          </a:bodyPr>
          <a:lstStyle/>
          <a:p>
            <a:r>
              <a:rPr lang="lv-LV" sz="1600" b="1">
                <a:solidFill>
                  <a:srgbClr val="414142"/>
                </a:solidFill>
                <a:latin typeface="Arial" panose="020B0604020202020204" pitchFamily="34" charset="0"/>
              </a:rPr>
              <a:t>Infrastruktūras atjaunošana</a:t>
            </a:r>
          </a:p>
        </p:txBody>
      </p:sp>
      <p:sp>
        <p:nvSpPr>
          <p:cNvPr id="27" name="TextBox 26">
            <a:extLst>
              <a:ext uri="{FF2B5EF4-FFF2-40B4-BE49-F238E27FC236}">
                <a16:creationId xmlns:a16="http://schemas.microsoft.com/office/drawing/2014/main" id="{4627FABF-A275-2D45-12A7-8DD4C0ED21B2}"/>
              </a:ext>
            </a:extLst>
          </p:cNvPr>
          <p:cNvSpPr txBox="1"/>
          <p:nvPr/>
        </p:nvSpPr>
        <p:spPr>
          <a:xfrm>
            <a:off x="6273800" y="3049886"/>
            <a:ext cx="4350171" cy="246221"/>
          </a:xfrm>
          <a:prstGeom prst="rect">
            <a:avLst/>
          </a:prstGeom>
          <a:noFill/>
        </p:spPr>
        <p:txBody>
          <a:bodyPr wrap="square" lIns="0" tIns="0" rIns="0" bIns="0">
            <a:spAutoFit/>
          </a:bodyPr>
          <a:lstStyle/>
          <a:p>
            <a:r>
              <a:rPr lang="lv-LV" sz="1600" b="1" i="0" dirty="0">
                <a:solidFill>
                  <a:srgbClr val="414142"/>
                </a:solidFill>
                <a:effectLst/>
                <a:latin typeface="Arial" panose="020B0604020202020204" pitchFamily="34" charset="0"/>
              </a:rPr>
              <a:t>Kompensācijas par zaudējumiem sniegšana</a:t>
            </a:r>
          </a:p>
        </p:txBody>
      </p:sp>
      <p:sp>
        <p:nvSpPr>
          <p:cNvPr id="29" name="Rectangle 28">
            <a:extLst>
              <a:ext uri="{FF2B5EF4-FFF2-40B4-BE49-F238E27FC236}">
                <a16:creationId xmlns:a16="http://schemas.microsoft.com/office/drawing/2014/main" id="{982C092B-FCDC-FADC-D86B-9B5B15120C19}"/>
              </a:ext>
            </a:extLst>
          </p:cNvPr>
          <p:cNvSpPr/>
          <p:nvPr/>
        </p:nvSpPr>
        <p:spPr>
          <a:xfrm>
            <a:off x="441325" y="1819275"/>
            <a:ext cx="11306175"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buClrTx/>
              <a:buSzPct val="100000"/>
              <a:buFontTx/>
              <a:buNone/>
              <a:tabLst/>
              <a:defRPr/>
            </a:pPr>
            <a:r>
              <a:rPr kumimoji="0" lang="lv-LV" sz="1600" b="1" i="0" u="none" strike="noStrike" kern="1200" cap="none" spc="0" normalizeH="0" baseline="0" noProof="0">
                <a:ln>
                  <a:noFill/>
                </a:ln>
                <a:solidFill>
                  <a:schemeClr val="tx1"/>
                </a:solidFill>
                <a:effectLst/>
                <a:uLnTx/>
                <a:uFillTx/>
                <a:latin typeface="Arial"/>
                <a:ea typeface="+mn-ea"/>
                <a:cs typeface="+mn-cs"/>
              </a:rPr>
              <a:t>Atjaunošanas pasākumi — </a:t>
            </a:r>
            <a:r>
              <a:rPr kumimoji="0" lang="lv-LV" sz="1600" i="0" u="none" strike="noStrike" kern="1200" cap="none" spc="0" normalizeH="0" baseline="0" noProof="0">
                <a:ln>
                  <a:noFill/>
                </a:ln>
                <a:solidFill>
                  <a:schemeClr val="tx1"/>
                </a:solidFill>
                <a:effectLst/>
                <a:uLnTx/>
                <a:uFillTx/>
                <a:latin typeface="Arial"/>
                <a:ea typeface="+mn-ea"/>
                <a:cs typeface="+mn-cs"/>
              </a:rPr>
              <a:t>tādu pasākumu kopums, kuri tiek veikti, lai pēc iespējas savlaicīgi un samērīgi palīdzētu cietušajiem cilvēkiem un pēc iespējas atjaunotu vidi un īpašumu tādā stāvoklī, kāds tas bija pirms katastrofas </a:t>
            </a:r>
          </a:p>
        </p:txBody>
      </p:sp>
      <p:sp>
        <p:nvSpPr>
          <p:cNvPr id="30" name="Rectangle 29">
            <a:extLst>
              <a:ext uri="{FF2B5EF4-FFF2-40B4-BE49-F238E27FC236}">
                <a16:creationId xmlns:a16="http://schemas.microsoft.com/office/drawing/2014/main" id="{DAF91349-DB85-E4E0-E796-0682F97D3647}"/>
              </a:ext>
            </a:extLst>
          </p:cNvPr>
          <p:cNvSpPr/>
          <p:nvPr/>
        </p:nvSpPr>
        <p:spPr>
          <a:xfrm>
            <a:off x="11171500" y="1819275"/>
            <a:ext cx="576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chemeClr val="tx1"/>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017B90D0-71A7-9B53-826C-403AD065F597}"/>
              </a:ext>
            </a:extLst>
          </p:cNvPr>
          <p:cNvSpPr/>
          <p:nvPr/>
        </p:nvSpPr>
        <p:spPr>
          <a:xfrm>
            <a:off x="111006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6DFC1ADF-ABE5-781F-DB20-C85E146C6919}"/>
              </a:ext>
            </a:extLst>
          </p:cNvPr>
          <p:cNvSpPr/>
          <p:nvPr/>
        </p:nvSpPr>
        <p:spPr>
          <a:xfrm rot="5400000">
            <a:off x="8976518" y="3405981"/>
            <a:ext cx="71438" cy="54737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34" name="Google Shape;778;p79">
            <a:extLst>
              <a:ext uri="{FF2B5EF4-FFF2-40B4-BE49-F238E27FC236}">
                <a16:creationId xmlns:a16="http://schemas.microsoft.com/office/drawing/2014/main" id="{D5D6908B-37E9-FDC1-9D1D-C38C24638944}"/>
              </a:ext>
            </a:extLst>
          </p:cNvPr>
          <p:cNvSpPr/>
          <p:nvPr/>
        </p:nvSpPr>
        <p:spPr>
          <a:xfrm>
            <a:off x="11279500" y="1927275"/>
            <a:ext cx="360000" cy="360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4" name="Group 3">
            <a:extLst>
              <a:ext uri="{FF2B5EF4-FFF2-40B4-BE49-F238E27FC236}">
                <a16:creationId xmlns:a16="http://schemas.microsoft.com/office/drawing/2014/main" id="{F4E367CC-6B6E-03BE-00AE-20D2306CF6BE}"/>
              </a:ext>
            </a:extLst>
          </p:cNvPr>
          <p:cNvGrpSpPr/>
          <p:nvPr/>
        </p:nvGrpSpPr>
        <p:grpSpPr>
          <a:xfrm>
            <a:off x="8801780" y="159786"/>
            <a:ext cx="2947308" cy="217488"/>
            <a:chOff x="8559953" y="1390211"/>
            <a:chExt cx="2947308" cy="217488"/>
          </a:xfrm>
        </p:grpSpPr>
        <p:sp>
          <p:nvSpPr>
            <p:cNvPr id="5" name="Rectangle 4">
              <a:extLst>
                <a:ext uri="{FF2B5EF4-FFF2-40B4-BE49-F238E27FC236}">
                  <a16:creationId xmlns:a16="http://schemas.microsoft.com/office/drawing/2014/main" id="{47EC2DCE-B658-CD7F-301F-9280C69E9EDE}"/>
                </a:ext>
              </a:extLst>
            </p:cNvPr>
            <p:cNvSpPr/>
            <p:nvPr/>
          </p:nvSpPr>
          <p:spPr>
            <a:xfrm>
              <a:off x="8801780" y="1390211"/>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5</a:t>
              </a:r>
              <a:r>
                <a:rPr kumimoji="0" lang="lv-LV" sz="800" b="1" i="0" u="none" strike="noStrike" kern="0" cap="none" spc="0" normalizeH="0" baseline="0" dirty="0">
                  <a:ln>
                    <a:noFill/>
                  </a:ln>
                  <a:effectLst/>
                  <a:uLnTx/>
                  <a:uFillTx/>
                  <a:ea typeface="Georgia"/>
                  <a:cs typeface="Georgia"/>
                  <a:sym typeface="Georgia"/>
                </a:rPr>
                <a:t>.</a:t>
              </a:r>
              <a:r>
                <a:rPr kumimoji="0" lang="en-US" sz="800" b="1" i="0" u="none" strike="noStrike" kern="0" cap="none" spc="0" normalizeH="0" baseline="0" dirty="0">
                  <a:ln>
                    <a:noFill/>
                  </a:ln>
                  <a:effectLst/>
                  <a:uLnTx/>
                  <a:uFillTx/>
                  <a:ea typeface="Georgia"/>
                  <a:cs typeface="Georgia"/>
                  <a:sym typeface="Georgia"/>
                </a:rPr>
                <a:t>2</a:t>
              </a:r>
              <a:endParaRPr kumimoji="0" lang="lv-LV" sz="800" b="1" i="0" u="none" strike="noStrike" kern="0" cap="none" spc="0" normalizeH="0" baseline="0" dirty="0">
                <a:ln>
                  <a:noFill/>
                </a:ln>
                <a:effectLst/>
                <a:uLnTx/>
                <a:uFillTx/>
                <a:ea typeface="Georgia"/>
                <a:cs typeface="Georgia"/>
                <a:sym typeface="Georgia"/>
              </a:endParaRPr>
            </a:p>
          </p:txBody>
        </p:sp>
        <p:sp>
          <p:nvSpPr>
            <p:cNvPr id="7" name="Rectangle 6">
              <a:extLst>
                <a:ext uri="{FF2B5EF4-FFF2-40B4-BE49-F238E27FC236}">
                  <a16:creationId xmlns:a16="http://schemas.microsoft.com/office/drawing/2014/main" id="{42FA9FA9-6175-751F-47BA-498929468E2D}"/>
                </a:ext>
              </a:extLst>
            </p:cNvPr>
            <p:cNvSpPr/>
            <p:nvPr/>
          </p:nvSpPr>
          <p:spPr>
            <a:xfrm>
              <a:off x="11049434" y="13902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3</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6E5D4DF6-1A54-8DB8-64C6-E6C87EB9FED1}"/>
                </a:ext>
              </a:extLst>
            </p:cNvPr>
            <p:cNvSpPr/>
            <p:nvPr/>
          </p:nvSpPr>
          <p:spPr>
            <a:xfrm>
              <a:off x="9043607" y="1390211"/>
              <a:ext cx="198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err="1">
                  <a:ln>
                    <a:noFill/>
                  </a:ln>
                  <a:effectLst/>
                  <a:uLnTx/>
                  <a:uFillTx/>
                  <a:ea typeface="Georgia"/>
                  <a:cs typeface="Georgia"/>
                  <a:sym typeface="Georgia"/>
                </a:rPr>
                <a:t>Katastrofas</a:t>
              </a:r>
              <a:r>
                <a:rPr kumimoji="0" lang="en-US" sz="800" b="1" i="0" u="none" strike="noStrike" kern="0" cap="none" spc="0" normalizeH="0" baseline="0" dirty="0">
                  <a:ln>
                    <a:noFill/>
                  </a:ln>
                  <a:effectLst/>
                  <a:uLnTx/>
                  <a:uFillTx/>
                  <a:ea typeface="Georgia"/>
                  <a:cs typeface="Georgia"/>
                  <a:sym typeface="Georgia"/>
                </a:rPr>
                <a:t> </a:t>
              </a:r>
              <a:r>
                <a:rPr kumimoji="0" lang="en-US" sz="800" b="1" i="0" u="none" strike="noStrike" kern="0" cap="none" spc="0" normalizeH="0" baseline="0" dirty="0" err="1">
                  <a:ln>
                    <a:noFill/>
                  </a:ln>
                  <a:effectLst/>
                  <a:uLnTx/>
                  <a:uFillTx/>
                  <a:ea typeface="Georgia"/>
                  <a:cs typeface="Georgia"/>
                  <a:sym typeface="Georgia"/>
                </a:rPr>
                <a:t>pārvaldīšanas</a:t>
              </a:r>
              <a:r>
                <a:rPr kumimoji="0" lang="en-US" sz="800" b="1" i="0" u="none" strike="noStrike" kern="0" cap="none" spc="0" normalizeH="0" baseline="0" dirty="0">
                  <a:ln>
                    <a:noFill/>
                  </a:ln>
                  <a:effectLst/>
                  <a:uLnTx/>
                  <a:uFillTx/>
                  <a:ea typeface="Georgia"/>
                  <a:cs typeface="Georgia"/>
                  <a:sym typeface="Georgia"/>
                </a:rPr>
                <a:t> </a:t>
              </a:r>
              <a:r>
                <a:rPr kumimoji="0" lang="en-US" sz="800" b="1" i="0" u="none" strike="noStrike" kern="0" cap="none" spc="0" normalizeH="0" baseline="0" dirty="0" err="1">
                  <a:ln>
                    <a:noFill/>
                  </a:ln>
                  <a:effectLst/>
                  <a:uLnTx/>
                  <a:uFillTx/>
                  <a:ea typeface="Georgia"/>
                  <a:cs typeface="Georgia"/>
                  <a:sym typeface="Georgia"/>
                </a:rPr>
                <a:t>principi</a:t>
              </a:r>
              <a:endParaRPr kumimoji="0" lang="en-US" sz="800" b="1" i="0" u="none" strike="noStrike" kern="0" cap="none" spc="0" normalizeH="0" baseline="0" dirty="0">
                <a:ln>
                  <a:noFill/>
                </a:ln>
                <a:effectLst/>
                <a:uLnTx/>
                <a:uFillTx/>
                <a:ea typeface="Georgia"/>
                <a:cs typeface="Georgia"/>
                <a:sym typeface="Georgia"/>
              </a:endParaRPr>
            </a:p>
          </p:txBody>
        </p:sp>
        <p:sp>
          <p:nvSpPr>
            <p:cNvPr id="10" name="Rectangle 9">
              <a:extLst>
                <a:ext uri="{FF2B5EF4-FFF2-40B4-BE49-F238E27FC236}">
                  <a16:creationId xmlns:a16="http://schemas.microsoft.com/office/drawing/2014/main" id="{C78F9053-FF83-CA72-B09D-BE1C9EB51496}"/>
                </a:ext>
              </a:extLst>
            </p:cNvPr>
            <p:cNvSpPr/>
            <p:nvPr/>
          </p:nvSpPr>
          <p:spPr>
            <a:xfrm>
              <a:off x="11291261" y="13902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4</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11" name="Rectangle 10">
              <a:extLst>
                <a:ext uri="{FF2B5EF4-FFF2-40B4-BE49-F238E27FC236}">
                  <a16:creationId xmlns:a16="http://schemas.microsoft.com/office/drawing/2014/main" id="{828BE9C6-26C0-8BC2-A374-6667388F2A58}"/>
                </a:ext>
              </a:extLst>
            </p:cNvPr>
            <p:cNvSpPr/>
            <p:nvPr/>
          </p:nvSpPr>
          <p:spPr>
            <a:xfrm>
              <a:off x="8559953" y="13902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
        <p:nvSpPr>
          <p:cNvPr id="13" name="Rectangle 12">
            <a:extLst>
              <a:ext uri="{FF2B5EF4-FFF2-40B4-BE49-F238E27FC236}">
                <a16:creationId xmlns:a16="http://schemas.microsoft.com/office/drawing/2014/main" id="{358E0690-C18F-11E4-4B0B-BFF2F1CD3237}"/>
              </a:ext>
            </a:extLst>
          </p:cNvPr>
          <p:cNvSpPr/>
          <p:nvPr/>
        </p:nvSpPr>
        <p:spPr>
          <a:xfrm>
            <a:off x="6211888" y="3428999"/>
            <a:ext cx="5518150" cy="274955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t"/>
          <a:lstStyle/>
          <a:p>
            <a:pPr marL="285750" indent="-285750">
              <a:lnSpc>
                <a:spcPct val="100000"/>
              </a:lnSpc>
              <a:spcAft>
                <a:spcPts val="1200"/>
              </a:spcAft>
              <a:buSzPct val="120000"/>
              <a:buBlip>
                <a:blip r:embed="rId7"/>
              </a:buBlip>
            </a:pPr>
            <a:r>
              <a:rPr lang="lv-LV" sz="1600" dirty="0">
                <a:solidFill>
                  <a:schemeClr val="tx1"/>
                </a:solidFill>
              </a:rPr>
              <a:t>Ministru kabinets nosaka kārtību, kādā juridiskajai vai fiziskajai personai kompensējami izdevumi un zaudējumi, kas radušies, tās resursus iesaistot reaģēšanas un seku likvidēšanas pasākumos, kā arī kompensācijas apmēra aprēķināšanas kārtību</a:t>
            </a:r>
          </a:p>
        </p:txBody>
      </p:sp>
      <p:sp>
        <p:nvSpPr>
          <p:cNvPr id="15" name="TextBox 14">
            <a:extLst>
              <a:ext uri="{FF2B5EF4-FFF2-40B4-BE49-F238E27FC236}">
                <a16:creationId xmlns:a16="http://schemas.microsoft.com/office/drawing/2014/main" id="{DC2F619C-E153-8B81-8771-60EFC516587C}"/>
              </a:ext>
            </a:extLst>
          </p:cNvPr>
          <p:cNvSpPr txBox="1"/>
          <p:nvPr/>
        </p:nvSpPr>
        <p:spPr>
          <a:xfrm>
            <a:off x="442913" y="2628993"/>
            <a:ext cx="11306175" cy="288000"/>
          </a:xfrm>
          <a:prstGeom prst="rect">
            <a:avLst/>
          </a:prstGeom>
          <a:solidFill>
            <a:srgbClr val="A8192D"/>
          </a:solidFill>
        </p:spPr>
        <p:txBody>
          <a:bodyPr wrap="square" lIns="72000" tIns="0" rIns="0" bIns="0" anchor="ctr">
            <a:noAutofit/>
          </a:bodyPr>
          <a:lstStyle/>
          <a:p>
            <a:r>
              <a:rPr lang="lv-LV" sz="1600" b="1" dirty="0">
                <a:solidFill>
                  <a:schemeClr val="bg1"/>
                </a:solidFill>
                <a:latin typeface="Arial" panose="020B0604020202020204" pitchFamily="34" charset="0"/>
              </a:rPr>
              <a:t>Piemēri</a:t>
            </a:r>
            <a:r>
              <a:rPr lang="lv-LV" sz="1600" b="1" dirty="0">
                <a:solidFill>
                  <a:srgbClr val="A8192D"/>
                </a:solidFill>
                <a:latin typeface="Arial" panose="020B0604020202020204" pitchFamily="34" charset="0"/>
              </a:rPr>
              <a:t>:</a:t>
            </a:r>
            <a:endParaRPr lang="lv-LV" sz="1600" b="1" dirty="0">
              <a:solidFill>
                <a:srgbClr val="A8192D"/>
              </a:solidFill>
            </a:endParaRPr>
          </a:p>
        </p:txBody>
      </p:sp>
    </p:spTree>
    <p:extLst>
      <p:ext uri="{BB962C8B-B14F-4D97-AF65-F5344CB8AC3E}">
        <p14:creationId xmlns:p14="http://schemas.microsoft.com/office/powerpoint/2010/main" val="17649318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white clouds in the sky">
            <a:extLst>
              <a:ext uri="{FF2B5EF4-FFF2-40B4-BE49-F238E27FC236}">
                <a16:creationId xmlns:a16="http://schemas.microsoft.com/office/drawing/2014/main" id="{DFCE0E3C-012B-4F30-8D46-589FB7BDFA9D}"/>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5173884" y="-2"/>
            <a:ext cx="7018116" cy="6858001"/>
          </a:xfrm>
          <a:prstGeom prst="rect">
            <a:avLst/>
          </a:prstGeom>
          <a:noFill/>
          <a:extLst>
            <a:ext uri="{909E8E84-426E-40DD-AFC4-6F175D3DCCD1}">
              <a14:hiddenFill xmlns:a14="http://schemas.microsoft.com/office/drawing/2010/main">
                <a:solidFill>
                  <a:srgbClr val="FFFFFF"/>
                </a:solidFill>
              </a14:hiddenFill>
            </a:ext>
          </a:extLst>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p:nvPr>
        </p:nvSpPr>
        <p:spPr>
          <a:xfrm>
            <a:off x="442913" y="1893539"/>
            <a:ext cx="7418387" cy="2428875"/>
          </a:xfrm>
        </p:spPr>
        <p:txBody>
          <a:bodyPr vert="horz">
            <a:normAutofit/>
          </a:bodyPr>
          <a:lstStyle/>
          <a:p>
            <a:pPr>
              <a:lnSpc>
                <a:spcPct val="90000"/>
              </a:lnSpc>
            </a:pPr>
            <a:r>
              <a:rPr lang="lv-LV" sz="4000" dirty="0"/>
              <a:t>5</a:t>
            </a:r>
            <a:r>
              <a:rPr lang="lv-LV" sz="4000" dirty="0">
                <a:latin typeface="+mj-lt"/>
              </a:rPr>
              <a:t>.</a:t>
            </a:r>
            <a:r>
              <a:rPr lang="en-US" sz="4000" dirty="0">
                <a:latin typeface="+mj-lt"/>
              </a:rPr>
              <a:t>3</a:t>
            </a:r>
            <a:r>
              <a:rPr lang="lv-LV" sz="4000" dirty="0">
                <a:latin typeface="+mj-lt"/>
              </a:rPr>
              <a:t>. Apdraudējuma riska novērtēšana</a:t>
            </a:r>
            <a:endParaRPr lang="en-GB" sz="4000" dirty="0">
              <a:latin typeface="+mj-lt"/>
              <a:cs typeface="Arial"/>
            </a:endParaRPr>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10741533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12F43A5-799A-A4F2-121B-C23CA5D40693}"/>
              </a:ext>
            </a:extLst>
          </p:cNvPr>
          <p:cNvGraphicFramePr>
            <a:graphicFrameLocks noChangeAspect="1"/>
          </p:cNvGraphicFramePr>
          <p:nvPr>
            <p:custDataLst>
              <p:tags r:id="rId1"/>
            </p:custDataLst>
            <p:extLst>
              <p:ext uri="{D42A27DB-BD31-4B8C-83A1-F6EECF244321}">
                <p14:modId xmlns:p14="http://schemas.microsoft.com/office/powerpoint/2010/main" val="1581508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1" name="think-cell data - do not delete" hidden="1">
                        <a:extLst>
                          <a:ext uri="{FF2B5EF4-FFF2-40B4-BE49-F238E27FC236}">
                            <a16:creationId xmlns:a16="http://schemas.microsoft.com/office/drawing/2014/main" id="{112F43A5-799A-A4F2-121B-C23CA5D406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93FDAF7C-A0AC-018B-27DA-EF7DA4739F1A}"/>
              </a:ext>
            </a:extLst>
          </p:cNvPr>
          <p:cNvSpPr/>
          <p:nvPr/>
        </p:nvSpPr>
        <p:spPr>
          <a:xfrm>
            <a:off x="442910" y="6348112"/>
            <a:ext cx="5610227" cy="34657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E94044EB-8035-ACA6-3E3B-F0BBE1F7B888}"/>
              </a:ext>
            </a:extLst>
          </p:cNvPr>
          <p:cNvSpPr/>
          <p:nvPr/>
        </p:nvSpPr>
        <p:spPr>
          <a:xfrm>
            <a:off x="8218487" y="3616625"/>
            <a:ext cx="576000" cy="760131"/>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9F683235-E178-40DA-15BC-BDA35B1C0DE0}"/>
              </a:ext>
            </a:extLst>
          </p:cNvPr>
          <p:cNvSpPr/>
          <p:nvPr/>
        </p:nvSpPr>
        <p:spPr>
          <a:xfrm>
            <a:off x="8218487" y="4514370"/>
            <a:ext cx="576000" cy="760131"/>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CDA82620-7CB7-2D4E-7CB1-0ED449E6D53F}"/>
              </a:ext>
            </a:extLst>
          </p:cNvPr>
          <p:cNvSpPr/>
          <p:nvPr/>
        </p:nvSpPr>
        <p:spPr>
          <a:xfrm>
            <a:off x="8218487" y="5432870"/>
            <a:ext cx="576000" cy="760131"/>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9C0D398E-4893-3A76-B3AF-5D9DBDD4CE2E}"/>
              </a:ext>
            </a:extLst>
          </p:cNvPr>
          <p:cNvSpPr/>
          <p:nvPr/>
        </p:nvSpPr>
        <p:spPr>
          <a:xfrm>
            <a:off x="441326" y="3616625"/>
            <a:ext cx="576000" cy="760131"/>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94D399EF-FFD6-E31A-C4FE-E16A6AEBA399}"/>
              </a:ext>
            </a:extLst>
          </p:cNvPr>
          <p:cNvSpPr/>
          <p:nvPr/>
        </p:nvSpPr>
        <p:spPr>
          <a:xfrm>
            <a:off x="441326" y="4514370"/>
            <a:ext cx="576000" cy="760131"/>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41" name="Rectangle 40">
            <a:extLst>
              <a:ext uri="{FF2B5EF4-FFF2-40B4-BE49-F238E27FC236}">
                <a16:creationId xmlns:a16="http://schemas.microsoft.com/office/drawing/2014/main" id="{648D30D3-10D7-3D68-8C13-CFAE60781937}"/>
              </a:ext>
            </a:extLst>
          </p:cNvPr>
          <p:cNvSpPr/>
          <p:nvPr/>
        </p:nvSpPr>
        <p:spPr>
          <a:xfrm>
            <a:off x="441326" y="5411941"/>
            <a:ext cx="576000" cy="760131"/>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4" name="Slide Number Placeholder 3">
            <a:extLst>
              <a:ext uri="{FF2B5EF4-FFF2-40B4-BE49-F238E27FC236}">
                <a16:creationId xmlns:a16="http://schemas.microsoft.com/office/drawing/2014/main" id="{A582BF1B-B430-C5FF-89FF-422AB409923A}"/>
              </a:ext>
            </a:extLst>
          </p:cNvPr>
          <p:cNvSpPr>
            <a:spLocks noGrp="1"/>
          </p:cNvSpPr>
          <p:nvPr>
            <p:ph type="sldNum" sz="quarter" idx="11"/>
          </p:nvPr>
        </p:nvSpPr>
        <p:spPr>
          <a:xfrm>
            <a:off x="9984296" y="6492240"/>
            <a:ext cx="1764792" cy="13716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750" b="0" i="0" u="none" strike="noStrike" kern="1200" cap="none" spc="0" normalizeH="0" baseline="0" noProof="0">
              <a:ln>
                <a:noFill/>
              </a:ln>
              <a:solidFill>
                <a:srgbClr val="000000"/>
              </a:solidFill>
              <a:effectLst/>
              <a:uLnTx/>
              <a:uFillTx/>
              <a:latin typeface="Arial"/>
              <a:ea typeface="+mn-ea"/>
              <a:cs typeface="+mn-cs"/>
            </a:endParaRPr>
          </a:p>
        </p:txBody>
      </p:sp>
      <p:sp>
        <p:nvSpPr>
          <p:cNvPr id="19" name="Title 1">
            <a:extLst>
              <a:ext uri="{FF2B5EF4-FFF2-40B4-BE49-F238E27FC236}">
                <a16:creationId xmlns:a16="http://schemas.microsoft.com/office/drawing/2014/main" id="{D4CCCA12-6848-7E0B-CD7A-E85D849E9DCF}"/>
              </a:ext>
            </a:extLst>
          </p:cNvPr>
          <p:cNvSpPr>
            <a:spLocks noGrp="1"/>
          </p:cNvSpPr>
          <p:nvPr>
            <p:ph type="title"/>
          </p:nvPr>
        </p:nvSpPr>
        <p:spPr>
          <a:xfrm>
            <a:off x="442913" y="432001"/>
            <a:ext cx="11306175" cy="1387274"/>
          </a:xfrm>
        </p:spPr>
        <p:txBody>
          <a:bodyPr vert="horz"/>
          <a:lstStyle/>
          <a:p>
            <a:r>
              <a:rPr lang="lv-LV" dirty="0"/>
              <a:t>Apdraudējuma riska novērtēšanas </a:t>
            </a:r>
            <a:br>
              <a:rPr lang="en-US" dirty="0"/>
            </a:br>
            <a:r>
              <a:rPr lang="lv-LV" dirty="0"/>
              <a:t>galvenie soļi</a:t>
            </a:r>
            <a:br>
              <a:rPr lang="lv-LV"/>
            </a:br>
            <a:endParaRPr lang="lv-LV">
              <a:solidFill>
                <a:srgbClr val="9D2235"/>
              </a:solidFill>
            </a:endParaRPr>
          </a:p>
        </p:txBody>
      </p:sp>
      <p:sp>
        <p:nvSpPr>
          <p:cNvPr id="5" name="Freeform 50">
            <a:extLst>
              <a:ext uri="{FF2B5EF4-FFF2-40B4-BE49-F238E27FC236}">
                <a16:creationId xmlns:a16="http://schemas.microsoft.com/office/drawing/2014/main" id="{4FE39BAA-3855-F918-037E-E234B0D06CF1}"/>
              </a:ext>
            </a:extLst>
          </p:cNvPr>
          <p:cNvSpPr>
            <a:spLocks noChangeAspect="1"/>
          </p:cNvSpPr>
          <p:nvPr/>
        </p:nvSpPr>
        <p:spPr bwMode="auto">
          <a:xfrm>
            <a:off x="580102" y="6405514"/>
            <a:ext cx="230247" cy="231772"/>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83" b="0" i="0" u="none" strike="noStrike" kern="1200" cap="none" spc="0" normalizeH="0" baseline="0" noProof="0">
              <a:ln>
                <a:noFill/>
              </a:ln>
              <a:solidFill>
                <a:srgbClr val="000000"/>
              </a:solidFill>
              <a:effectLst/>
              <a:uLnTx/>
              <a:uFillTx/>
              <a:latin typeface="Arial"/>
              <a:ea typeface="+mn-ea"/>
              <a:cs typeface="+mn-cs"/>
            </a:endParaRPr>
          </a:p>
        </p:txBody>
      </p:sp>
      <p:sp>
        <p:nvSpPr>
          <p:cNvPr id="6" name="Google Shape;2685;p25">
            <a:extLst>
              <a:ext uri="{FF2B5EF4-FFF2-40B4-BE49-F238E27FC236}">
                <a16:creationId xmlns:a16="http://schemas.microsoft.com/office/drawing/2014/main" id="{C2B114F8-791F-3D8F-C14A-C45AA40956E8}"/>
              </a:ext>
            </a:extLst>
          </p:cNvPr>
          <p:cNvSpPr txBox="1"/>
          <p:nvPr/>
        </p:nvSpPr>
        <p:spPr>
          <a:xfrm>
            <a:off x="987293" y="6436762"/>
            <a:ext cx="3531367" cy="169277"/>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100" b="0" i="0" u="none" strike="noStrike" kern="1200" cap="none" spc="0" normalizeH="0" baseline="0" noProof="0">
                <a:ln>
                  <a:noFill/>
                </a:ln>
                <a:solidFill>
                  <a:srgbClr val="000000"/>
                </a:solidFill>
                <a:effectLst/>
                <a:uLnTx/>
                <a:uFillTx/>
                <a:latin typeface="Arial"/>
                <a:ea typeface="+mn-ea"/>
                <a:cs typeface="+mn-cs"/>
                <a:hlinkClick r:id="rId6">
                  <a:extLst>
                    <a:ext uri="{A12FA001-AC4F-418D-AE19-62706E023703}">
                      <ahyp:hlinkClr xmlns:ahyp="http://schemas.microsoft.com/office/drawing/2018/hyperlinkcolor" val="tx"/>
                    </a:ext>
                  </a:extLst>
                </a:hlinkClick>
              </a:rPr>
              <a:t>Katastrofu riska novērtēšanas rekomendācijas</a:t>
            </a:r>
            <a:endParaRPr kumimoji="0" lang="lv-LV" sz="1100" b="0" i="0" u="none" strike="noStrike" kern="1200" cap="none" spc="0" normalizeH="0" baseline="0" noProof="0">
              <a:ln>
                <a:noFill/>
              </a:ln>
              <a:solidFill>
                <a:srgbClr val="000000"/>
              </a:solidFill>
              <a:effectLst/>
              <a:uLnTx/>
              <a:uFillTx/>
              <a:latin typeface="Arial"/>
              <a:ea typeface="+mn-ea"/>
              <a:cs typeface="+mn-cs"/>
            </a:endParaRPr>
          </a:p>
        </p:txBody>
      </p:sp>
      <p:sp>
        <p:nvSpPr>
          <p:cNvPr id="2" name="TextBox 1">
            <a:extLst>
              <a:ext uri="{FF2B5EF4-FFF2-40B4-BE49-F238E27FC236}">
                <a16:creationId xmlns:a16="http://schemas.microsoft.com/office/drawing/2014/main" id="{403D8CC7-6B81-4C38-EED5-F30D45AFD00D}"/>
              </a:ext>
            </a:extLst>
          </p:cNvPr>
          <p:cNvSpPr txBox="1"/>
          <p:nvPr/>
        </p:nvSpPr>
        <p:spPr>
          <a:xfrm>
            <a:off x="442912" y="2544284"/>
            <a:ext cx="3529013" cy="954088"/>
          </a:xfrm>
          <a:prstGeom prst="rect">
            <a:avLst/>
          </a:prstGeom>
          <a:solidFill>
            <a:srgbClr val="525A72"/>
          </a:solidFill>
        </p:spPr>
        <p:txBody>
          <a:bodyPr wrap="square" lIns="72000" tIns="72000" rIns="72000" bIns="7200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lv-LV" sz="1400" b="1" i="0" u="none" strike="noStrike" kern="1200" cap="none" spc="0" normalizeH="0" baseline="0" noProof="0">
                <a:ln>
                  <a:noFill/>
                </a:ln>
                <a:solidFill>
                  <a:schemeClr val="bg1"/>
                </a:solidFill>
                <a:effectLst/>
                <a:uLnTx/>
                <a:uFillTx/>
                <a:latin typeface="Arial"/>
                <a:ea typeface="+mn-ea"/>
                <a:cs typeface="+mn-cs"/>
              </a:rPr>
              <a:t>Riska identificēšana </a:t>
            </a:r>
            <a:r>
              <a:rPr kumimoji="0" lang="lv-LV" sz="1400" b="0" i="0" u="none" strike="noStrike" kern="1200" cap="none" spc="0" normalizeH="0" baseline="0" noProof="0">
                <a:ln>
                  <a:noFill/>
                </a:ln>
                <a:solidFill>
                  <a:schemeClr val="bg1"/>
                </a:solidFill>
                <a:effectLst/>
                <a:uLnTx/>
                <a:uFillTx/>
                <a:latin typeface="Arial"/>
                <a:ea typeface="+mn-ea"/>
                <a:cs typeface="+mn-cs"/>
              </a:rPr>
              <a:t>ir riska atklāšanas, pazīšanas un aprakstīšanas process.</a:t>
            </a:r>
          </a:p>
        </p:txBody>
      </p:sp>
      <p:sp>
        <p:nvSpPr>
          <p:cNvPr id="22" name="L-Shape 21">
            <a:extLst>
              <a:ext uri="{FF2B5EF4-FFF2-40B4-BE49-F238E27FC236}">
                <a16:creationId xmlns:a16="http://schemas.microsoft.com/office/drawing/2014/main" id="{64436A3B-F2EA-29E1-97FF-A79A1B73650A}"/>
              </a:ext>
            </a:extLst>
          </p:cNvPr>
          <p:cNvSpPr/>
          <p:nvPr/>
        </p:nvSpPr>
        <p:spPr>
          <a:xfrm rot="13500000">
            <a:off x="8357787" y="3876146"/>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24" name="L-Shape 23">
            <a:extLst>
              <a:ext uri="{FF2B5EF4-FFF2-40B4-BE49-F238E27FC236}">
                <a16:creationId xmlns:a16="http://schemas.microsoft.com/office/drawing/2014/main" id="{D15E2E42-146C-287E-BDC5-411BA5B2061C}"/>
              </a:ext>
            </a:extLst>
          </p:cNvPr>
          <p:cNvSpPr/>
          <p:nvPr/>
        </p:nvSpPr>
        <p:spPr>
          <a:xfrm rot="13500000">
            <a:off x="8357787" y="4773891"/>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25" name="L-Shape 24">
            <a:extLst>
              <a:ext uri="{FF2B5EF4-FFF2-40B4-BE49-F238E27FC236}">
                <a16:creationId xmlns:a16="http://schemas.microsoft.com/office/drawing/2014/main" id="{D79E063A-840B-7656-B705-C69980A20ED6}"/>
              </a:ext>
            </a:extLst>
          </p:cNvPr>
          <p:cNvSpPr/>
          <p:nvPr/>
        </p:nvSpPr>
        <p:spPr>
          <a:xfrm rot="13500000">
            <a:off x="8357787" y="5671461"/>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29" name="TextBox 28">
            <a:extLst>
              <a:ext uri="{FF2B5EF4-FFF2-40B4-BE49-F238E27FC236}">
                <a16:creationId xmlns:a16="http://schemas.microsoft.com/office/drawing/2014/main" id="{DA9CF648-18A6-502F-5EB4-96EAE671EB61}"/>
              </a:ext>
            </a:extLst>
          </p:cNvPr>
          <p:cNvSpPr txBox="1"/>
          <p:nvPr/>
        </p:nvSpPr>
        <p:spPr>
          <a:xfrm>
            <a:off x="4330457" y="2544284"/>
            <a:ext cx="3529499" cy="954107"/>
          </a:xfrm>
          <a:prstGeom prst="rect">
            <a:avLst/>
          </a:prstGeom>
          <a:solidFill>
            <a:srgbClr val="525A72"/>
          </a:solidFill>
        </p:spPr>
        <p:txBody>
          <a:bodyPr wrap="square" lIns="72000" tIns="72000" rIns="72000" bIns="72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400" b="1" i="0" u="none" strike="noStrike" kern="1200" cap="none" spc="0" normalizeH="0" baseline="0" noProof="0">
                <a:ln>
                  <a:noFill/>
                </a:ln>
                <a:solidFill>
                  <a:schemeClr val="bg1"/>
                </a:solidFill>
                <a:effectLst/>
                <a:uLnTx/>
                <a:uFillTx/>
                <a:latin typeface="Arial"/>
                <a:ea typeface="+mn-ea"/>
                <a:cs typeface="+mn-cs"/>
              </a:rPr>
              <a:t>Riska analīze </a:t>
            </a:r>
            <a:r>
              <a:rPr kumimoji="0" lang="lv-LV" sz="1400" b="0" i="0" u="none" strike="noStrike" kern="1200" cap="none" spc="0" normalizeH="0" baseline="0" noProof="0">
                <a:ln>
                  <a:noFill/>
                </a:ln>
                <a:solidFill>
                  <a:schemeClr val="bg1"/>
                </a:solidFill>
                <a:effectLst/>
                <a:uLnTx/>
                <a:uFillTx/>
                <a:latin typeface="Arial"/>
                <a:ea typeface="+mn-ea"/>
                <a:cs typeface="+mn-cs"/>
              </a:rPr>
              <a:t>ir process, kas tiek veikts, lai saprastu riska būtību un noteiktu tā līmeni.</a:t>
            </a:r>
          </a:p>
        </p:txBody>
      </p:sp>
      <p:sp>
        <p:nvSpPr>
          <p:cNvPr id="31" name="TextBox 30">
            <a:extLst>
              <a:ext uri="{FF2B5EF4-FFF2-40B4-BE49-F238E27FC236}">
                <a16:creationId xmlns:a16="http://schemas.microsoft.com/office/drawing/2014/main" id="{E9C4A58F-58E2-F330-A854-C224A021DE59}"/>
              </a:ext>
            </a:extLst>
          </p:cNvPr>
          <p:cNvSpPr txBox="1"/>
          <p:nvPr/>
        </p:nvSpPr>
        <p:spPr>
          <a:xfrm>
            <a:off x="8218487" y="2544284"/>
            <a:ext cx="3529013" cy="954088"/>
          </a:xfrm>
          <a:prstGeom prst="rect">
            <a:avLst/>
          </a:prstGeom>
          <a:solidFill>
            <a:srgbClr val="525A72"/>
          </a:solidFill>
        </p:spPr>
        <p:txBody>
          <a:bodyPr wrap="square" lIns="72000" tIns="72000" rIns="72000" bIns="7200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lv-LV" sz="1400" b="1" i="0" u="none" strike="noStrike" kern="1200" cap="none" spc="0" normalizeH="0" baseline="0" noProof="0">
                <a:ln>
                  <a:noFill/>
                </a:ln>
                <a:solidFill>
                  <a:schemeClr val="bg1"/>
                </a:solidFill>
                <a:effectLst/>
                <a:uLnTx/>
                <a:uFillTx/>
                <a:latin typeface="Arial"/>
                <a:ea typeface="+mn-ea"/>
                <a:cs typeface="+mn-cs"/>
              </a:rPr>
              <a:t>Riska izvērtēšana </a:t>
            </a:r>
            <a:r>
              <a:rPr kumimoji="0" lang="lv-LV" sz="1400" b="0" i="0" u="none" strike="noStrike" kern="1200" cap="none" spc="0" normalizeH="0" baseline="0" noProof="0">
                <a:ln>
                  <a:noFill/>
                </a:ln>
                <a:solidFill>
                  <a:schemeClr val="bg1"/>
                </a:solidFill>
                <a:effectLst/>
                <a:uLnTx/>
                <a:uFillTx/>
                <a:latin typeface="Arial"/>
                <a:ea typeface="+mn-ea"/>
                <a:cs typeface="+mn-cs"/>
              </a:rPr>
              <a:t>ir process, kurā riska analīzes rezultāti tiek salīdzināti ar riska kritērijiem, lai noteiktu, vai risks un tā līmenis ir pieņemams vai apmierinošs.</a:t>
            </a:r>
          </a:p>
        </p:txBody>
      </p:sp>
      <p:sp>
        <p:nvSpPr>
          <p:cNvPr id="36" name="L-Shape 35">
            <a:extLst>
              <a:ext uri="{FF2B5EF4-FFF2-40B4-BE49-F238E27FC236}">
                <a16:creationId xmlns:a16="http://schemas.microsoft.com/office/drawing/2014/main" id="{E0D6D796-931E-6D38-439E-8805DE695C2F}"/>
              </a:ext>
            </a:extLst>
          </p:cNvPr>
          <p:cNvSpPr/>
          <p:nvPr/>
        </p:nvSpPr>
        <p:spPr>
          <a:xfrm rot="13500000">
            <a:off x="580626" y="3876146"/>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39" name="L-Shape 38">
            <a:extLst>
              <a:ext uri="{FF2B5EF4-FFF2-40B4-BE49-F238E27FC236}">
                <a16:creationId xmlns:a16="http://schemas.microsoft.com/office/drawing/2014/main" id="{A669FF05-5556-EA44-70C6-E04812D09B4D}"/>
              </a:ext>
            </a:extLst>
          </p:cNvPr>
          <p:cNvSpPr/>
          <p:nvPr/>
        </p:nvSpPr>
        <p:spPr>
          <a:xfrm rot="13500000">
            <a:off x="580626" y="4773891"/>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BC016F13-D86A-EC1A-AA97-18FA60BEBFFC}"/>
              </a:ext>
            </a:extLst>
          </p:cNvPr>
          <p:cNvSpPr/>
          <p:nvPr/>
        </p:nvSpPr>
        <p:spPr>
          <a:xfrm>
            <a:off x="8898158" y="3616625"/>
            <a:ext cx="2850929" cy="76013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400" b="0" i="0" u="none" strike="noStrike" kern="1200" cap="none" spc="0" normalizeH="0" baseline="0" noProof="0">
                <a:ln>
                  <a:noFill/>
                </a:ln>
                <a:solidFill>
                  <a:srgbClr val="000000"/>
                </a:solidFill>
                <a:effectLst/>
                <a:uLnTx/>
                <a:uFillTx/>
                <a:latin typeface="Arial"/>
                <a:ea typeface="+mn-ea"/>
                <a:cs typeface="+mn-cs"/>
              </a:rPr>
              <a:t>Kvantitatīvā metode (matemātiska)</a:t>
            </a:r>
          </a:p>
        </p:txBody>
      </p:sp>
      <p:sp>
        <p:nvSpPr>
          <p:cNvPr id="9" name="Rectangle 8">
            <a:extLst>
              <a:ext uri="{FF2B5EF4-FFF2-40B4-BE49-F238E27FC236}">
                <a16:creationId xmlns:a16="http://schemas.microsoft.com/office/drawing/2014/main" id="{3EE0DF4A-1336-3AE0-4541-6F719E94BCF1}"/>
              </a:ext>
            </a:extLst>
          </p:cNvPr>
          <p:cNvSpPr/>
          <p:nvPr/>
        </p:nvSpPr>
        <p:spPr>
          <a:xfrm>
            <a:off x="8898158" y="4514370"/>
            <a:ext cx="2850929" cy="76013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400" b="0" i="0" u="none" strike="noStrike" kern="1200" cap="none" spc="0" normalizeH="0" baseline="0" noProof="0">
                <a:ln>
                  <a:noFill/>
                </a:ln>
                <a:solidFill>
                  <a:srgbClr val="000000"/>
                </a:solidFill>
                <a:effectLst/>
                <a:uLnTx/>
                <a:uFillTx/>
                <a:latin typeface="Arial"/>
                <a:ea typeface="+mn-ea"/>
                <a:cs typeface="+mn-cs"/>
              </a:rPr>
              <a:t>Kvalitatīvā metode (balstoties uz notikumiem, ekspertu viedokli)</a:t>
            </a:r>
          </a:p>
        </p:txBody>
      </p:sp>
      <p:sp>
        <p:nvSpPr>
          <p:cNvPr id="10" name="Rectangle 9">
            <a:extLst>
              <a:ext uri="{FF2B5EF4-FFF2-40B4-BE49-F238E27FC236}">
                <a16:creationId xmlns:a16="http://schemas.microsoft.com/office/drawing/2014/main" id="{9B1B60E1-9164-1B6B-BE7E-4A72CE4C8902}"/>
              </a:ext>
            </a:extLst>
          </p:cNvPr>
          <p:cNvSpPr/>
          <p:nvPr/>
        </p:nvSpPr>
        <p:spPr>
          <a:xfrm>
            <a:off x="8898158" y="5411941"/>
            <a:ext cx="2850929" cy="76013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400" b="0" i="0" u="none" strike="noStrike" kern="1200" cap="none" spc="0" normalizeH="0" baseline="0" noProof="0" err="1">
                <a:ln>
                  <a:noFill/>
                </a:ln>
                <a:solidFill>
                  <a:srgbClr val="000000"/>
                </a:solidFill>
                <a:effectLst/>
                <a:uLnTx/>
                <a:uFillTx/>
                <a:latin typeface="Arial"/>
                <a:ea typeface="+mn-ea"/>
                <a:cs typeface="+mn-cs"/>
              </a:rPr>
              <a:t>Puskvantitatīvā</a:t>
            </a:r>
            <a:r>
              <a:rPr kumimoji="0" lang="lv-LV" sz="1400" b="0" i="0" u="none" strike="noStrike" kern="1200" cap="none" spc="0" normalizeH="0" baseline="0" noProof="0">
                <a:ln>
                  <a:noFill/>
                </a:ln>
                <a:solidFill>
                  <a:srgbClr val="000000"/>
                </a:solidFill>
                <a:effectLst/>
                <a:uLnTx/>
                <a:uFillTx/>
                <a:latin typeface="Arial"/>
                <a:ea typeface="+mn-ea"/>
                <a:cs typeface="+mn-cs"/>
              </a:rPr>
              <a:t> metode (skaitliski novērtē negadījuma iespējamību un bīstamības sekas)</a:t>
            </a:r>
          </a:p>
        </p:txBody>
      </p:sp>
      <p:sp>
        <p:nvSpPr>
          <p:cNvPr id="34" name="Rectangle 33">
            <a:extLst>
              <a:ext uri="{FF2B5EF4-FFF2-40B4-BE49-F238E27FC236}">
                <a16:creationId xmlns:a16="http://schemas.microsoft.com/office/drawing/2014/main" id="{99CA41E9-BB7A-22BB-954A-0B0BC6E9F5A2}"/>
              </a:ext>
            </a:extLst>
          </p:cNvPr>
          <p:cNvSpPr/>
          <p:nvPr/>
        </p:nvSpPr>
        <p:spPr>
          <a:xfrm>
            <a:off x="1120997" y="3616324"/>
            <a:ext cx="2850929" cy="76073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400" b="0" i="0" u="none" strike="noStrike" kern="1200" cap="none" spc="0" normalizeH="0" baseline="0" noProof="0">
                <a:ln>
                  <a:noFill/>
                </a:ln>
                <a:solidFill>
                  <a:srgbClr val="000000"/>
                </a:solidFill>
                <a:effectLst/>
                <a:uLnTx/>
                <a:uFillTx/>
                <a:latin typeface="Arial"/>
                <a:ea typeface="+mn-ea"/>
                <a:cs typeface="+mn-cs"/>
              </a:rPr>
              <a:t>Dabas radītie apdraudējumi</a:t>
            </a:r>
          </a:p>
        </p:txBody>
      </p:sp>
      <p:sp>
        <p:nvSpPr>
          <p:cNvPr id="37" name="Rectangle 36">
            <a:extLst>
              <a:ext uri="{FF2B5EF4-FFF2-40B4-BE49-F238E27FC236}">
                <a16:creationId xmlns:a16="http://schemas.microsoft.com/office/drawing/2014/main" id="{133124B5-EC73-E34A-7C75-A80F334BD203}"/>
              </a:ext>
            </a:extLst>
          </p:cNvPr>
          <p:cNvSpPr/>
          <p:nvPr/>
        </p:nvSpPr>
        <p:spPr>
          <a:xfrm>
            <a:off x="1120997" y="4514243"/>
            <a:ext cx="2850929" cy="76038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400" b="0" i="0" u="none" strike="noStrike" kern="1200" cap="none" spc="0" normalizeH="0" baseline="0" noProof="0">
                <a:ln>
                  <a:noFill/>
                </a:ln>
                <a:solidFill>
                  <a:srgbClr val="000000"/>
                </a:solidFill>
                <a:effectLst/>
                <a:uLnTx/>
                <a:uFillTx/>
                <a:latin typeface="Arial"/>
                <a:ea typeface="+mn-ea"/>
                <a:cs typeface="+mn-cs"/>
              </a:rPr>
              <a:t>Tehnoloģiskie apdraudējumi</a:t>
            </a:r>
          </a:p>
        </p:txBody>
      </p:sp>
      <p:sp>
        <p:nvSpPr>
          <p:cNvPr id="40" name="Rectangle 39">
            <a:extLst>
              <a:ext uri="{FF2B5EF4-FFF2-40B4-BE49-F238E27FC236}">
                <a16:creationId xmlns:a16="http://schemas.microsoft.com/office/drawing/2014/main" id="{6C24A337-B04A-4F97-DB88-66DE50499037}"/>
              </a:ext>
            </a:extLst>
          </p:cNvPr>
          <p:cNvSpPr/>
          <p:nvPr/>
        </p:nvSpPr>
        <p:spPr>
          <a:xfrm>
            <a:off x="1120997" y="5411814"/>
            <a:ext cx="2850929" cy="76038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400" b="0" i="0" u="none" strike="noStrike" kern="1200" cap="none" spc="0" normalizeH="0" baseline="0" noProof="0">
                <a:ln>
                  <a:noFill/>
                </a:ln>
                <a:solidFill>
                  <a:srgbClr val="000000"/>
                </a:solidFill>
                <a:effectLst/>
                <a:uLnTx/>
                <a:uFillTx/>
                <a:latin typeface="Arial"/>
                <a:ea typeface="+mn-ea"/>
                <a:cs typeface="+mn-cs"/>
              </a:rPr>
              <a:t>Sociālie apdraudējumi</a:t>
            </a:r>
          </a:p>
        </p:txBody>
      </p:sp>
      <p:sp>
        <p:nvSpPr>
          <p:cNvPr id="15" name="Rectangle 14">
            <a:extLst>
              <a:ext uri="{FF2B5EF4-FFF2-40B4-BE49-F238E27FC236}">
                <a16:creationId xmlns:a16="http://schemas.microsoft.com/office/drawing/2014/main" id="{92A35BF0-72EC-1D63-D9E7-136ABB15F1DD}"/>
              </a:ext>
            </a:extLst>
          </p:cNvPr>
          <p:cNvSpPr/>
          <p:nvPr/>
        </p:nvSpPr>
        <p:spPr>
          <a:xfrm>
            <a:off x="441325" y="1819275"/>
            <a:ext cx="11306175"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600"/>
              </a:spcAft>
              <a:buClrTx/>
              <a:buSzPct val="100000"/>
              <a:buFontTx/>
              <a:buNone/>
              <a:tabLst/>
              <a:defRPr/>
            </a:pPr>
            <a:r>
              <a:rPr kumimoji="0" lang="lv-LV" sz="1600" b="1" i="0" u="none" strike="noStrike" kern="1200" cap="none" spc="0" normalizeH="0" baseline="0" noProof="0">
                <a:ln>
                  <a:noFill/>
                </a:ln>
                <a:solidFill>
                  <a:schemeClr val="tx1"/>
                </a:solidFill>
                <a:effectLst/>
                <a:uLnTx/>
                <a:uFillTx/>
                <a:latin typeface="Arial"/>
                <a:ea typeface="+mn-ea"/>
                <a:cs typeface="+mn-cs"/>
              </a:rPr>
              <a:t>Riska novērtēšanu iedala 3 galvenajos soļos:</a:t>
            </a:r>
          </a:p>
        </p:txBody>
      </p:sp>
      <p:sp>
        <p:nvSpPr>
          <p:cNvPr id="28" name="Rectangle 27">
            <a:extLst>
              <a:ext uri="{FF2B5EF4-FFF2-40B4-BE49-F238E27FC236}">
                <a16:creationId xmlns:a16="http://schemas.microsoft.com/office/drawing/2014/main" id="{6B679810-CC77-0D84-8CFC-DF54BD6592BE}"/>
              </a:ext>
            </a:extLst>
          </p:cNvPr>
          <p:cNvSpPr/>
          <p:nvPr/>
        </p:nvSpPr>
        <p:spPr>
          <a:xfrm>
            <a:off x="11171500" y="1819275"/>
            <a:ext cx="576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E1781B86-2CD2-A4A8-003E-29628D344A28}"/>
              </a:ext>
            </a:extLst>
          </p:cNvPr>
          <p:cNvSpPr/>
          <p:nvPr/>
        </p:nvSpPr>
        <p:spPr>
          <a:xfrm>
            <a:off x="111006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49" name="L-Shape 48">
            <a:extLst>
              <a:ext uri="{FF2B5EF4-FFF2-40B4-BE49-F238E27FC236}">
                <a16:creationId xmlns:a16="http://schemas.microsoft.com/office/drawing/2014/main" id="{C01C69F2-DFAB-2A8E-ED03-D7B4B9F7BFDC}"/>
              </a:ext>
            </a:extLst>
          </p:cNvPr>
          <p:cNvSpPr/>
          <p:nvPr/>
        </p:nvSpPr>
        <p:spPr>
          <a:xfrm rot="13500000">
            <a:off x="608781" y="5671461"/>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8F642EBF-9342-DFC3-A5CC-92E202345C4B}"/>
              </a:ext>
            </a:extLst>
          </p:cNvPr>
          <p:cNvSpPr/>
          <p:nvPr/>
        </p:nvSpPr>
        <p:spPr>
          <a:xfrm>
            <a:off x="4329906" y="3616626"/>
            <a:ext cx="576000" cy="346576"/>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rial"/>
                <a:ea typeface="+mn-ea"/>
                <a:cs typeface="+mn-cs"/>
              </a:rPr>
              <a:t>1</a:t>
            </a:r>
            <a:endParaRPr kumimoji="0" lang="lv-LV" sz="1400" b="1" i="0" u="none" strike="noStrike" kern="1200" cap="none" spc="0" normalizeH="0" baseline="0" noProof="0">
              <a:ln>
                <a:noFill/>
              </a:ln>
              <a:solidFill>
                <a:schemeClr val="tx1"/>
              </a:solidFill>
              <a:effectLst/>
              <a:uLnTx/>
              <a:uFillTx/>
              <a:latin typeface="Arial"/>
              <a:ea typeface="+mn-ea"/>
              <a:cs typeface="+mn-cs"/>
            </a:endParaRPr>
          </a:p>
        </p:txBody>
      </p:sp>
      <p:sp>
        <p:nvSpPr>
          <p:cNvPr id="51" name="Rectangle 50">
            <a:extLst>
              <a:ext uri="{FF2B5EF4-FFF2-40B4-BE49-F238E27FC236}">
                <a16:creationId xmlns:a16="http://schemas.microsoft.com/office/drawing/2014/main" id="{BA53C619-ADA0-83FE-1319-BC711802B3BC}"/>
              </a:ext>
            </a:extLst>
          </p:cNvPr>
          <p:cNvSpPr/>
          <p:nvPr/>
        </p:nvSpPr>
        <p:spPr>
          <a:xfrm>
            <a:off x="5009577" y="3616625"/>
            <a:ext cx="2850929" cy="34657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chemeClr val="tx1"/>
                </a:solidFill>
                <a:effectLst/>
                <a:uLnTx/>
                <a:uFillTx/>
                <a:latin typeface="Arial"/>
                <a:ea typeface="+mn-ea"/>
                <a:cs typeface="+mn-cs"/>
              </a:rPr>
              <a:t>Plānošana</a:t>
            </a:r>
            <a:endParaRPr kumimoji="0" lang="lv-LV" sz="1400" b="0" i="0" u="none" strike="noStrike" kern="1200" cap="none" spc="0" normalizeH="0" baseline="0" noProof="0">
              <a:ln>
                <a:noFill/>
              </a:ln>
              <a:solidFill>
                <a:schemeClr val="tx1"/>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CB42458F-675A-39AA-1B3D-541D1B91FC5F}"/>
              </a:ext>
            </a:extLst>
          </p:cNvPr>
          <p:cNvSpPr/>
          <p:nvPr/>
        </p:nvSpPr>
        <p:spPr>
          <a:xfrm>
            <a:off x="4329906" y="4058426"/>
            <a:ext cx="576000" cy="346576"/>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rial"/>
                <a:ea typeface="+mn-ea"/>
                <a:cs typeface="+mn-cs"/>
              </a:rPr>
              <a:t>2</a:t>
            </a:r>
            <a:endParaRPr kumimoji="0" lang="lv-LV" sz="1400" b="1" i="0" u="none" strike="noStrike" kern="1200" cap="none" spc="0" normalizeH="0" baseline="0" noProof="0">
              <a:ln>
                <a:noFill/>
              </a:ln>
              <a:solidFill>
                <a:schemeClr val="tx1"/>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AC1697B2-4FA8-F365-FEEC-A8AA94D4AFE1}"/>
              </a:ext>
            </a:extLst>
          </p:cNvPr>
          <p:cNvSpPr/>
          <p:nvPr/>
        </p:nvSpPr>
        <p:spPr>
          <a:xfrm>
            <a:off x="5009577" y="4058425"/>
            <a:ext cx="2850929" cy="34657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chemeClr val="tx1"/>
                </a:solidFill>
                <a:effectLst/>
                <a:uLnTx/>
                <a:uFillTx/>
                <a:latin typeface="Arial"/>
                <a:ea typeface="+mn-ea"/>
                <a:cs typeface="+mn-cs"/>
              </a:rPr>
              <a:t>Galvenais</a:t>
            </a:r>
            <a:r>
              <a:rPr kumimoji="0" lang="en-US" sz="1400" b="0" i="0" u="none" strike="noStrike" kern="1200" cap="none" spc="0" normalizeH="0" baseline="0" noProof="0">
                <a:ln>
                  <a:noFill/>
                </a:ln>
                <a:solidFill>
                  <a:schemeClr val="tx1"/>
                </a:solidFill>
                <a:effectLst/>
                <a:uLnTx/>
                <a:uFillTx/>
                <a:latin typeface="Arial"/>
                <a:ea typeface="+mn-ea"/>
                <a:cs typeface="+mn-cs"/>
              </a:rPr>
              <a:t> </a:t>
            </a:r>
            <a:r>
              <a:rPr kumimoji="0" lang="en-US" sz="1400" b="0" i="0" u="none" strike="noStrike" kern="1200" cap="none" spc="0" normalizeH="0" baseline="0" noProof="0" err="1">
                <a:ln>
                  <a:noFill/>
                </a:ln>
                <a:solidFill>
                  <a:schemeClr val="tx1"/>
                </a:solidFill>
                <a:effectLst/>
                <a:uLnTx/>
                <a:uFillTx/>
                <a:latin typeface="Arial"/>
                <a:ea typeface="+mn-ea"/>
                <a:cs typeface="+mn-cs"/>
              </a:rPr>
              <a:t>notikums</a:t>
            </a:r>
            <a:endParaRPr kumimoji="0" lang="en-US" sz="1400" b="0" i="0" u="none" strike="noStrike" kern="1200" cap="none" spc="0" normalizeH="0" baseline="0" noProof="0">
              <a:ln>
                <a:noFill/>
              </a:ln>
              <a:solidFill>
                <a:schemeClr val="tx1"/>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8ABDEF18-6C38-0B60-8C08-C6D8D9F6E0E6}"/>
              </a:ext>
            </a:extLst>
          </p:cNvPr>
          <p:cNvSpPr/>
          <p:nvPr/>
        </p:nvSpPr>
        <p:spPr>
          <a:xfrm>
            <a:off x="4329906" y="4500226"/>
            <a:ext cx="576000" cy="346576"/>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rial"/>
                <a:ea typeface="+mn-ea"/>
                <a:cs typeface="+mn-cs"/>
              </a:rPr>
              <a:t>3</a:t>
            </a:r>
            <a:endParaRPr kumimoji="0" lang="lv-LV" sz="1400" b="1" i="0" u="none" strike="noStrike" kern="1200" cap="none" spc="0" normalizeH="0" baseline="0" noProof="0">
              <a:ln>
                <a:noFill/>
              </a:ln>
              <a:solidFill>
                <a:schemeClr val="tx1"/>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8FB6F8CF-B71A-E8A8-1C28-2F14FAFA205A}"/>
              </a:ext>
            </a:extLst>
          </p:cNvPr>
          <p:cNvSpPr/>
          <p:nvPr/>
        </p:nvSpPr>
        <p:spPr>
          <a:xfrm>
            <a:off x="5009577" y="4500225"/>
            <a:ext cx="2850929" cy="34657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chemeClr val="tx1"/>
                </a:solidFill>
                <a:effectLst/>
                <a:uLnTx/>
                <a:uFillTx/>
                <a:latin typeface="Arial"/>
                <a:ea typeface="+mn-ea"/>
                <a:cs typeface="+mn-cs"/>
              </a:rPr>
              <a:t>Scenārijs</a:t>
            </a:r>
            <a:endParaRPr kumimoji="0" lang="lv-LV" sz="1400" b="0" i="0" u="none" strike="noStrike" kern="1200" cap="none" spc="0" normalizeH="0" baseline="0" noProof="0">
              <a:ln>
                <a:noFill/>
              </a:ln>
              <a:solidFill>
                <a:schemeClr val="tx1"/>
              </a:solidFill>
              <a:effectLst/>
              <a:uLnTx/>
              <a:uFillTx/>
              <a:latin typeface="Arial"/>
              <a:ea typeface="+mn-ea"/>
              <a:cs typeface="+mn-cs"/>
            </a:endParaRPr>
          </a:p>
        </p:txBody>
      </p:sp>
      <p:sp>
        <p:nvSpPr>
          <p:cNvPr id="62" name="Rectangle 61">
            <a:extLst>
              <a:ext uri="{FF2B5EF4-FFF2-40B4-BE49-F238E27FC236}">
                <a16:creationId xmlns:a16="http://schemas.microsoft.com/office/drawing/2014/main" id="{76D41A15-1C05-8F01-BDE4-FF2DE8517A8A}"/>
              </a:ext>
            </a:extLst>
          </p:cNvPr>
          <p:cNvSpPr/>
          <p:nvPr/>
        </p:nvSpPr>
        <p:spPr>
          <a:xfrm>
            <a:off x="4329906" y="4942026"/>
            <a:ext cx="576000" cy="346576"/>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rial"/>
                <a:ea typeface="+mn-ea"/>
                <a:cs typeface="+mn-cs"/>
              </a:rPr>
              <a:t>4</a:t>
            </a:r>
            <a:endParaRPr kumimoji="0" lang="lv-LV" sz="1400" b="1" i="0" u="none" strike="noStrike" kern="1200" cap="none" spc="0" normalizeH="0" baseline="0" noProof="0">
              <a:ln>
                <a:noFill/>
              </a:ln>
              <a:solidFill>
                <a:schemeClr val="tx1"/>
              </a:solidFill>
              <a:effectLst/>
              <a:uLnTx/>
              <a:uFillTx/>
              <a:latin typeface="Arial"/>
              <a:ea typeface="+mn-ea"/>
              <a:cs typeface="+mn-cs"/>
            </a:endParaRPr>
          </a:p>
        </p:txBody>
      </p:sp>
      <p:sp>
        <p:nvSpPr>
          <p:cNvPr id="63" name="Rectangle 62">
            <a:extLst>
              <a:ext uri="{FF2B5EF4-FFF2-40B4-BE49-F238E27FC236}">
                <a16:creationId xmlns:a16="http://schemas.microsoft.com/office/drawing/2014/main" id="{5E4F4B85-9091-2F90-0D8C-AAD659982CE8}"/>
              </a:ext>
            </a:extLst>
          </p:cNvPr>
          <p:cNvSpPr/>
          <p:nvPr/>
        </p:nvSpPr>
        <p:spPr>
          <a:xfrm>
            <a:off x="5009577" y="4942025"/>
            <a:ext cx="2850929" cy="34657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chemeClr val="tx1"/>
                </a:solidFill>
                <a:effectLst/>
                <a:uLnTx/>
                <a:uFillTx/>
                <a:latin typeface="Arial"/>
                <a:ea typeface="+mn-ea"/>
                <a:cs typeface="+mn-cs"/>
              </a:rPr>
              <a:t>Ietekme</a:t>
            </a:r>
            <a:r>
              <a:rPr kumimoji="0" lang="en-US" sz="1400" b="0" i="0" u="none" strike="noStrike" kern="1200" cap="none" spc="0" normalizeH="0" baseline="0" noProof="0">
                <a:ln>
                  <a:noFill/>
                </a:ln>
                <a:solidFill>
                  <a:schemeClr val="tx1"/>
                </a:solidFill>
                <a:effectLst/>
                <a:uLnTx/>
                <a:uFillTx/>
                <a:latin typeface="Arial"/>
                <a:ea typeface="+mn-ea"/>
                <a:cs typeface="+mn-cs"/>
              </a:rPr>
              <a:t> </a:t>
            </a:r>
            <a:r>
              <a:rPr kumimoji="0" lang="en-US" sz="1400" b="0" i="0" u="none" strike="noStrike" kern="1200" cap="none" spc="0" normalizeH="0" baseline="0" noProof="0" err="1">
                <a:ln>
                  <a:noFill/>
                </a:ln>
                <a:solidFill>
                  <a:schemeClr val="tx1"/>
                </a:solidFill>
                <a:effectLst/>
                <a:uLnTx/>
                <a:uFillTx/>
                <a:latin typeface="Arial"/>
                <a:ea typeface="+mn-ea"/>
                <a:cs typeface="+mn-cs"/>
              </a:rPr>
              <a:t>uz</a:t>
            </a:r>
            <a:r>
              <a:rPr kumimoji="0" lang="en-US" sz="1400" b="0" i="0" u="none" strike="noStrike" kern="1200" cap="none" spc="0" normalizeH="0" baseline="0" noProof="0">
                <a:ln>
                  <a:noFill/>
                </a:ln>
                <a:solidFill>
                  <a:schemeClr val="tx1"/>
                </a:solidFill>
                <a:effectLst/>
                <a:uLnTx/>
                <a:uFillTx/>
                <a:latin typeface="Arial"/>
                <a:ea typeface="+mn-ea"/>
                <a:cs typeface="+mn-cs"/>
              </a:rPr>
              <a:t> </a:t>
            </a:r>
            <a:r>
              <a:rPr kumimoji="0" lang="en-US" sz="1400" b="0" i="0" u="none" strike="noStrike" kern="1200" cap="none" spc="0" normalizeH="0" baseline="0" noProof="0" err="1">
                <a:ln>
                  <a:noFill/>
                </a:ln>
                <a:solidFill>
                  <a:schemeClr val="tx1"/>
                </a:solidFill>
                <a:effectLst/>
                <a:uLnTx/>
                <a:uFillTx/>
                <a:latin typeface="Arial"/>
                <a:ea typeface="+mn-ea"/>
                <a:cs typeface="+mn-cs"/>
              </a:rPr>
              <a:t>pamatvajadzībām</a:t>
            </a:r>
            <a:endParaRPr kumimoji="0" lang="lv-LV" sz="1400" b="0" i="0" u="none" strike="noStrike" kern="1200" cap="none" spc="0" normalizeH="0" baseline="0" noProof="0">
              <a:ln>
                <a:noFill/>
              </a:ln>
              <a:solidFill>
                <a:schemeClr val="tx1"/>
              </a:solidFill>
              <a:effectLst/>
              <a:uLnTx/>
              <a:uFillTx/>
              <a:latin typeface="Arial"/>
              <a:ea typeface="+mn-ea"/>
              <a:cs typeface="+mn-cs"/>
            </a:endParaRPr>
          </a:p>
        </p:txBody>
      </p:sp>
      <p:sp>
        <p:nvSpPr>
          <p:cNvPr id="65" name="Rectangle 64">
            <a:extLst>
              <a:ext uri="{FF2B5EF4-FFF2-40B4-BE49-F238E27FC236}">
                <a16:creationId xmlns:a16="http://schemas.microsoft.com/office/drawing/2014/main" id="{A646FA29-EB40-070C-F8A8-93E88F7DD14F}"/>
              </a:ext>
            </a:extLst>
          </p:cNvPr>
          <p:cNvSpPr/>
          <p:nvPr/>
        </p:nvSpPr>
        <p:spPr>
          <a:xfrm>
            <a:off x="4329906" y="5383826"/>
            <a:ext cx="576000" cy="346576"/>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rial"/>
                <a:ea typeface="+mn-ea"/>
                <a:cs typeface="+mn-cs"/>
              </a:rPr>
              <a:t>5</a:t>
            </a:r>
            <a:endParaRPr kumimoji="0" lang="lv-LV" sz="1400" b="1" i="0" u="none" strike="noStrike" kern="1200" cap="none" spc="0" normalizeH="0" baseline="0" noProof="0">
              <a:ln>
                <a:noFill/>
              </a:ln>
              <a:solidFill>
                <a:schemeClr val="tx1"/>
              </a:solidFill>
              <a:effectLst/>
              <a:uLnTx/>
              <a:uFillTx/>
              <a:latin typeface="Arial"/>
              <a:ea typeface="+mn-ea"/>
              <a:cs typeface="+mn-cs"/>
            </a:endParaRPr>
          </a:p>
        </p:txBody>
      </p:sp>
      <p:sp>
        <p:nvSpPr>
          <p:cNvPr id="66" name="Rectangle 65">
            <a:extLst>
              <a:ext uri="{FF2B5EF4-FFF2-40B4-BE49-F238E27FC236}">
                <a16:creationId xmlns:a16="http://schemas.microsoft.com/office/drawing/2014/main" id="{63243E5C-3C02-58EE-161D-B9CE2F931050}"/>
              </a:ext>
            </a:extLst>
          </p:cNvPr>
          <p:cNvSpPr/>
          <p:nvPr/>
        </p:nvSpPr>
        <p:spPr>
          <a:xfrm>
            <a:off x="5009577" y="5383825"/>
            <a:ext cx="2850929" cy="34657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chemeClr val="tx1"/>
                </a:solidFill>
                <a:effectLst/>
                <a:uLnTx/>
                <a:uFillTx/>
                <a:latin typeface="Arial"/>
                <a:ea typeface="+mn-ea"/>
                <a:cs typeface="+mn-cs"/>
              </a:rPr>
              <a:t>Sekas</a:t>
            </a:r>
            <a:endParaRPr kumimoji="0" lang="lv-LV" sz="1400" b="0" i="0" u="none" strike="noStrike" kern="1200" cap="none" spc="0" normalizeH="0" baseline="0" noProof="0">
              <a:ln>
                <a:noFill/>
              </a:ln>
              <a:solidFill>
                <a:schemeClr val="tx1"/>
              </a:solidFill>
              <a:effectLst/>
              <a:uLnTx/>
              <a:uFillTx/>
              <a:latin typeface="Arial"/>
              <a:ea typeface="+mn-ea"/>
              <a:cs typeface="+mn-cs"/>
            </a:endParaRPr>
          </a:p>
        </p:txBody>
      </p:sp>
      <p:sp>
        <p:nvSpPr>
          <p:cNvPr id="68" name="Rectangle 67">
            <a:extLst>
              <a:ext uri="{FF2B5EF4-FFF2-40B4-BE49-F238E27FC236}">
                <a16:creationId xmlns:a16="http://schemas.microsoft.com/office/drawing/2014/main" id="{F17E98ED-FCFE-4475-5CEC-4FB5E749F02D}"/>
              </a:ext>
            </a:extLst>
          </p:cNvPr>
          <p:cNvSpPr/>
          <p:nvPr/>
        </p:nvSpPr>
        <p:spPr>
          <a:xfrm>
            <a:off x="4329906" y="5825624"/>
            <a:ext cx="576000" cy="346576"/>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rial"/>
                <a:ea typeface="+mn-ea"/>
                <a:cs typeface="+mn-cs"/>
              </a:rPr>
              <a:t>6</a:t>
            </a:r>
            <a:endParaRPr kumimoji="0" lang="lv-LV" sz="1400" b="1" i="0" u="none" strike="noStrike" kern="1200" cap="none" spc="0" normalizeH="0" baseline="0" noProof="0">
              <a:ln>
                <a:noFill/>
              </a:ln>
              <a:solidFill>
                <a:schemeClr val="tx1"/>
              </a:solidFill>
              <a:effectLst/>
              <a:uLnTx/>
              <a:uFillTx/>
              <a:latin typeface="Arial"/>
              <a:ea typeface="+mn-ea"/>
              <a:cs typeface="+mn-cs"/>
            </a:endParaRPr>
          </a:p>
        </p:txBody>
      </p:sp>
      <p:sp>
        <p:nvSpPr>
          <p:cNvPr id="69" name="Rectangle 68">
            <a:extLst>
              <a:ext uri="{FF2B5EF4-FFF2-40B4-BE49-F238E27FC236}">
                <a16:creationId xmlns:a16="http://schemas.microsoft.com/office/drawing/2014/main" id="{B379ADCE-EB98-5B8B-87B3-A2A2E8B2FC6F}"/>
              </a:ext>
            </a:extLst>
          </p:cNvPr>
          <p:cNvSpPr/>
          <p:nvPr/>
        </p:nvSpPr>
        <p:spPr>
          <a:xfrm>
            <a:off x="5009577" y="5825623"/>
            <a:ext cx="2850929" cy="34657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chemeClr val="tx1"/>
                </a:solidFill>
                <a:effectLst/>
                <a:uLnTx/>
                <a:uFillTx/>
                <a:latin typeface="Arial"/>
                <a:ea typeface="+mn-ea"/>
                <a:cs typeface="+mn-cs"/>
              </a:rPr>
              <a:t>Ievainojamība</a:t>
            </a:r>
            <a:r>
              <a:rPr kumimoji="0" lang="en-US" sz="1400" b="0" i="0" u="none" strike="noStrike" kern="1200" cap="none" spc="0" normalizeH="0" baseline="0" noProof="0">
                <a:ln>
                  <a:noFill/>
                </a:ln>
                <a:solidFill>
                  <a:schemeClr val="tx1"/>
                </a:solidFill>
                <a:effectLst/>
                <a:uLnTx/>
                <a:uFillTx/>
                <a:latin typeface="Arial"/>
                <a:ea typeface="+mn-ea"/>
                <a:cs typeface="+mn-cs"/>
              </a:rPr>
              <a:t> un </a:t>
            </a:r>
            <a:r>
              <a:rPr kumimoji="0" lang="en-US" sz="1400" b="0" i="0" u="none" strike="noStrike" kern="1200" cap="none" spc="0" normalizeH="0" baseline="0" noProof="0" err="1">
                <a:ln>
                  <a:noFill/>
                </a:ln>
                <a:solidFill>
                  <a:schemeClr val="tx1"/>
                </a:solidFill>
                <a:effectLst/>
                <a:uLnTx/>
                <a:uFillTx/>
                <a:latin typeface="Arial"/>
                <a:ea typeface="+mn-ea"/>
                <a:cs typeface="+mn-cs"/>
              </a:rPr>
              <a:t>spējas</a:t>
            </a:r>
            <a:endParaRPr kumimoji="0" lang="en-US" sz="1400" b="0" i="0" u="none" strike="noStrike" kern="1200" cap="none" spc="0" normalizeH="0" baseline="0" noProof="0">
              <a:ln>
                <a:noFill/>
              </a:ln>
              <a:solidFill>
                <a:schemeClr val="tx1"/>
              </a:solidFill>
              <a:effectLst/>
              <a:uLnTx/>
              <a:uFillTx/>
              <a:latin typeface="Arial"/>
              <a:ea typeface="+mn-ea"/>
              <a:cs typeface="+mn-cs"/>
            </a:endParaRPr>
          </a:p>
        </p:txBody>
      </p:sp>
      <p:sp>
        <p:nvSpPr>
          <p:cNvPr id="70" name="Google Shape;1982;p97">
            <a:extLst>
              <a:ext uri="{FF2B5EF4-FFF2-40B4-BE49-F238E27FC236}">
                <a16:creationId xmlns:a16="http://schemas.microsoft.com/office/drawing/2014/main" id="{59E8BA6E-4356-9472-BAB5-7899A4837A2A}"/>
              </a:ext>
            </a:extLst>
          </p:cNvPr>
          <p:cNvSpPr/>
          <p:nvPr/>
        </p:nvSpPr>
        <p:spPr>
          <a:xfrm>
            <a:off x="11279500" y="1927275"/>
            <a:ext cx="360000" cy="360000"/>
          </a:xfrm>
          <a:custGeom>
            <a:avLst/>
            <a:gdLst/>
            <a:ahLst/>
            <a:cxnLst/>
            <a:rect l="l" t="t" r="r" b="b"/>
            <a:pathLst>
              <a:path w="576" h="576" extrusionOk="0">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grpSp>
        <p:nvGrpSpPr>
          <p:cNvPr id="67" name="Group 66">
            <a:extLst>
              <a:ext uri="{FF2B5EF4-FFF2-40B4-BE49-F238E27FC236}">
                <a16:creationId xmlns:a16="http://schemas.microsoft.com/office/drawing/2014/main" id="{41F9B575-73D2-92CE-323F-B888A3FC717E}"/>
              </a:ext>
            </a:extLst>
          </p:cNvPr>
          <p:cNvGrpSpPr/>
          <p:nvPr/>
        </p:nvGrpSpPr>
        <p:grpSpPr>
          <a:xfrm>
            <a:off x="8801780" y="159786"/>
            <a:ext cx="2947308" cy="217488"/>
            <a:chOff x="8559953" y="967274"/>
            <a:chExt cx="2947308" cy="217488"/>
          </a:xfrm>
        </p:grpSpPr>
        <p:sp>
          <p:nvSpPr>
            <p:cNvPr id="27" name="Rectangle 26">
              <a:extLst>
                <a:ext uri="{FF2B5EF4-FFF2-40B4-BE49-F238E27FC236}">
                  <a16:creationId xmlns:a16="http://schemas.microsoft.com/office/drawing/2014/main" id="{BE5CCDB0-AD9A-17A0-035A-4AA0EB4D1E27}"/>
                </a:ext>
              </a:extLst>
            </p:cNvPr>
            <p:cNvSpPr/>
            <p:nvPr/>
          </p:nvSpPr>
          <p:spPr>
            <a:xfrm>
              <a:off x="9043607" y="96727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5</a:t>
              </a:r>
              <a:r>
                <a:rPr kumimoji="0" lang="lv-LV" sz="800" b="1" i="0" u="none" strike="noStrike" kern="0" cap="none" spc="0" normalizeH="0" baseline="0" dirty="0">
                  <a:ln>
                    <a:noFill/>
                  </a:ln>
                  <a:effectLst/>
                  <a:uLnTx/>
                  <a:uFillTx/>
                  <a:ea typeface="Georgia"/>
                  <a:cs typeface="Georgia"/>
                  <a:sym typeface="Georgia"/>
                </a:rPr>
                <a:t>.</a:t>
              </a:r>
              <a:r>
                <a:rPr kumimoji="0" lang="en-US" sz="800" b="1" i="0" u="none" strike="noStrike" kern="0" cap="none" spc="0" normalizeH="0" baseline="0" dirty="0">
                  <a:ln>
                    <a:noFill/>
                  </a:ln>
                  <a:effectLst/>
                  <a:uLnTx/>
                  <a:uFillTx/>
                  <a:ea typeface="Georgia"/>
                  <a:cs typeface="Georgia"/>
                  <a:sym typeface="Georgia"/>
                </a:rPr>
                <a:t>3</a:t>
              </a:r>
              <a:endParaRPr kumimoji="0" lang="lv-LV" sz="800" b="1" i="0" u="none" strike="noStrike" kern="0" cap="none" spc="0" normalizeH="0" baseline="0" dirty="0">
                <a:ln>
                  <a:noFill/>
                </a:ln>
                <a:effectLst/>
                <a:uLnTx/>
                <a:uFillTx/>
                <a:ea typeface="Georgia"/>
                <a:cs typeface="Georgia"/>
                <a:sym typeface="Georgia"/>
              </a:endParaRPr>
            </a:p>
          </p:txBody>
        </p:sp>
        <p:sp>
          <p:nvSpPr>
            <p:cNvPr id="45" name="Rectangle 44">
              <a:extLst>
                <a:ext uri="{FF2B5EF4-FFF2-40B4-BE49-F238E27FC236}">
                  <a16:creationId xmlns:a16="http://schemas.microsoft.com/office/drawing/2014/main" id="{9EB30D57-FFCA-4AE5-680E-CC2FC989B89E}"/>
                </a:ext>
              </a:extLst>
            </p:cNvPr>
            <p:cNvSpPr/>
            <p:nvPr/>
          </p:nvSpPr>
          <p:spPr>
            <a:xfrm>
              <a:off x="11291261" y="9672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4</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46" name="Rectangle 45">
              <a:extLst>
                <a:ext uri="{FF2B5EF4-FFF2-40B4-BE49-F238E27FC236}">
                  <a16:creationId xmlns:a16="http://schemas.microsoft.com/office/drawing/2014/main" id="{E9D08C65-F534-1077-48B9-7D456CE66B08}"/>
                </a:ext>
              </a:extLst>
            </p:cNvPr>
            <p:cNvSpPr/>
            <p:nvPr/>
          </p:nvSpPr>
          <p:spPr>
            <a:xfrm>
              <a:off x="9285434" y="967274"/>
              <a:ext cx="198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Apdraudējuma riska novērtēšana</a:t>
              </a:r>
              <a:endParaRPr kumimoji="0" lang="en-US" sz="800" b="1" i="0" u="none" strike="noStrike" kern="0" cap="none" spc="0" normalizeH="0" baseline="0" dirty="0">
                <a:ln>
                  <a:noFill/>
                </a:ln>
                <a:effectLst/>
                <a:uLnTx/>
                <a:uFillTx/>
                <a:ea typeface="Georgia"/>
                <a:cs typeface="Georgia"/>
                <a:sym typeface="Georgia"/>
              </a:endParaRPr>
            </a:p>
          </p:txBody>
        </p:sp>
        <p:sp>
          <p:nvSpPr>
            <p:cNvPr id="48" name="Rectangle 47">
              <a:extLst>
                <a:ext uri="{FF2B5EF4-FFF2-40B4-BE49-F238E27FC236}">
                  <a16:creationId xmlns:a16="http://schemas.microsoft.com/office/drawing/2014/main" id="{136D10DD-E2E5-D03B-7F67-C049CA38DD50}"/>
                </a:ext>
              </a:extLst>
            </p:cNvPr>
            <p:cNvSpPr/>
            <p:nvPr/>
          </p:nvSpPr>
          <p:spPr>
            <a:xfrm>
              <a:off x="8801780" y="9672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2</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53" name="Rectangle 52">
              <a:extLst>
                <a:ext uri="{FF2B5EF4-FFF2-40B4-BE49-F238E27FC236}">
                  <a16:creationId xmlns:a16="http://schemas.microsoft.com/office/drawing/2014/main" id="{B6E979E2-849C-F33F-5FAE-BE5CBFD24838}"/>
                </a:ext>
              </a:extLst>
            </p:cNvPr>
            <p:cNvSpPr/>
            <p:nvPr/>
          </p:nvSpPr>
          <p:spPr>
            <a:xfrm>
              <a:off x="8559953" y="9672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42453308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Rectangle 90">
            <a:extLst>
              <a:ext uri="{FF2B5EF4-FFF2-40B4-BE49-F238E27FC236}">
                <a16:creationId xmlns:a16="http://schemas.microsoft.com/office/drawing/2014/main" id="{6DBD16B8-4789-98E6-6E13-B7A26F662C36}"/>
              </a:ext>
            </a:extLst>
          </p:cNvPr>
          <p:cNvSpPr/>
          <p:nvPr/>
        </p:nvSpPr>
        <p:spPr>
          <a:xfrm>
            <a:off x="442910" y="6348112"/>
            <a:ext cx="5610227" cy="34657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4" name="Slide Number Placeholder 3">
            <a:extLst>
              <a:ext uri="{FF2B5EF4-FFF2-40B4-BE49-F238E27FC236}">
                <a16:creationId xmlns:a16="http://schemas.microsoft.com/office/drawing/2014/main" id="{A582BF1B-B430-C5FF-89FF-422AB409923A}"/>
              </a:ext>
            </a:extLst>
          </p:cNvPr>
          <p:cNvSpPr>
            <a:spLocks noGrp="1"/>
          </p:cNvSpPr>
          <p:nvPr>
            <p:ph type="sldNum" sz="quarter" idx="11"/>
          </p:nvPr>
        </p:nvSpPr>
        <p:spPr>
          <a:xfrm>
            <a:off x="9984296" y="6492240"/>
            <a:ext cx="1764792" cy="13716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750" b="0" i="0" u="none" strike="noStrike" kern="1200" cap="none" spc="0" normalizeH="0" baseline="0" noProof="0">
              <a:ln>
                <a:noFill/>
              </a:ln>
              <a:solidFill>
                <a:srgbClr val="000000"/>
              </a:solidFill>
              <a:effectLst/>
              <a:uLnTx/>
              <a:uFillTx/>
              <a:latin typeface="Arial"/>
              <a:ea typeface="+mn-ea"/>
              <a:cs typeface="+mn-cs"/>
            </a:endParaRPr>
          </a:p>
        </p:txBody>
      </p:sp>
      <p:sp>
        <p:nvSpPr>
          <p:cNvPr id="19" name="Title 1">
            <a:extLst>
              <a:ext uri="{FF2B5EF4-FFF2-40B4-BE49-F238E27FC236}">
                <a16:creationId xmlns:a16="http://schemas.microsoft.com/office/drawing/2014/main" id="{D4CCCA12-6848-7E0B-CD7A-E85D849E9DCF}"/>
              </a:ext>
            </a:extLst>
          </p:cNvPr>
          <p:cNvSpPr>
            <a:spLocks noGrp="1"/>
          </p:cNvSpPr>
          <p:nvPr>
            <p:ph type="title"/>
          </p:nvPr>
        </p:nvSpPr>
        <p:spPr>
          <a:xfrm>
            <a:off x="442913" y="432001"/>
            <a:ext cx="11306175" cy="1387274"/>
          </a:xfrm>
        </p:spPr>
        <p:txBody>
          <a:bodyPr vert="horz"/>
          <a:lstStyle/>
          <a:p>
            <a:r>
              <a:rPr lang="lv-LV" dirty="0"/>
              <a:t>Riska scenārija analīzes elementi</a:t>
            </a:r>
          </a:p>
        </p:txBody>
      </p:sp>
      <p:sp>
        <p:nvSpPr>
          <p:cNvPr id="5" name="Freeform 50">
            <a:extLst>
              <a:ext uri="{FF2B5EF4-FFF2-40B4-BE49-F238E27FC236}">
                <a16:creationId xmlns:a16="http://schemas.microsoft.com/office/drawing/2014/main" id="{4FE39BAA-3855-F918-037E-E234B0D06CF1}"/>
              </a:ext>
            </a:extLst>
          </p:cNvPr>
          <p:cNvSpPr>
            <a:spLocks noChangeAspect="1"/>
          </p:cNvSpPr>
          <p:nvPr/>
        </p:nvSpPr>
        <p:spPr bwMode="auto">
          <a:xfrm>
            <a:off x="580102" y="6405514"/>
            <a:ext cx="230247" cy="231772"/>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83" b="0" i="0" u="none" strike="noStrike" kern="1200" cap="none" spc="0" normalizeH="0" baseline="0" noProof="0">
              <a:ln>
                <a:noFill/>
              </a:ln>
              <a:solidFill>
                <a:srgbClr val="000000"/>
              </a:solidFill>
              <a:effectLst/>
              <a:uLnTx/>
              <a:uFillTx/>
              <a:latin typeface="Arial"/>
              <a:ea typeface="+mn-ea"/>
              <a:cs typeface="+mn-cs"/>
            </a:endParaRPr>
          </a:p>
        </p:txBody>
      </p:sp>
      <p:sp>
        <p:nvSpPr>
          <p:cNvPr id="6" name="Google Shape;2685;p25">
            <a:extLst>
              <a:ext uri="{FF2B5EF4-FFF2-40B4-BE49-F238E27FC236}">
                <a16:creationId xmlns:a16="http://schemas.microsoft.com/office/drawing/2014/main" id="{C2B114F8-791F-3D8F-C14A-C45AA40956E8}"/>
              </a:ext>
            </a:extLst>
          </p:cNvPr>
          <p:cNvSpPr txBox="1"/>
          <p:nvPr/>
        </p:nvSpPr>
        <p:spPr>
          <a:xfrm>
            <a:off x="987293" y="6436762"/>
            <a:ext cx="3531367" cy="169277"/>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100" b="0" i="0" u="none" strike="noStrike" kern="1200" cap="none" spc="0" normalizeH="0" baseline="0" noProof="0">
                <a:ln>
                  <a:noFill/>
                </a:ln>
                <a:solidFill>
                  <a:srgbClr val="000000"/>
                </a:solidFill>
                <a:effectLst/>
                <a:uLnTx/>
                <a:uFillTx/>
                <a:latin typeface="Arial"/>
                <a:ea typeface="+mn-ea"/>
                <a:cs typeface="+mn-cs"/>
                <a:hlinkClick r:id="rId3">
                  <a:extLst>
                    <a:ext uri="{A12FA001-AC4F-418D-AE19-62706E023703}">
                      <ahyp:hlinkClr xmlns:ahyp="http://schemas.microsoft.com/office/drawing/2018/hyperlinkcolor" val="tx"/>
                    </a:ext>
                  </a:extLst>
                </a:hlinkClick>
              </a:rPr>
              <a:t>Katastrofu riska novērtēšanas rekomendācijas</a:t>
            </a:r>
            <a:endParaRPr kumimoji="0" lang="lv-LV" sz="1100" b="0" i="0" u="none" strike="noStrike" kern="1200" cap="none" spc="0" normalizeH="0" baseline="0" noProof="0">
              <a:ln>
                <a:noFill/>
              </a:ln>
              <a:solidFill>
                <a:srgbClr val="000000"/>
              </a:solidFill>
              <a:effectLst/>
              <a:uLnTx/>
              <a:uFillTx/>
              <a:latin typeface="Arial"/>
              <a:ea typeface="+mn-ea"/>
              <a:cs typeface="+mn-cs"/>
            </a:endParaRPr>
          </a:p>
        </p:txBody>
      </p:sp>
      <p:sp>
        <p:nvSpPr>
          <p:cNvPr id="3" name="Rectangle 2">
            <a:extLst>
              <a:ext uri="{FF2B5EF4-FFF2-40B4-BE49-F238E27FC236}">
                <a16:creationId xmlns:a16="http://schemas.microsoft.com/office/drawing/2014/main" id="{BB103A31-B196-005C-2810-80ED9FBFED95}"/>
              </a:ext>
            </a:extLst>
          </p:cNvPr>
          <p:cNvSpPr/>
          <p:nvPr/>
        </p:nvSpPr>
        <p:spPr>
          <a:xfrm>
            <a:off x="441325" y="1819275"/>
            <a:ext cx="11306175"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buSzPct val="100000"/>
            </a:pPr>
            <a:r>
              <a:rPr lang="lv-LV" sz="1600" b="1"/>
              <a:t>Veicot riska scenārija analīzi, ir nepieciešams analizēt sešus elementus noteiktajā secībā. </a:t>
            </a:r>
          </a:p>
          <a:p>
            <a:pPr>
              <a:lnSpc>
                <a:spcPct val="100000"/>
              </a:lnSpc>
              <a:buSzPct val="100000"/>
            </a:pPr>
            <a:r>
              <a:rPr lang="lv-LV" sz="1600" b="1"/>
              <a:t>Attēlā apkopots elementu saturs un ar tiem saistītie soļi:</a:t>
            </a:r>
          </a:p>
        </p:txBody>
      </p:sp>
      <p:sp>
        <p:nvSpPr>
          <p:cNvPr id="14" name="Rectangle 13">
            <a:extLst>
              <a:ext uri="{FF2B5EF4-FFF2-40B4-BE49-F238E27FC236}">
                <a16:creationId xmlns:a16="http://schemas.microsoft.com/office/drawing/2014/main" id="{FCA3B951-3A64-CC87-5662-E52DBE3BB6CC}"/>
              </a:ext>
            </a:extLst>
          </p:cNvPr>
          <p:cNvSpPr/>
          <p:nvPr/>
        </p:nvSpPr>
        <p:spPr>
          <a:xfrm>
            <a:off x="11171500"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8" name="Rectangle 17">
            <a:extLst>
              <a:ext uri="{FF2B5EF4-FFF2-40B4-BE49-F238E27FC236}">
                <a16:creationId xmlns:a16="http://schemas.microsoft.com/office/drawing/2014/main" id="{4CEB1BC6-7480-5D52-4609-EE41D2B882F3}"/>
              </a:ext>
            </a:extLst>
          </p:cNvPr>
          <p:cNvSpPr/>
          <p:nvPr/>
        </p:nvSpPr>
        <p:spPr>
          <a:xfrm>
            <a:off x="111006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2" name="Freeform 25">
            <a:extLst>
              <a:ext uri="{FF2B5EF4-FFF2-40B4-BE49-F238E27FC236}">
                <a16:creationId xmlns:a16="http://schemas.microsoft.com/office/drawing/2014/main" id="{BEF95F92-507D-0115-42D2-D65D0DDDB48D}"/>
              </a:ext>
            </a:extLst>
          </p:cNvPr>
          <p:cNvSpPr>
            <a:spLocks noChangeAspect="1" noEditPoints="1"/>
          </p:cNvSpPr>
          <p:nvPr/>
        </p:nvSpPr>
        <p:spPr bwMode="auto">
          <a:xfrm>
            <a:off x="11279500" y="1927275"/>
            <a:ext cx="360363" cy="360363"/>
          </a:xfrm>
          <a:custGeom>
            <a:avLst/>
            <a:gdLst>
              <a:gd name="T0" fmla="*/ 0 w 347"/>
              <a:gd name="T1" fmla="*/ 0 h 346"/>
              <a:gd name="T2" fmla="*/ 0 w 347"/>
              <a:gd name="T3" fmla="*/ 346 h 346"/>
              <a:gd name="T4" fmla="*/ 347 w 347"/>
              <a:gd name="T5" fmla="*/ 346 h 346"/>
              <a:gd name="T6" fmla="*/ 347 w 347"/>
              <a:gd name="T7" fmla="*/ 0 h 346"/>
              <a:gd name="T8" fmla="*/ 0 w 347"/>
              <a:gd name="T9" fmla="*/ 0 h 346"/>
              <a:gd name="T10" fmla="*/ 332 w 347"/>
              <a:gd name="T11" fmla="*/ 332 h 346"/>
              <a:gd name="T12" fmla="*/ 15 w 347"/>
              <a:gd name="T13" fmla="*/ 332 h 346"/>
              <a:gd name="T14" fmla="*/ 15 w 347"/>
              <a:gd name="T15" fmla="*/ 15 h 346"/>
              <a:gd name="T16" fmla="*/ 332 w 347"/>
              <a:gd name="T17" fmla="*/ 15 h 346"/>
              <a:gd name="T18" fmla="*/ 332 w 347"/>
              <a:gd name="T19" fmla="*/ 332 h 346"/>
              <a:gd name="T20" fmla="*/ 48 w 347"/>
              <a:gd name="T21" fmla="*/ 309 h 346"/>
              <a:gd name="T22" fmla="*/ 133 w 347"/>
              <a:gd name="T23" fmla="*/ 224 h 346"/>
              <a:gd name="T24" fmla="*/ 204 w 347"/>
              <a:gd name="T25" fmla="*/ 250 h 346"/>
              <a:gd name="T26" fmla="*/ 280 w 347"/>
              <a:gd name="T27" fmla="*/ 219 h 346"/>
              <a:gd name="T28" fmla="*/ 280 w 347"/>
              <a:gd name="T29" fmla="*/ 67 h 346"/>
              <a:gd name="T30" fmla="*/ 204 w 347"/>
              <a:gd name="T31" fmla="*/ 35 h 346"/>
              <a:gd name="T32" fmla="*/ 128 w 347"/>
              <a:gd name="T33" fmla="*/ 67 h 346"/>
              <a:gd name="T34" fmla="*/ 123 w 347"/>
              <a:gd name="T35" fmla="*/ 214 h 346"/>
              <a:gd name="T36" fmla="*/ 37 w 347"/>
              <a:gd name="T37" fmla="*/ 299 h 346"/>
              <a:gd name="T38" fmla="*/ 48 w 347"/>
              <a:gd name="T39" fmla="*/ 309 h 346"/>
              <a:gd name="T40" fmla="*/ 270 w 347"/>
              <a:gd name="T41" fmla="*/ 208 h 346"/>
              <a:gd name="T42" fmla="*/ 204 w 347"/>
              <a:gd name="T43" fmla="*/ 236 h 346"/>
              <a:gd name="T44" fmla="*/ 138 w 347"/>
              <a:gd name="T45" fmla="*/ 208 h 346"/>
              <a:gd name="T46" fmla="*/ 126 w 347"/>
              <a:gd name="T47" fmla="*/ 193 h 346"/>
              <a:gd name="T48" fmla="*/ 139 w 347"/>
              <a:gd name="T49" fmla="*/ 193 h 346"/>
              <a:gd name="T50" fmla="*/ 178 w 347"/>
              <a:gd name="T51" fmla="*/ 193 h 346"/>
              <a:gd name="T52" fmla="*/ 193 w 347"/>
              <a:gd name="T53" fmla="*/ 193 h 346"/>
              <a:gd name="T54" fmla="*/ 217 w 347"/>
              <a:gd name="T55" fmla="*/ 193 h 346"/>
              <a:gd name="T56" fmla="*/ 231 w 347"/>
              <a:gd name="T57" fmla="*/ 193 h 346"/>
              <a:gd name="T58" fmla="*/ 270 w 347"/>
              <a:gd name="T59" fmla="*/ 193 h 346"/>
              <a:gd name="T60" fmla="*/ 282 w 347"/>
              <a:gd name="T61" fmla="*/ 193 h 346"/>
              <a:gd name="T62" fmla="*/ 270 w 347"/>
              <a:gd name="T63" fmla="*/ 208 h 346"/>
              <a:gd name="T64" fmla="*/ 193 w 347"/>
              <a:gd name="T65" fmla="*/ 112 h 346"/>
              <a:gd name="T66" fmla="*/ 193 w 347"/>
              <a:gd name="T67" fmla="*/ 97 h 346"/>
              <a:gd name="T68" fmla="*/ 217 w 347"/>
              <a:gd name="T69" fmla="*/ 97 h 346"/>
              <a:gd name="T70" fmla="*/ 217 w 347"/>
              <a:gd name="T71" fmla="*/ 132 h 346"/>
              <a:gd name="T72" fmla="*/ 217 w 347"/>
              <a:gd name="T73" fmla="*/ 179 h 346"/>
              <a:gd name="T74" fmla="*/ 193 w 347"/>
              <a:gd name="T75" fmla="*/ 179 h 346"/>
              <a:gd name="T76" fmla="*/ 193 w 347"/>
              <a:gd name="T77" fmla="*/ 112 h 346"/>
              <a:gd name="T78" fmla="*/ 255 w 347"/>
              <a:gd name="T79" fmla="*/ 179 h 346"/>
              <a:gd name="T80" fmla="*/ 231 w 347"/>
              <a:gd name="T81" fmla="*/ 179 h 346"/>
              <a:gd name="T82" fmla="*/ 231 w 347"/>
              <a:gd name="T83" fmla="*/ 147 h 346"/>
              <a:gd name="T84" fmla="*/ 255 w 347"/>
              <a:gd name="T85" fmla="*/ 147 h 346"/>
              <a:gd name="T86" fmla="*/ 255 w 347"/>
              <a:gd name="T87" fmla="*/ 179 h 346"/>
              <a:gd name="T88" fmla="*/ 178 w 347"/>
              <a:gd name="T89" fmla="*/ 179 h 346"/>
              <a:gd name="T90" fmla="*/ 154 w 347"/>
              <a:gd name="T91" fmla="*/ 179 h 346"/>
              <a:gd name="T92" fmla="*/ 154 w 347"/>
              <a:gd name="T93" fmla="*/ 127 h 346"/>
              <a:gd name="T94" fmla="*/ 178 w 347"/>
              <a:gd name="T95" fmla="*/ 127 h 346"/>
              <a:gd name="T96" fmla="*/ 178 w 347"/>
              <a:gd name="T97" fmla="*/ 179 h 346"/>
              <a:gd name="T98" fmla="*/ 138 w 347"/>
              <a:gd name="T99" fmla="*/ 77 h 346"/>
              <a:gd name="T100" fmla="*/ 204 w 347"/>
              <a:gd name="T101" fmla="*/ 50 h 346"/>
              <a:gd name="T102" fmla="*/ 270 w 347"/>
              <a:gd name="T103" fmla="*/ 77 h 346"/>
              <a:gd name="T104" fmla="*/ 290 w 347"/>
              <a:gd name="T105" fmla="*/ 179 h 346"/>
              <a:gd name="T106" fmla="*/ 270 w 347"/>
              <a:gd name="T107" fmla="*/ 179 h 346"/>
              <a:gd name="T108" fmla="*/ 270 w 347"/>
              <a:gd name="T109" fmla="*/ 132 h 346"/>
              <a:gd name="T110" fmla="*/ 231 w 347"/>
              <a:gd name="T111" fmla="*/ 132 h 346"/>
              <a:gd name="T112" fmla="*/ 231 w 347"/>
              <a:gd name="T113" fmla="*/ 83 h 346"/>
              <a:gd name="T114" fmla="*/ 178 w 347"/>
              <a:gd name="T115" fmla="*/ 83 h 346"/>
              <a:gd name="T116" fmla="*/ 178 w 347"/>
              <a:gd name="T117" fmla="*/ 112 h 346"/>
              <a:gd name="T118" fmla="*/ 139 w 347"/>
              <a:gd name="T119" fmla="*/ 112 h 346"/>
              <a:gd name="T120" fmla="*/ 139 w 347"/>
              <a:gd name="T121" fmla="*/ 179 h 346"/>
              <a:gd name="T122" fmla="*/ 118 w 347"/>
              <a:gd name="T123" fmla="*/ 179 h 346"/>
              <a:gd name="T124" fmla="*/ 138 w 347"/>
              <a:gd name="T125" fmla="*/ 7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7" h="346">
                <a:moveTo>
                  <a:pt x="0" y="0"/>
                </a:moveTo>
                <a:cubicBezTo>
                  <a:pt x="0" y="346"/>
                  <a:pt x="0" y="346"/>
                  <a:pt x="0" y="346"/>
                </a:cubicBezTo>
                <a:cubicBezTo>
                  <a:pt x="347" y="346"/>
                  <a:pt x="347" y="346"/>
                  <a:pt x="347" y="346"/>
                </a:cubicBezTo>
                <a:cubicBezTo>
                  <a:pt x="347" y="0"/>
                  <a:pt x="347" y="0"/>
                  <a:pt x="347" y="0"/>
                </a:cubicBezTo>
                <a:lnTo>
                  <a:pt x="0" y="0"/>
                </a:lnTo>
                <a:close/>
                <a:moveTo>
                  <a:pt x="332" y="332"/>
                </a:moveTo>
                <a:cubicBezTo>
                  <a:pt x="15" y="332"/>
                  <a:pt x="15" y="332"/>
                  <a:pt x="15" y="332"/>
                </a:cubicBezTo>
                <a:cubicBezTo>
                  <a:pt x="15" y="15"/>
                  <a:pt x="15" y="15"/>
                  <a:pt x="15" y="15"/>
                </a:cubicBezTo>
                <a:cubicBezTo>
                  <a:pt x="332" y="15"/>
                  <a:pt x="332" y="15"/>
                  <a:pt x="332" y="15"/>
                </a:cubicBezTo>
                <a:lnTo>
                  <a:pt x="332" y="332"/>
                </a:lnTo>
                <a:close/>
                <a:moveTo>
                  <a:pt x="48" y="309"/>
                </a:moveTo>
                <a:cubicBezTo>
                  <a:pt x="133" y="224"/>
                  <a:pt x="133" y="224"/>
                  <a:pt x="133" y="224"/>
                </a:cubicBezTo>
                <a:cubicBezTo>
                  <a:pt x="153" y="241"/>
                  <a:pt x="178" y="250"/>
                  <a:pt x="204" y="250"/>
                </a:cubicBezTo>
                <a:cubicBezTo>
                  <a:pt x="233" y="250"/>
                  <a:pt x="260" y="239"/>
                  <a:pt x="280" y="219"/>
                </a:cubicBezTo>
                <a:cubicBezTo>
                  <a:pt x="322" y="177"/>
                  <a:pt x="322" y="109"/>
                  <a:pt x="280" y="67"/>
                </a:cubicBezTo>
                <a:cubicBezTo>
                  <a:pt x="260" y="46"/>
                  <a:pt x="233" y="35"/>
                  <a:pt x="204" y="35"/>
                </a:cubicBezTo>
                <a:cubicBezTo>
                  <a:pt x="175" y="35"/>
                  <a:pt x="148" y="46"/>
                  <a:pt x="128" y="67"/>
                </a:cubicBezTo>
                <a:cubicBezTo>
                  <a:pt x="88" y="107"/>
                  <a:pt x="86" y="171"/>
                  <a:pt x="123" y="214"/>
                </a:cubicBezTo>
                <a:cubicBezTo>
                  <a:pt x="37" y="299"/>
                  <a:pt x="37" y="299"/>
                  <a:pt x="37" y="299"/>
                </a:cubicBezTo>
                <a:lnTo>
                  <a:pt x="48" y="309"/>
                </a:lnTo>
                <a:close/>
                <a:moveTo>
                  <a:pt x="270" y="208"/>
                </a:moveTo>
                <a:cubicBezTo>
                  <a:pt x="252" y="226"/>
                  <a:pt x="229" y="236"/>
                  <a:pt x="204" y="236"/>
                </a:cubicBezTo>
                <a:cubicBezTo>
                  <a:pt x="179" y="236"/>
                  <a:pt x="156" y="226"/>
                  <a:pt x="138" y="208"/>
                </a:cubicBezTo>
                <a:cubicBezTo>
                  <a:pt x="134" y="204"/>
                  <a:pt x="129" y="199"/>
                  <a:pt x="126" y="193"/>
                </a:cubicBezTo>
                <a:cubicBezTo>
                  <a:pt x="139" y="193"/>
                  <a:pt x="139" y="193"/>
                  <a:pt x="139" y="193"/>
                </a:cubicBezTo>
                <a:cubicBezTo>
                  <a:pt x="178" y="193"/>
                  <a:pt x="178" y="193"/>
                  <a:pt x="178" y="193"/>
                </a:cubicBezTo>
                <a:cubicBezTo>
                  <a:pt x="193" y="193"/>
                  <a:pt x="193" y="193"/>
                  <a:pt x="193" y="193"/>
                </a:cubicBezTo>
                <a:cubicBezTo>
                  <a:pt x="217" y="193"/>
                  <a:pt x="217" y="193"/>
                  <a:pt x="217" y="193"/>
                </a:cubicBezTo>
                <a:cubicBezTo>
                  <a:pt x="231" y="193"/>
                  <a:pt x="231" y="193"/>
                  <a:pt x="231" y="193"/>
                </a:cubicBezTo>
                <a:cubicBezTo>
                  <a:pt x="270" y="193"/>
                  <a:pt x="270" y="193"/>
                  <a:pt x="270" y="193"/>
                </a:cubicBezTo>
                <a:cubicBezTo>
                  <a:pt x="282" y="193"/>
                  <a:pt x="282" y="193"/>
                  <a:pt x="282" y="193"/>
                </a:cubicBezTo>
                <a:cubicBezTo>
                  <a:pt x="278" y="199"/>
                  <a:pt x="274" y="204"/>
                  <a:pt x="270" y="208"/>
                </a:cubicBezTo>
                <a:close/>
                <a:moveTo>
                  <a:pt x="193" y="112"/>
                </a:moveTo>
                <a:cubicBezTo>
                  <a:pt x="193" y="97"/>
                  <a:pt x="193" y="97"/>
                  <a:pt x="193" y="97"/>
                </a:cubicBezTo>
                <a:cubicBezTo>
                  <a:pt x="217" y="97"/>
                  <a:pt x="217" y="97"/>
                  <a:pt x="217" y="97"/>
                </a:cubicBezTo>
                <a:cubicBezTo>
                  <a:pt x="217" y="132"/>
                  <a:pt x="217" y="132"/>
                  <a:pt x="217" y="132"/>
                </a:cubicBezTo>
                <a:cubicBezTo>
                  <a:pt x="217" y="179"/>
                  <a:pt x="217" y="179"/>
                  <a:pt x="217" y="179"/>
                </a:cubicBezTo>
                <a:cubicBezTo>
                  <a:pt x="193" y="179"/>
                  <a:pt x="193" y="179"/>
                  <a:pt x="193" y="179"/>
                </a:cubicBezTo>
                <a:lnTo>
                  <a:pt x="193" y="112"/>
                </a:lnTo>
                <a:close/>
                <a:moveTo>
                  <a:pt x="255" y="179"/>
                </a:moveTo>
                <a:cubicBezTo>
                  <a:pt x="231" y="179"/>
                  <a:pt x="231" y="179"/>
                  <a:pt x="231" y="179"/>
                </a:cubicBezTo>
                <a:cubicBezTo>
                  <a:pt x="231" y="147"/>
                  <a:pt x="231" y="147"/>
                  <a:pt x="231" y="147"/>
                </a:cubicBezTo>
                <a:cubicBezTo>
                  <a:pt x="255" y="147"/>
                  <a:pt x="255" y="147"/>
                  <a:pt x="255" y="147"/>
                </a:cubicBezTo>
                <a:lnTo>
                  <a:pt x="255" y="179"/>
                </a:lnTo>
                <a:close/>
                <a:moveTo>
                  <a:pt x="178" y="179"/>
                </a:moveTo>
                <a:cubicBezTo>
                  <a:pt x="154" y="179"/>
                  <a:pt x="154" y="179"/>
                  <a:pt x="154" y="179"/>
                </a:cubicBezTo>
                <a:cubicBezTo>
                  <a:pt x="154" y="127"/>
                  <a:pt x="154" y="127"/>
                  <a:pt x="154" y="127"/>
                </a:cubicBezTo>
                <a:cubicBezTo>
                  <a:pt x="178" y="127"/>
                  <a:pt x="178" y="127"/>
                  <a:pt x="178" y="127"/>
                </a:cubicBezTo>
                <a:lnTo>
                  <a:pt x="178" y="179"/>
                </a:lnTo>
                <a:close/>
                <a:moveTo>
                  <a:pt x="138" y="77"/>
                </a:moveTo>
                <a:cubicBezTo>
                  <a:pt x="156" y="59"/>
                  <a:pt x="179" y="50"/>
                  <a:pt x="204" y="50"/>
                </a:cubicBezTo>
                <a:cubicBezTo>
                  <a:pt x="229" y="50"/>
                  <a:pt x="252" y="59"/>
                  <a:pt x="270" y="77"/>
                </a:cubicBezTo>
                <a:cubicBezTo>
                  <a:pt x="297" y="104"/>
                  <a:pt x="304" y="145"/>
                  <a:pt x="290" y="179"/>
                </a:cubicBezTo>
                <a:cubicBezTo>
                  <a:pt x="270" y="179"/>
                  <a:pt x="270" y="179"/>
                  <a:pt x="270" y="179"/>
                </a:cubicBezTo>
                <a:cubicBezTo>
                  <a:pt x="270" y="132"/>
                  <a:pt x="270" y="132"/>
                  <a:pt x="270" y="132"/>
                </a:cubicBezTo>
                <a:cubicBezTo>
                  <a:pt x="231" y="132"/>
                  <a:pt x="231" y="132"/>
                  <a:pt x="231" y="132"/>
                </a:cubicBezTo>
                <a:cubicBezTo>
                  <a:pt x="231" y="83"/>
                  <a:pt x="231" y="83"/>
                  <a:pt x="231" y="83"/>
                </a:cubicBezTo>
                <a:cubicBezTo>
                  <a:pt x="178" y="83"/>
                  <a:pt x="178" y="83"/>
                  <a:pt x="178" y="83"/>
                </a:cubicBezTo>
                <a:cubicBezTo>
                  <a:pt x="178" y="112"/>
                  <a:pt x="178" y="112"/>
                  <a:pt x="178" y="112"/>
                </a:cubicBezTo>
                <a:cubicBezTo>
                  <a:pt x="139" y="112"/>
                  <a:pt x="139" y="112"/>
                  <a:pt x="139" y="112"/>
                </a:cubicBezTo>
                <a:cubicBezTo>
                  <a:pt x="139" y="179"/>
                  <a:pt x="139" y="179"/>
                  <a:pt x="139" y="179"/>
                </a:cubicBezTo>
                <a:cubicBezTo>
                  <a:pt x="118" y="179"/>
                  <a:pt x="118" y="179"/>
                  <a:pt x="118" y="179"/>
                </a:cubicBezTo>
                <a:cubicBezTo>
                  <a:pt x="104" y="145"/>
                  <a:pt x="111" y="104"/>
                  <a:pt x="138" y="77"/>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b="1">
              <a:solidFill>
                <a:schemeClr val="accent1"/>
              </a:solidFill>
            </a:endParaRPr>
          </a:p>
        </p:txBody>
      </p:sp>
      <p:sp>
        <p:nvSpPr>
          <p:cNvPr id="24" name="Rectangle 23">
            <a:extLst>
              <a:ext uri="{FF2B5EF4-FFF2-40B4-BE49-F238E27FC236}">
                <a16:creationId xmlns:a16="http://schemas.microsoft.com/office/drawing/2014/main" id="{93EAA84F-994C-F63F-37BF-324787BCF29E}"/>
              </a:ext>
            </a:extLst>
          </p:cNvPr>
          <p:cNvSpPr/>
          <p:nvPr/>
        </p:nvSpPr>
        <p:spPr>
          <a:xfrm>
            <a:off x="441325" y="2498008"/>
            <a:ext cx="1799557" cy="346577"/>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spcAft>
                <a:spcPts val="600"/>
              </a:spcAft>
              <a:buSzPct val="100000"/>
            </a:pPr>
            <a:r>
              <a:rPr lang="lv-LV" sz="1200">
                <a:solidFill>
                  <a:schemeClr val="bg1"/>
                </a:solidFill>
                <a:effectLst/>
                <a:ea typeface="Calibri" panose="020F0502020204030204" pitchFamily="34" charset="0"/>
                <a:cs typeface="Times New Roman" panose="02020603050405020304" pitchFamily="18" charset="0"/>
              </a:rPr>
              <a:t>1.elements</a:t>
            </a:r>
            <a:endParaRPr lang="en-GB" sz="1200">
              <a:solidFill>
                <a:schemeClr val="bg1"/>
              </a:solidFill>
              <a:effectLst/>
              <a:ea typeface="Calibri" panose="020F0502020204030204" pitchFamily="34" charset="0"/>
              <a:cs typeface="Times New Roman" panose="02020603050405020304" pitchFamily="18" charset="0"/>
            </a:endParaRPr>
          </a:p>
        </p:txBody>
      </p:sp>
      <p:sp>
        <p:nvSpPr>
          <p:cNvPr id="25" name="Rectangle 24">
            <a:extLst>
              <a:ext uri="{FF2B5EF4-FFF2-40B4-BE49-F238E27FC236}">
                <a16:creationId xmlns:a16="http://schemas.microsoft.com/office/drawing/2014/main" id="{60274B0F-4EFF-DCB1-35D4-47044D6DC260}"/>
              </a:ext>
            </a:extLst>
          </p:cNvPr>
          <p:cNvSpPr/>
          <p:nvPr/>
        </p:nvSpPr>
        <p:spPr>
          <a:xfrm>
            <a:off x="2342649" y="2498008"/>
            <a:ext cx="1799557" cy="346577"/>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spcAft>
                <a:spcPts val="600"/>
              </a:spcAft>
              <a:buSzPct val="100000"/>
            </a:pPr>
            <a:r>
              <a:rPr lang="en-US" sz="1200">
                <a:solidFill>
                  <a:schemeClr val="tx1"/>
                </a:solidFill>
                <a:ea typeface="Calibri" panose="020F0502020204030204" pitchFamily="34" charset="0"/>
                <a:cs typeface="Times New Roman" panose="02020603050405020304" pitchFamily="18" charset="0"/>
              </a:rPr>
              <a:t>2</a:t>
            </a:r>
            <a:r>
              <a:rPr lang="lv-LV" sz="1200">
                <a:solidFill>
                  <a:schemeClr val="tx1"/>
                </a:solidFill>
                <a:effectLst/>
                <a:ea typeface="Calibri" panose="020F0502020204030204" pitchFamily="34" charset="0"/>
                <a:cs typeface="Times New Roman" panose="02020603050405020304" pitchFamily="18" charset="0"/>
              </a:rPr>
              <a:t>.elements</a:t>
            </a:r>
            <a:endParaRPr lang="en-GB" sz="1200">
              <a:solidFill>
                <a:schemeClr val="tx1"/>
              </a:solidFill>
              <a:effectLst/>
              <a:ea typeface="Calibri" panose="020F0502020204030204" pitchFamily="34" charset="0"/>
              <a:cs typeface="Times New Roman" panose="02020603050405020304" pitchFamily="18" charset="0"/>
            </a:endParaRPr>
          </a:p>
        </p:txBody>
      </p:sp>
      <p:sp>
        <p:nvSpPr>
          <p:cNvPr id="28" name="Rectangle 27">
            <a:extLst>
              <a:ext uri="{FF2B5EF4-FFF2-40B4-BE49-F238E27FC236}">
                <a16:creationId xmlns:a16="http://schemas.microsoft.com/office/drawing/2014/main" id="{9BAE2B46-37BD-EEEF-B6AE-A3A5666438EC}"/>
              </a:ext>
            </a:extLst>
          </p:cNvPr>
          <p:cNvSpPr/>
          <p:nvPr/>
        </p:nvSpPr>
        <p:spPr>
          <a:xfrm>
            <a:off x="4243973" y="2498008"/>
            <a:ext cx="1799557" cy="346577"/>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spcAft>
                <a:spcPts val="600"/>
              </a:spcAft>
              <a:buSzPct val="100000"/>
            </a:pPr>
            <a:r>
              <a:rPr lang="en-US" sz="1200">
                <a:solidFill>
                  <a:schemeClr val="bg1"/>
                </a:solidFill>
                <a:ea typeface="Calibri" panose="020F0502020204030204" pitchFamily="34" charset="0"/>
                <a:cs typeface="Times New Roman" panose="02020603050405020304" pitchFamily="18" charset="0"/>
              </a:rPr>
              <a:t>3</a:t>
            </a:r>
            <a:r>
              <a:rPr lang="lv-LV" sz="1200">
                <a:solidFill>
                  <a:schemeClr val="bg1"/>
                </a:solidFill>
                <a:effectLst/>
                <a:ea typeface="Calibri" panose="020F0502020204030204" pitchFamily="34" charset="0"/>
                <a:cs typeface="Times New Roman" panose="02020603050405020304" pitchFamily="18" charset="0"/>
              </a:rPr>
              <a:t>.elements</a:t>
            </a:r>
            <a:endParaRPr lang="en-GB" sz="1200">
              <a:solidFill>
                <a:schemeClr val="bg1"/>
              </a:solidFill>
              <a:effectLst/>
              <a:ea typeface="Calibri" panose="020F0502020204030204" pitchFamily="34" charset="0"/>
              <a:cs typeface="Times New Roman" panose="02020603050405020304" pitchFamily="18" charset="0"/>
            </a:endParaRPr>
          </a:p>
        </p:txBody>
      </p:sp>
      <p:sp>
        <p:nvSpPr>
          <p:cNvPr id="29" name="Rectangle 28">
            <a:extLst>
              <a:ext uri="{FF2B5EF4-FFF2-40B4-BE49-F238E27FC236}">
                <a16:creationId xmlns:a16="http://schemas.microsoft.com/office/drawing/2014/main" id="{83B9594B-3091-B3B2-CF2E-FEE510344F4C}"/>
              </a:ext>
            </a:extLst>
          </p:cNvPr>
          <p:cNvSpPr/>
          <p:nvPr/>
        </p:nvSpPr>
        <p:spPr>
          <a:xfrm>
            <a:off x="6145297" y="2498008"/>
            <a:ext cx="1799557" cy="346577"/>
          </a:xfrm>
          <a:prstGeom prst="rect">
            <a:avLst/>
          </a:prstGeom>
          <a:solidFill>
            <a:srgbClr val="A4A3B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spcAft>
                <a:spcPts val="600"/>
              </a:spcAft>
              <a:buSzPct val="100000"/>
            </a:pPr>
            <a:r>
              <a:rPr lang="en-US" sz="1200">
                <a:solidFill>
                  <a:schemeClr val="tx1"/>
                </a:solidFill>
                <a:ea typeface="Calibri" panose="020F0502020204030204" pitchFamily="34" charset="0"/>
                <a:cs typeface="Times New Roman" panose="02020603050405020304" pitchFamily="18" charset="0"/>
              </a:rPr>
              <a:t>4</a:t>
            </a:r>
            <a:r>
              <a:rPr lang="lv-LV" sz="1200">
                <a:solidFill>
                  <a:schemeClr val="tx1"/>
                </a:solidFill>
                <a:effectLst/>
                <a:ea typeface="Calibri" panose="020F0502020204030204" pitchFamily="34" charset="0"/>
                <a:cs typeface="Times New Roman" panose="02020603050405020304" pitchFamily="18" charset="0"/>
              </a:rPr>
              <a:t>.elements</a:t>
            </a:r>
            <a:endParaRPr lang="en-GB" sz="1200">
              <a:solidFill>
                <a:schemeClr val="tx1"/>
              </a:solidFill>
              <a:effectLst/>
              <a:ea typeface="Calibri" panose="020F0502020204030204" pitchFamily="34" charset="0"/>
              <a:cs typeface="Times New Roman" panose="02020603050405020304" pitchFamily="18" charset="0"/>
            </a:endParaRPr>
          </a:p>
        </p:txBody>
      </p:sp>
      <p:sp>
        <p:nvSpPr>
          <p:cNvPr id="30" name="Rectangle 29">
            <a:extLst>
              <a:ext uri="{FF2B5EF4-FFF2-40B4-BE49-F238E27FC236}">
                <a16:creationId xmlns:a16="http://schemas.microsoft.com/office/drawing/2014/main" id="{9D98A239-BB60-1406-D701-73823C9F321D}"/>
              </a:ext>
            </a:extLst>
          </p:cNvPr>
          <p:cNvSpPr/>
          <p:nvPr/>
        </p:nvSpPr>
        <p:spPr>
          <a:xfrm>
            <a:off x="8046621" y="2498008"/>
            <a:ext cx="1799557" cy="346577"/>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spcAft>
                <a:spcPts val="600"/>
              </a:spcAft>
              <a:buSzPct val="100000"/>
            </a:pPr>
            <a:r>
              <a:rPr lang="en-US" sz="1200">
                <a:solidFill>
                  <a:schemeClr val="tx1"/>
                </a:solidFill>
                <a:ea typeface="Calibri" panose="020F0502020204030204" pitchFamily="34" charset="0"/>
                <a:cs typeface="Times New Roman" panose="02020603050405020304" pitchFamily="18" charset="0"/>
              </a:rPr>
              <a:t>5</a:t>
            </a:r>
            <a:r>
              <a:rPr lang="lv-LV" sz="1200">
                <a:solidFill>
                  <a:schemeClr val="tx1"/>
                </a:solidFill>
                <a:effectLst/>
                <a:ea typeface="Calibri" panose="020F0502020204030204" pitchFamily="34" charset="0"/>
                <a:cs typeface="Times New Roman" panose="02020603050405020304" pitchFamily="18" charset="0"/>
              </a:rPr>
              <a:t>.elements</a:t>
            </a:r>
            <a:endParaRPr lang="en-GB" sz="1200">
              <a:solidFill>
                <a:schemeClr val="tx1"/>
              </a:solidFill>
              <a:effectLst/>
              <a:ea typeface="Calibri" panose="020F0502020204030204" pitchFamily="34" charset="0"/>
              <a:cs typeface="Times New Roman" panose="02020603050405020304" pitchFamily="18" charset="0"/>
            </a:endParaRPr>
          </a:p>
        </p:txBody>
      </p:sp>
      <p:sp>
        <p:nvSpPr>
          <p:cNvPr id="32" name="Rectangle 31">
            <a:extLst>
              <a:ext uri="{FF2B5EF4-FFF2-40B4-BE49-F238E27FC236}">
                <a16:creationId xmlns:a16="http://schemas.microsoft.com/office/drawing/2014/main" id="{0922BCA9-F366-BF83-B3ED-70611832D34D}"/>
              </a:ext>
            </a:extLst>
          </p:cNvPr>
          <p:cNvSpPr/>
          <p:nvPr/>
        </p:nvSpPr>
        <p:spPr>
          <a:xfrm>
            <a:off x="9947943" y="2498008"/>
            <a:ext cx="1799557" cy="34657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spcAft>
                <a:spcPts val="600"/>
              </a:spcAft>
              <a:buSzPct val="100000"/>
            </a:pPr>
            <a:r>
              <a:rPr lang="en-US" sz="1200">
                <a:solidFill>
                  <a:schemeClr val="tx1"/>
                </a:solidFill>
                <a:ea typeface="Calibri" panose="020F0502020204030204" pitchFamily="34" charset="0"/>
                <a:cs typeface="Times New Roman" panose="02020603050405020304" pitchFamily="18" charset="0"/>
              </a:rPr>
              <a:t>6</a:t>
            </a:r>
            <a:r>
              <a:rPr lang="lv-LV" sz="1200">
                <a:solidFill>
                  <a:schemeClr val="tx1"/>
                </a:solidFill>
                <a:effectLst/>
                <a:ea typeface="Calibri" panose="020F0502020204030204" pitchFamily="34" charset="0"/>
                <a:cs typeface="Times New Roman" panose="02020603050405020304" pitchFamily="18" charset="0"/>
              </a:rPr>
              <a:t>.elements</a:t>
            </a:r>
            <a:endParaRPr lang="en-GB" sz="1200">
              <a:solidFill>
                <a:schemeClr val="tx1"/>
              </a:solidFill>
              <a:effectLst/>
              <a:ea typeface="Calibri" panose="020F0502020204030204" pitchFamily="34" charset="0"/>
              <a:cs typeface="Times New Roman" panose="02020603050405020304" pitchFamily="18" charset="0"/>
            </a:endParaRPr>
          </a:p>
        </p:txBody>
      </p:sp>
      <p:sp>
        <p:nvSpPr>
          <p:cNvPr id="42" name="Rectangle 41">
            <a:extLst>
              <a:ext uri="{FF2B5EF4-FFF2-40B4-BE49-F238E27FC236}">
                <a16:creationId xmlns:a16="http://schemas.microsoft.com/office/drawing/2014/main" id="{7C04F507-A4C3-6697-5B05-22F0AC78DA17}"/>
              </a:ext>
            </a:extLst>
          </p:cNvPr>
          <p:cNvSpPr/>
          <p:nvPr/>
        </p:nvSpPr>
        <p:spPr>
          <a:xfrm>
            <a:off x="441325" y="2941329"/>
            <a:ext cx="1799557" cy="346577"/>
          </a:xfrm>
          <a:prstGeom prst="rect">
            <a:avLst/>
          </a:prstGeom>
          <a:solidFill>
            <a:schemeClr val="bg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b="1">
                <a:solidFill>
                  <a:schemeClr val="tx1"/>
                </a:solidFill>
                <a:effectLst/>
                <a:ea typeface="Calibri" panose="020F0502020204030204" pitchFamily="34" charset="0"/>
                <a:cs typeface="Times New Roman" panose="02020603050405020304" pitchFamily="18" charset="0"/>
              </a:rPr>
              <a:t>PLĀNOŠANA</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43" name="Rectangle 42">
            <a:extLst>
              <a:ext uri="{FF2B5EF4-FFF2-40B4-BE49-F238E27FC236}">
                <a16:creationId xmlns:a16="http://schemas.microsoft.com/office/drawing/2014/main" id="{A5CA2656-D202-8D89-F22B-3B3F18C11B7B}"/>
              </a:ext>
            </a:extLst>
          </p:cNvPr>
          <p:cNvSpPr/>
          <p:nvPr/>
        </p:nvSpPr>
        <p:spPr>
          <a:xfrm>
            <a:off x="2342649" y="2941329"/>
            <a:ext cx="1799557" cy="346577"/>
          </a:xfrm>
          <a:prstGeom prst="rect">
            <a:avLst/>
          </a:prstGeom>
          <a:solidFill>
            <a:schemeClr val="bg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b="1">
                <a:solidFill>
                  <a:schemeClr val="tx1"/>
                </a:solidFill>
                <a:effectLst/>
                <a:ea typeface="Calibri" panose="020F0502020204030204" pitchFamily="34" charset="0"/>
                <a:cs typeface="Times New Roman" panose="02020603050405020304" pitchFamily="18" charset="0"/>
              </a:rPr>
              <a:t>GALVENAIS NOTIKUMS</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50" name="Rectangle 49">
            <a:extLst>
              <a:ext uri="{FF2B5EF4-FFF2-40B4-BE49-F238E27FC236}">
                <a16:creationId xmlns:a16="http://schemas.microsoft.com/office/drawing/2014/main" id="{9920BD01-ECB5-C93B-42BD-6B2D7048ADE4}"/>
              </a:ext>
            </a:extLst>
          </p:cNvPr>
          <p:cNvSpPr/>
          <p:nvPr/>
        </p:nvSpPr>
        <p:spPr>
          <a:xfrm>
            <a:off x="4243973" y="2941329"/>
            <a:ext cx="1799557" cy="346577"/>
          </a:xfrm>
          <a:prstGeom prst="rect">
            <a:avLst/>
          </a:prstGeom>
          <a:solidFill>
            <a:schemeClr val="bg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b="1">
                <a:solidFill>
                  <a:schemeClr val="tx1"/>
                </a:solidFill>
                <a:effectLst/>
                <a:ea typeface="Calibri" panose="020F0502020204030204" pitchFamily="34" charset="0"/>
                <a:cs typeface="Times New Roman" panose="02020603050405020304" pitchFamily="18" charset="0"/>
              </a:rPr>
              <a:t>SCENĀRIJS</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57" name="Rectangle 56">
            <a:extLst>
              <a:ext uri="{FF2B5EF4-FFF2-40B4-BE49-F238E27FC236}">
                <a16:creationId xmlns:a16="http://schemas.microsoft.com/office/drawing/2014/main" id="{8E7FF02E-783E-BE86-2FC2-1713C644D5EA}"/>
              </a:ext>
            </a:extLst>
          </p:cNvPr>
          <p:cNvSpPr/>
          <p:nvPr/>
        </p:nvSpPr>
        <p:spPr>
          <a:xfrm>
            <a:off x="6145297" y="2941329"/>
            <a:ext cx="1799557" cy="346577"/>
          </a:xfrm>
          <a:prstGeom prst="rect">
            <a:avLst/>
          </a:prstGeom>
          <a:solidFill>
            <a:schemeClr val="bg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b="1">
                <a:solidFill>
                  <a:schemeClr val="tx1"/>
                </a:solidFill>
                <a:effectLst/>
                <a:ea typeface="Calibri" panose="020F0502020204030204" pitchFamily="34" charset="0"/>
                <a:cs typeface="Times New Roman" panose="02020603050405020304" pitchFamily="18" charset="0"/>
              </a:rPr>
              <a:t>IETEKME UZ PAMATVAJADZĪBĀM</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61" name="Rectangle 60">
            <a:extLst>
              <a:ext uri="{FF2B5EF4-FFF2-40B4-BE49-F238E27FC236}">
                <a16:creationId xmlns:a16="http://schemas.microsoft.com/office/drawing/2014/main" id="{1F04B60B-DDEC-D9E5-C205-05051F1EF190}"/>
              </a:ext>
            </a:extLst>
          </p:cNvPr>
          <p:cNvSpPr/>
          <p:nvPr/>
        </p:nvSpPr>
        <p:spPr>
          <a:xfrm>
            <a:off x="8046621" y="2941329"/>
            <a:ext cx="1799557" cy="346577"/>
          </a:xfrm>
          <a:prstGeom prst="rect">
            <a:avLst/>
          </a:prstGeom>
          <a:solidFill>
            <a:schemeClr val="bg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b="1">
                <a:solidFill>
                  <a:schemeClr val="tx1"/>
                </a:solidFill>
                <a:effectLst/>
                <a:ea typeface="Calibri" panose="020F0502020204030204" pitchFamily="34" charset="0"/>
                <a:cs typeface="Times New Roman" panose="02020603050405020304" pitchFamily="18" charset="0"/>
              </a:rPr>
              <a:t>SEKAS</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64" name="Rectangle 63">
            <a:extLst>
              <a:ext uri="{FF2B5EF4-FFF2-40B4-BE49-F238E27FC236}">
                <a16:creationId xmlns:a16="http://schemas.microsoft.com/office/drawing/2014/main" id="{C9AC9340-40A9-47BB-E341-F652F7B534A0}"/>
              </a:ext>
            </a:extLst>
          </p:cNvPr>
          <p:cNvSpPr/>
          <p:nvPr/>
        </p:nvSpPr>
        <p:spPr>
          <a:xfrm>
            <a:off x="9947943" y="2941329"/>
            <a:ext cx="1799557" cy="346577"/>
          </a:xfrm>
          <a:prstGeom prst="rect">
            <a:avLst/>
          </a:prstGeom>
          <a:solidFill>
            <a:schemeClr val="bg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b="1">
                <a:solidFill>
                  <a:schemeClr val="tx1"/>
                </a:solidFill>
                <a:effectLst/>
                <a:ea typeface="Calibri" panose="020F0502020204030204" pitchFamily="34" charset="0"/>
                <a:cs typeface="Times New Roman" panose="02020603050405020304" pitchFamily="18" charset="0"/>
              </a:rPr>
              <a:t>IEVAINOJAMĪBA UN SPĒJAS</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66" name="Rectangle 65">
            <a:extLst>
              <a:ext uri="{FF2B5EF4-FFF2-40B4-BE49-F238E27FC236}">
                <a16:creationId xmlns:a16="http://schemas.microsoft.com/office/drawing/2014/main" id="{0B72CA6B-C7E9-86AF-5731-A213613EF657}"/>
              </a:ext>
            </a:extLst>
          </p:cNvPr>
          <p:cNvSpPr/>
          <p:nvPr/>
        </p:nvSpPr>
        <p:spPr>
          <a:xfrm>
            <a:off x="9947943" y="3395361"/>
            <a:ext cx="1799557" cy="72402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6.1. Novērtējiet, vai ir iespējams sasniegt mērķus saglabājot aizsardzības vērtības un funkcijas</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67" name="Rectangle 66">
            <a:extLst>
              <a:ext uri="{FF2B5EF4-FFF2-40B4-BE49-F238E27FC236}">
                <a16:creationId xmlns:a16="http://schemas.microsoft.com/office/drawing/2014/main" id="{30B9A84C-D11A-CE32-1A4E-AAB30A524122}"/>
              </a:ext>
            </a:extLst>
          </p:cNvPr>
          <p:cNvSpPr/>
          <p:nvPr/>
        </p:nvSpPr>
        <p:spPr>
          <a:xfrm>
            <a:off x="9947943" y="4212248"/>
            <a:ext cx="1799557" cy="37719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6.2. Novērtējiet novēršanas spējas</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68" name="Rectangle 67">
            <a:extLst>
              <a:ext uri="{FF2B5EF4-FFF2-40B4-BE49-F238E27FC236}">
                <a16:creationId xmlns:a16="http://schemas.microsoft.com/office/drawing/2014/main" id="{B801D783-DC7B-54E4-B0A2-704ED0F32E05}"/>
              </a:ext>
            </a:extLst>
          </p:cNvPr>
          <p:cNvSpPr/>
          <p:nvPr/>
        </p:nvSpPr>
        <p:spPr>
          <a:xfrm>
            <a:off x="9947943" y="4682305"/>
            <a:ext cx="1799557" cy="30995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0" tIns="72000" rIns="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6.3. Novērtējiet neaizsargātības</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69" name="Rectangle 68">
            <a:extLst>
              <a:ext uri="{FF2B5EF4-FFF2-40B4-BE49-F238E27FC236}">
                <a16:creationId xmlns:a16="http://schemas.microsoft.com/office/drawing/2014/main" id="{7A26B40E-346D-60D8-1275-1E5CD49AD077}"/>
              </a:ext>
            </a:extLst>
          </p:cNvPr>
          <p:cNvSpPr/>
          <p:nvPr/>
        </p:nvSpPr>
        <p:spPr>
          <a:xfrm>
            <a:off x="9947943" y="5094622"/>
            <a:ext cx="1799557" cy="26477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6.4. Novērtējiet spēju reaģēt</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71" name="Rectangle 70">
            <a:extLst>
              <a:ext uri="{FF2B5EF4-FFF2-40B4-BE49-F238E27FC236}">
                <a16:creationId xmlns:a16="http://schemas.microsoft.com/office/drawing/2014/main" id="{06D19F9D-2DEC-DF49-3632-7E895CFC831C}"/>
              </a:ext>
            </a:extLst>
          </p:cNvPr>
          <p:cNvSpPr/>
          <p:nvPr/>
        </p:nvSpPr>
        <p:spPr>
          <a:xfrm>
            <a:off x="9947943" y="5448028"/>
            <a:ext cx="1799557" cy="72402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6.5. Novērtējiet, kādas neaizsargātības ir jāsamazina un kādas spējas ir jāattīsta</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75" name="Rectangle 74">
            <a:extLst>
              <a:ext uri="{FF2B5EF4-FFF2-40B4-BE49-F238E27FC236}">
                <a16:creationId xmlns:a16="http://schemas.microsoft.com/office/drawing/2014/main" id="{0CD1CA15-CF62-C737-DF61-F00160F8B5F7}"/>
              </a:ext>
            </a:extLst>
          </p:cNvPr>
          <p:cNvSpPr/>
          <p:nvPr/>
        </p:nvSpPr>
        <p:spPr>
          <a:xfrm>
            <a:off x="8046621" y="3395361"/>
            <a:ext cx="1799557" cy="72402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5.1. Novērtējiet sekas sabiedrības drošības vērtībām</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76" name="Rectangle 75">
            <a:extLst>
              <a:ext uri="{FF2B5EF4-FFF2-40B4-BE49-F238E27FC236}">
                <a16:creationId xmlns:a16="http://schemas.microsoft.com/office/drawing/2014/main" id="{A1B2F555-D4E9-0A91-F6EC-9A63369C7BDC}"/>
              </a:ext>
            </a:extLst>
          </p:cNvPr>
          <p:cNvSpPr/>
          <p:nvPr/>
        </p:nvSpPr>
        <p:spPr>
          <a:xfrm>
            <a:off x="8046621" y="4212248"/>
            <a:ext cx="1799557" cy="37719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5.2. Veiciet sensitivitātes analīzi </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78" name="Rectangle 77">
            <a:extLst>
              <a:ext uri="{FF2B5EF4-FFF2-40B4-BE49-F238E27FC236}">
                <a16:creationId xmlns:a16="http://schemas.microsoft.com/office/drawing/2014/main" id="{7930C9FD-EE12-6121-5BAE-AD9965C6363B}"/>
              </a:ext>
            </a:extLst>
          </p:cNvPr>
          <p:cNvSpPr/>
          <p:nvPr/>
        </p:nvSpPr>
        <p:spPr>
          <a:xfrm>
            <a:off x="8046621" y="4682305"/>
            <a:ext cx="1799557" cy="37719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5.3. Veiciet nenoteiktības analīzi</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79" name="Rectangle 78">
            <a:extLst>
              <a:ext uri="{FF2B5EF4-FFF2-40B4-BE49-F238E27FC236}">
                <a16:creationId xmlns:a16="http://schemas.microsoft.com/office/drawing/2014/main" id="{1ADA3053-BDC4-992A-AE67-FAE1432681B4}"/>
              </a:ext>
            </a:extLst>
          </p:cNvPr>
          <p:cNvSpPr/>
          <p:nvPr/>
        </p:nvSpPr>
        <p:spPr>
          <a:xfrm>
            <a:off x="6145297" y="3395361"/>
            <a:ext cx="1799557" cy="72402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4.1. Identificējiet, kādas svarīgas sabiedrības pamatvajadzības iesaistās, reaģējot uz scenāriju</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81" name="Rectangle 80">
            <a:extLst>
              <a:ext uri="{FF2B5EF4-FFF2-40B4-BE49-F238E27FC236}">
                <a16:creationId xmlns:a16="http://schemas.microsoft.com/office/drawing/2014/main" id="{AA66BD9C-A25A-E593-62A9-F1AC81738884}"/>
              </a:ext>
            </a:extLst>
          </p:cNvPr>
          <p:cNvSpPr/>
          <p:nvPr/>
        </p:nvSpPr>
        <p:spPr>
          <a:xfrm>
            <a:off x="6145297" y="4212248"/>
            <a:ext cx="1799557" cy="84725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4.2. Identificējiet, kā tas ietekmē sabiedrībai svarīgāko pakalpojumu uzturēšanu</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83" name="Rectangle 82">
            <a:extLst>
              <a:ext uri="{FF2B5EF4-FFF2-40B4-BE49-F238E27FC236}">
                <a16:creationId xmlns:a16="http://schemas.microsoft.com/office/drawing/2014/main" id="{04E4451D-8AB9-BDFE-C336-D1A8A1E303CB}"/>
              </a:ext>
            </a:extLst>
          </p:cNvPr>
          <p:cNvSpPr/>
          <p:nvPr/>
        </p:nvSpPr>
        <p:spPr>
          <a:xfrm>
            <a:off x="4243973" y="3395663"/>
            <a:ext cx="1799557" cy="6143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3.1. Nosakiet "Sliktāko ticamo scenāriju"</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85" name="Rectangle 84">
            <a:extLst>
              <a:ext uri="{FF2B5EF4-FFF2-40B4-BE49-F238E27FC236}">
                <a16:creationId xmlns:a16="http://schemas.microsoft.com/office/drawing/2014/main" id="{5A802AA5-DF37-EB93-3B30-CA3BD3F1D165}"/>
              </a:ext>
            </a:extLst>
          </p:cNvPr>
          <p:cNvSpPr/>
          <p:nvPr/>
        </p:nvSpPr>
        <p:spPr>
          <a:xfrm>
            <a:off x="4243973" y="4116387"/>
            <a:ext cx="1799557" cy="6143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3.2. Nosakiet sākuma un beigu laiku</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87" name="Rectangle 86">
            <a:extLst>
              <a:ext uri="{FF2B5EF4-FFF2-40B4-BE49-F238E27FC236}">
                <a16:creationId xmlns:a16="http://schemas.microsoft.com/office/drawing/2014/main" id="{30B07538-1C43-095D-0AE5-4CAE3F80EA7A}"/>
              </a:ext>
            </a:extLst>
          </p:cNvPr>
          <p:cNvSpPr/>
          <p:nvPr/>
        </p:nvSpPr>
        <p:spPr>
          <a:xfrm>
            <a:off x="4243973" y="4837111"/>
            <a:ext cx="1799557" cy="6143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3.3. Izvēlieties mainīgos un mainīgās vērtības</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89" name="Rectangle 88">
            <a:extLst>
              <a:ext uri="{FF2B5EF4-FFF2-40B4-BE49-F238E27FC236}">
                <a16:creationId xmlns:a16="http://schemas.microsoft.com/office/drawing/2014/main" id="{32609911-31D3-439F-65CD-4AD086B37CA3}"/>
              </a:ext>
            </a:extLst>
          </p:cNvPr>
          <p:cNvSpPr/>
          <p:nvPr/>
        </p:nvSpPr>
        <p:spPr>
          <a:xfrm>
            <a:off x="4243973" y="5557836"/>
            <a:ext cx="1799557" cy="6143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3.4. Apkopojiet scenāriju</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92" name="Rectangle 91">
            <a:extLst>
              <a:ext uri="{FF2B5EF4-FFF2-40B4-BE49-F238E27FC236}">
                <a16:creationId xmlns:a16="http://schemas.microsoft.com/office/drawing/2014/main" id="{FE4A006C-9239-33D2-6ABC-B5A1B1A8A956}"/>
              </a:ext>
            </a:extLst>
          </p:cNvPr>
          <p:cNvSpPr/>
          <p:nvPr/>
        </p:nvSpPr>
        <p:spPr>
          <a:xfrm>
            <a:off x="2342649" y="3395663"/>
            <a:ext cx="1799557" cy="6143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2.1. Nosakiet galveno notikumu</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93" name="Rectangle 92">
            <a:extLst>
              <a:ext uri="{FF2B5EF4-FFF2-40B4-BE49-F238E27FC236}">
                <a16:creationId xmlns:a16="http://schemas.microsoft.com/office/drawing/2014/main" id="{A3EA9E77-25B0-1CDF-3378-7B165ED87B67}"/>
              </a:ext>
            </a:extLst>
          </p:cNvPr>
          <p:cNvSpPr/>
          <p:nvPr/>
        </p:nvSpPr>
        <p:spPr>
          <a:xfrm>
            <a:off x="2342649" y="4116241"/>
            <a:ext cx="1799557" cy="6143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2.2. Nosakiet faktorus, kas var novest pie notikuma rašanās</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94" name="Rectangle 93">
            <a:extLst>
              <a:ext uri="{FF2B5EF4-FFF2-40B4-BE49-F238E27FC236}">
                <a16:creationId xmlns:a16="http://schemas.microsoft.com/office/drawing/2014/main" id="{360FD85E-6AC9-6057-A444-D1B2DB270710}"/>
              </a:ext>
            </a:extLst>
          </p:cNvPr>
          <p:cNvSpPr/>
          <p:nvPr/>
        </p:nvSpPr>
        <p:spPr>
          <a:xfrm>
            <a:off x="2342649" y="4836819"/>
            <a:ext cx="1799557" cy="6143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2.3. Apspriediet vispārējā notikuma varbūtību</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95" name="Rectangle 94">
            <a:extLst>
              <a:ext uri="{FF2B5EF4-FFF2-40B4-BE49-F238E27FC236}">
                <a16:creationId xmlns:a16="http://schemas.microsoft.com/office/drawing/2014/main" id="{F2FEE81D-1F6C-F926-10E9-AA227645EEE8}"/>
              </a:ext>
            </a:extLst>
          </p:cNvPr>
          <p:cNvSpPr/>
          <p:nvPr/>
        </p:nvSpPr>
        <p:spPr>
          <a:xfrm>
            <a:off x="2342649" y="5557398"/>
            <a:ext cx="1799557" cy="61480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2.4. Nosakiet spēju novērst un reaģēt uz vispārējo notikumu</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96" name="Rectangle 95">
            <a:extLst>
              <a:ext uri="{FF2B5EF4-FFF2-40B4-BE49-F238E27FC236}">
                <a16:creationId xmlns:a16="http://schemas.microsoft.com/office/drawing/2014/main" id="{ED15FCEE-C79E-443D-4573-3D4B3A0C4057}"/>
              </a:ext>
            </a:extLst>
          </p:cNvPr>
          <p:cNvSpPr/>
          <p:nvPr/>
        </p:nvSpPr>
        <p:spPr>
          <a:xfrm>
            <a:off x="441325" y="3395662"/>
            <a:ext cx="1799557" cy="4714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1.1. Organizējiet pirmo sanāksmi</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97" name="Rectangle 96">
            <a:extLst>
              <a:ext uri="{FF2B5EF4-FFF2-40B4-BE49-F238E27FC236}">
                <a16:creationId xmlns:a16="http://schemas.microsoft.com/office/drawing/2014/main" id="{AAF85C43-A7E6-F897-B231-8DFFB1FE0326}"/>
              </a:ext>
            </a:extLst>
          </p:cNvPr>
          <p:cNvSpPr/>
          <p:nvPr/>
        </p:nvSpPr>
        <p:spPr>
          <a:xfrm>
            <a:off x="441325" y="3972029"/>
            <a:ext cx="1799557" cy="4714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1.2. Nosakiet informācijas vākšanas nepieciešamību </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98" name="Rectangle 97">
            <a:extLst>
              <a:ext uri="{FF2B5EF4-FFF2-40B4-BE49-F238E27FC236}">
                <a16:creationId xmlns:a16="http://schemas.microsoft.com/office/drawing/2014/main" id="{D549373A-02FA-4F61-5F6C-4C2B09E6E32E}"/>
              </a:ext>
            </a:extLst>
          </p:cNvPr>
          <p:cNvSpPr/>
          <p:nvPr/>
        </p:nvSpPr>
        <p:spPr>
          <a:xfrm>
            <a:off x="441325" y="4548396"/>
            <a:ext cx="1799557" cy="4714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1.3. Izvērtējiet konsultācijas nepieciešamību </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99" name="Rectangle 98">
            <a:extLst>
              <a:ext uri="{FF2B5EF4-FFF2-40B4-BE49-F238E27FC236}">
                <a16:creationId xmlns:a16="http://schemas.microsoft.com/office/drawing/2014/main" id="{AF895437-6C15-2ECD-FAF6-4CEAD2AA6C78}"/>
              </a:ext>
            </a:extLst>
          </p:cNvPr>
          <p:cNvSpPr/>
          <p:nvPr/>
        </p:nvSpPr>
        <p:spPr>
          <a:xfrm>
            <a:off x="441325" y="5124763"/>
            <a:ext cx="1799557" cy="4714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1.4. Izpētiet ārējās līdzdalības nepieciešamību</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100" name="Rectangle 99">
            <a:extLst>
              <a:ext uri="{FF2B5EF4-FFF2-40B4-BE49-F238E27FC236}">
                <a16:creationId xmlns:a16="http://schemas.microsoft.com/office/drawing/2014/main" id="{9AA7E67B-357C-DAA6-A729-0135607A05EC}"/>
              </a:ext>
            </a:extLst>
          </p:cNvPr>
          <p:cNvSpPr/>
          <p:nvPr/>
        </p:nvSpPr>
        <p:spPr>
          <a:xfrm>
            <a:off x="441325" y="5701130"/>
            <a:ext cx="1799557" cy="47107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1.5. Izveidojiet ziņošanas plānu</a:t>
            </a:r>
            <a:endParaRPr lang="en-GB" sz="1000">
              <a:solidFill>
                <a:schemeClr val="tx1"/>
              </a:solidFill>
              <a:effectLst/>
              <a:ea typeface="Calibri" panose="020F0502020204030204" pitchFamily="34" charset="0"/>
              <a:cs typeface="Times New Roman" panose="02020603050405020304" pitchFamily="18" charset="0"/>
            </a:endParaRPr>
          </a:p>
        </p:txBody>
      </p:sp>
      <p:cxnSp>
        <p:nvCxnSpPr>
          <p:cNvPr id="101" name="Straight Arrow Connector 100">
            <a:extLst>
              <a:ext uri="{FF2B5EF4-FFF2-40B4-BE49-F238E27FC236}">
                <a16:creationId xmlns:a16="http://schemas.microsoft.com/office/drawing/2014/main" id="{6D8511DF-8568-16FE-7FEB-A639FA88D10B}"/>
              </a:ext>
            </a:extLst>
          </p:cNvPr>
          <p:cNvCxnSpPr>
            <a:stCxn id="29" idx="2"/>
            <a:endCxn id="57" idx="0"/>
          </p:cNvCxnSpPr>
          <p:nvPr/>
        </p:nvCxnSpPr>
        <p:spPr>
          <a:xfrm>
            <a:off x="7045076" y="2844585"/>
            <a:ext cx="0" cy="9674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2" name="Straight Arrow Connector 101">
            <a:extLst>
              <a:ext uri="{FF2B5EF4-FFF2-40B4-BE49-F238E27FC236}">
                <a16:creationId xmlns:a16="http://schemas.microsoft.com/office/drawing/2014/main" id="{CAD96BA0-FE0A-BDDA-F47D-5CD1A95BB8BA}"/>
              </a:ext>
            </a:extLst>
          </p:cNvPr>
          <p:cNvCxnSpPr>
            <a:stCxn id="57" idx="2"/>
            <a:endCxn id="79" idx="0"/>
          </p:cNvCxnSpPr>
          <p:nvPr/>
        </p:nvCxnSpPr>
        <p:spPr>
          <a:xfrm>
            <a:off x="7045076" y="3287906"/>
            <a:ext cx="0" cy="107455"/>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3" name="Straight Arrow Connector 102">
            <a:extLst>
              <a:ext uri="{FF2B5EF4-FFF2-40B4-BE49-F238E27FC236}">
                <a16:creationId xmlns:a16="http://schemas.microsoft.com/office/drawing/2014/main" id="{47144C16-4712-EFB1-1E47-7B2D74F9EC55}"/>
              </a:ext>
            </a:extLst>
          </p:cNvPr>
          <p:cNvCxnSpPr>
            <a:stCxn id="79" idx="2"/>
            <a:endCxn id="81" idx="0"/>
          </p:cNvCxnSpPr>
          <p:nvPr/>
        </p:nvCxnSpPr>
        <p:spPr>
          <a:xfrm>
            <a:off x="7045076" y="4119384"/>
            <a:ext cx="0" cy="9286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4" name="Straight Arrow Connector 103">
            <a:extLst>
              <a:ext uri="{FF2B5EF4-FFF2-40B4-BE49-F238E27FC236}">
                <a16:creationId xmlns:a16="http://schemas.microsoft.com/office/drawing/2014/main" id="{AA5BECB9-1CC5-DCEE-F9CD-59E99DE614B0}"/>
              </a:ext>
            </a:extLst>
          </p:cNvPr>
          <p:cNvCxnSpPr>
            <a:stCxn id="50" idx="2"/>
            <a:endCxn id="83" idx="0"/>
          </p:cNvCxnSpPr>
          <p:nvPr/>
        </p:nvCxnSpPr>
        <p:spPr>
          <a:xfrm>
            <a:off x="5143752" y="3287906"/>
            <a:ext cx="0" cy="107757"/>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5" name="Straight Arrow Connector 104">
            <a:extLst>
              <a:ext uri="{FF2B5EF4-FFF2-40B4-BE49-F238E27FC236}">
                <a16:creationId xmlns:a16="http://schemas.microsoft.com/office/drawing/2014/main" id="{7E0F9EB3-30E9-3C3D-CBED-5A9AC23425B9}"/>
              </a:ext>
            </a:extLst>
          </p:cNvPr>
          <p:cNvCxnSpPr>
            <a:stCxn id="43" idx="2"/>
            <a:endCxn id="92" idx="0"/>
          </p:cNvCxnSpPr>
          <p:nvPr/>
        </p:nvCxnSpPr>
        <p:spPr>
          <a:xfrm>
            <a:off x="3242428" y="3287906"/>
            <a:ext cx="0" cy="107757"/>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6" name="Straight Arrow Connector 105">
            <a:extLst>
              <a:ext uri="{FF2B5EF4-FFF2-40B4-BE49-F238E27FC236}">
                <a16:creationId xmlns:a16="http://schemas.microsoft.com/office/drawing/2014/main" id="{4EB94B68-D295-12B6-A4E5-DBA8D09C9B6E}"/>
              </a:ext>
            </a:extLst>
          </p:cNvPr>
          <p:cNvCxnSpPr>
            <a:stCxn id="42" idx="2"/>
            <a:endCxn id="96" idx="0"/>
          </p:cNvCxnSpPr>
          <p:nvPr/>
        </p:nvCxnSpPr>
        <p:spPr>
          <a:xfrm>
            <a:off x="1341104" y="3287906"/>
            <a:ext cx="0" cy="107756"/>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7" name="Straight Arrow Connector 106">
            <a:extLst>
              <a:ext uri="{FF2B5EF4-FFF2-40B4-BE49-F238E27FC236}">
                <a16:creationId xmlns:a16="http://schemas.microsoft.com/office/drawing/2014/main" id="{B23DDE47-E371-EF16-9C6B-69093D4D48BF}"/>
              </a:ext>
            </a:extLst>
          </p:cNvPr>
          <p:cNvCxnSpPr>
            <a:stCxn id="96" idx="2"/>
            <a:endCxn id="97" idx="0"/>
          </p:cNvCxnSpPr>
          <p:nvPr/>
        </p:nvCxnSpPr>
        <p:spPr>
          <a:xfrm>
            <a:off x="1341104" y="3867150"/>
            <a:ext cx="0" cy="104879"/>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8" name="Straight Arrow Connector 107">
            <a:extLst>
              <a:ext uri="{FF2B5EF4-FFF2-40B4-BE49-F238E27FC236}">
                <a16:creationId xmlns:a16="http://schemas.microsoft.com/office/drawing/2014/main" id="{765A5FA5-A26A-2DE8-3BDF-CAD83D4E9485}"/>
              </a:ext>
            </a:extLst>
          </p:cNvPr>
          <p:cNvCxnSpPr>
            <a:stCxn id="92" idx="2"/>
            <a:endCxn id="93" idx="0"/>
          </p:cNvCxnSpPr>
          <p:nvPr/>
        </p:nvCxnSpPr>
        <p:spPr>
          <a:xfrm>
            <a:off x="3242428" y="4010026"/>
            <a:ext cx="0" cy="106215"/>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9" name="Straight Arrow Connector 108">
            <a:extLst>
              <a:ext uri="{FF2B5EF4-FFF2-40B4-BE49-F238E27FC236}">
                <a16:creationId xmlns:a16="http://schemas.microsoft.com/office/drawing/2014/main" id="{9BD6FB15-069D-2366-BDD4-216AC8A7CCFE}"/>
              </a:ext>
            </a:extLst>
          </p:cNvPr>
          <p:cNvCxnSpPr>
            <a:stCxn id="83" idx="2"/>
            <a:endCxn id="85" idx="0"/>
          </p:cNvCxnSpPr>
          <p:nvPr/>
        </p:nvCxnSpPr>
        <p:spPr>
          <a:xfrm>
            <a:off x="5143752" y="4010026"/>
            <a:ext cx="0" cy="106361"/>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10" name="Straight Arrow Connector 109">
            <a:extLst>
              <a:ext uri="{FF2B5EF4-FFF2-40B4-BE49-F238E27FC236}">
                <a16:creationId xmlns:a16="http://schemas.microsoft.com/office/drawing/2014/main" id="{466B2B07-B978-21D0-0F59-7CFB5FA99607}"/>
              </a:ext>
            </a:extLst>
          </p:cNvPr>
          <p:cNvCxnSpPr>
            <a:stCxn id="97" idx="2"/>
            <a:endCxn id="98" idx="0"/>
          </p:cNvCxnSpPr>
          <p:nvPr/>
        </p:nvCxnSpPr>
        <p:spPr>
          <a:xfrm>
            <a:off x="1341104" y="4443517"/>
            <a:ext cx="0" cy="104879"/>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11" name="Straight Arrow Connector 110">
            <a:extLst>
              <a:ext uri="{FF2B5EF4-FFF2-40B4-BE49-F238E27FC236}">
                <a16:creationId xmlns:a16="http://schemas.microsoft.com/office/drawing/2014/main" id="{EAAD90C3-AB8D-A6B3-5DA6-00B8A6FDDB20}"/>
              </a:ext>
            </a:extLst>
          </p:cNvPr>
          <p:cNvCxnSpPr>
            <a:stCxn id="93" idx="2"/>
            <a:endCxn id="94" idx="0"/>
          </p:cNvCxnSpPr>
          <p:nvPr/>
        </p:nvCxnSpPr>
        <p:spPr>
          <a:xfrm>
            <a:off x="3242428" y="4730604"/>
            <a:ext cx="0" cy="106215"/>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12" name="Straight Arrow Connector 111">
            <a:extLst>
              <a:ext uri="{FF2B5EF4-FFF2-40B4-BE49-F238E27FC236}">
                <a16:creationId xmlns:a16="http://schemas.microsoft.com/office/drawing/2014/main" id="{11007AAB-18DA-2E88-C50F-B0FCC4D83C9E}"/>
              </a:ext>
            </a:extLst>
          </p:cNvPr>
          <p:cNvCxnSpPr>
            <a:stCxn id="85" idx="2"/>
            <a:endCxn id="87" idx="0"/>
          </p:cNvCxnSpPr>
          <p:nvPr/>
        </p:nvCxnSpPr>
        <p:spPr>
          <a:xfrm>
            <a:off x="5143752" y="4730750"/>
            <a:ext cx="0" cy="106361"/>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13" name="Straight Arrow Connector 112">
            <a:extLst>
              <a:ext uri="{FF2B5EF4-FFF2-40B4-BE49-F238E27FC236}">
                <a16:creationId xmlns:a16="http://schemas.microsoft.com/office/drawing/2014/main" id="{C61659ED-5CF1-0530-66BC-E6094B26FCFD}"/>
              </a:ext>
            </a:extLst>
          </p:cNvPr>
          <p:cNvCxnSpPr>
            <a:stCxn id="98" idx="2"/>
            <a:endCxn id="99" idx="0"/>
          </p:cNvCxnSpPr>
          <p:nvPr/>
        </p:nvCxnSpPr>
        <p:spPr>
          <a:xfrm>
            <a:off x="1341104" y="5019884"/>
            <a:ext cx="0" cy="104879"/>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14" name="Straight Arrow Connector 113">
            <a:extLst>
              <a:ext uri="{FF2B5EF4-FFF2-40B4-BE49-F238E27FC236}">
                <a16:creationId xmlns:a16="http://schemas.microsoft.com/office/drawing/2014/main" id="{F4DCBF56-06C0-9893-9442-95AEB0807E1D}"/>
              </a:ext>
            </a:extLst>
          </p:cNvPr>
          <p:cNvCxnSpPr>
            <a:stCxn id="99" idx="2"/>
            <a:endCxn id="100" idx="0"/>
          </p:cNvCxnSpPr>
          <p:nvPr/>
        </p:nvCxnSpPr>
        <p:spPr>
          <a:xfrm>
            <a:off x="1341104" y="5596251"/>
            <a:ext cx="0" cy="104879"/>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15" name="Straight Arrow Connector 114">
            <a:extLst>
              <a:ext uri="{FF2B5EF4-FFF2-40B4-BE49-F238E27FC236}">
                <a16:creationId xmlns:a16="http://schemas.microsoft.com/office/drawing/2014/main" id="{109CA6B0-C3D1-91F1-D394-C403F7096A78}"/>
              </a:ext>
            </a:extLst>
          </p:cNvPr>
          <p:cNvCxnSpPr>
            <a:stCxn id="94" idx="2"/>
            <a:endCxn id="95" idx="0"/>
          </p:cNvCxnSpPr>
          <p:nvPr/>
        </p:nvCxnSpPr>
        <p:spPr>
          <a:xfrm>
            <a:off x="3242428" y="5451182"/>
            <a:ext cx="0" cy="106216"/>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16" name="Straight Arrow Connector 115">
            <a:extLst>
              <a:ext uri="{FF2B5EF4-FFF2-40B4-BE49-F238E27FC236}">
                <a16:creationId xmlns:a16="http://schemas.microsoft.com/office/drawing/2014/main" id="{3236C94F-AB52-1E8C-7F29-B2CA3DDF0132}"/>
              </a:ext>
            </a:extLst>
          </p:cNvPr>
          <p:cNvCxnSpPr>
            <a:stCxn id="87" idx="2"/>
            <a:endCxn id="89" idx="0"/>
          </p:cNvCxnSpPr>
          <p:nvPr/>
        </p:nvCxnSpPr>
        <p:spPr>
          <a:xfrm>
            <a:off x="5143752" y="5451474"/>
            <a:ext cx="0" cy="106362"/>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17" name="Straight Arrow Connector 116">
            <a:extLst>
              <a:ext uri="{FF2B5EF4-FFF2-40B4-BE49-F238E27FC236}">
                <a16:creationId xmlns:a16="http://schemas.microsoft.com/office/drawing/2014/main" id="{65562C6C-D6F5-E2F5-15E8-86A47D1A6B7F}"/>
              </a:ext>
            </a:extLst>
          </p:cNvPr>
          <p:cNvCxnSpPr>
            <a:stCxn id="30" idx="2"/>
            <a:endCxn id="61" idx="0"/>
          </p:cNvCxnSpPr>
          <p:nvPr/>
        </p:nvCxnSpPr>
        <p:spPr>
          <a:xfrm>
            <a:off x="8946400" y="2844585"/>
            <a:ext cx="0" cy="9674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18" name="Straight Arrow Connector 117">
            <a:extLst>
              <a:ext uri="{FF2B5EF4-FFF2-40B4-BE49-F238E27FC236}">
                <a16:creationId xmlns:a16="http://schemas.microsoft.com/office/drawing/2014/main" id="{DE39BF9B-07DE-A2FA-6E1C-8E59B3FAFAA3}"/>
              </a:ext>
            </a:extLst>
          </p:cNvPr>
          <p:cNvCxnSpPr>
            <a:stCxn id="61" idx="2"/>
            <a:endCxn id="75" idx="0"/>
          </p:cNvCxnSpPr>
          <p:nvPr/>
        </p:nvCxnSpPr>
        <p:spPr>
          <a:xfrm>
            <a:off x="8946400" y="3287906"/>
            <a:ext cx="0" cy="107455"/>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19" name="Straight Arrow Connector 118">
            <a:extLst>
              <a:ext uri="{FF2B5EF4-FFF2-40B4-BE49-F238E27FC236}">
                <a16:creationId xmlns:a16="http://schemas.microsoft.com/office/drawing/2014/main" id="{92EF6FCE-8501-4BD5-1F18-E120C71ABE91}"/>
              </a:ext>
            </a:extLst>
          </p:cNvPr>
          <p:cNvCxnSpPr>
            <a:stCxn id="75" idx="2"/>
            <a:endCxn id="76" idx="0"/>
          </p:cNvCxnSpPr>
          <p:nvPr/>
        </p:nvCxnSpPr>
        <p:spPr>
          <a:xfrm>
            <a:off x="8946400" y="4119384"/>
            <a:ext cx="0" cy="9286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20" name="Straight Arrow Connector 119">
            <a:extLst>
              <a:ext uri="{FF2B5EF4-FFF2-40B4-BE49-F238E27FC236}">
                <a16:creationId xmlns:a16="http://schemas.microsoft.com/office/drawing/2014/main" id="{2F41BE85-5362-F6A3-1C73-9CFD7E123859}"/>
              </a:ext>
            </a:extLst>
          </p:cNvPr>
          <p:cNvCxnSpPr>
            <a:stCxn id="76" idx="2"/>
            <a:endCxn id="78" idx="0"/>
          </p:cNvCxnSpPr>
          <p:nvPr/>
        </p:nvCxnSpPr>
        <p:spPr>
          <a:xfrm>
            <a:off x="8946400" y="4589441"/>
            <a:ext cx="0" cy="9286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21" name="Straight Arrow Connector 120">
            <a:extLst>
              <a:ext uri="{FF2B5EF4-FFF2-40B4-BE49-F238E27FC236}">
                <a16:creationId xmlns:a16="http://schemas.microsoft.com/office/drawing/2014/main" id="{D821AEE9-001E-DBD2-1307-7674C409B01F}"/>
              </a:ext>
            </a:extLst>
          </p:cNvPr>
          <p:cNvCxnSpPr>
            <a:stCxn id="32" idx="2"/>
            <a:endCxn id="64" idx="0"/>
          </p:cNvCxnSpPr>
          <p:nvPr/>
        </p:nvCxnSpPr>
        <p:spPr>
          <a:xfrm>
            <a:off x="10847722" y="2844585"/>
            <a:ext cx="0" cy="9674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22" name="Straight Arrow Connector 121">
            <a:extLst>
              <a:ext uri="{FF2B5EF4-FFF2-40B4-BE49-F238E27FC236}">
                <a16:creationId xmlns:a16="http://schemas.microsoft.com/office/drawing/2014/main" id="{538BAFEC-9FC2-2813-CFF4-72373CEEA877}"/>
              </a:ext>
            </a:extLst>
          </p:cNvPr>
          <p:cNvCxnSpPr>
            <a:stCxn id="64" idx="2"/>
            <a:endCxn id="66" idx="0"/>
          </p:cNvCxnSpPr>
          <p:nvPr/>
        </p:nvCxnSpPr>
        <p:spPr>
          <a:xfrm>
            <a:off x="10847722" y="3287906"/>
            <a:ext cx="0" cy="107455"/>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23" name="Straight Arrow Connector 122">
            <a:extLst>
              <a:ext uri="{FF2B5EF4-FFF2-40B4-BE49-F238E27FC236}">
                <a16:creationId xmlns:a16="http://schemas.microsoft.com/office/drawing/2014/main" id="{F2F6FE5E-1455-DDAF-4EBC-F0664A54C726}"/>
              </a:ext>
            </a:extLst>
          </p:cNvPr>
          <p:cNvCxnSpPr>
            <a:stCxn id="66" idx="2"/>
            <a:endCxn id="67" idx="0"/>
          </p:cNvCxnSpPr>
          <p:nvPr/>
        </p:nvCxnSpPr>
        <p:spPr>
          <a:xfrm>
            <a:off x="10847722" y="4119384"/>
            <a:ext cx="0" cy="9286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24" name="Straight Arrow Connector 123">
            <a:extLst>
              <a:ext uri="{FF2B5EF4-FFF2-40B4-BE49-F238E27FC236}">
                <a16:creationId xmlns:a16="http://schemas.microsoft.com/office/drawing/2014/main" id="{A0BC551A-D02D-D1F8-3041-E36D560EEB23}"/>
              </a:ext>
            </a:extLst>
          </p:cNvPr>
          <p:cNvCxnSpPr>
            <a:stCxn id="67" idx="2"/>
            <a:endCxn id="68" idx="0"/>
          </p:cNvCxnSpPr>
          <p:nvPr/>
        </p:nvCxnSpPr>
        <p:spPr>
          <a:xfrm>
            <a:off x="10847722" y="4589441"/>
            <a:ext cx="0" cy="9286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25" name="Straight Arrow Connector 124">
            <a:extLst>
              <a:ext uri="{FF2B5EF4-FFF2-40B4-BE49-F238E27FC236}">
                <a16:creationId xmlns:a16="http://schemas.microsoft.com/office/drawing/2014/main" id="{9713F259-6494-8B5A-83EA-20D0A128F290}"/>
              </a:ext>
            </a:extLst>
          </p:cNvPr>
          <p:cNvCxnSpPr>
            <a:stCxn id="68" idx="2"/>
            <a:endCxn id="69" idx="0"/>
          </p:cNvCxnSpPr>
          <p:nvPr/>
        </p:nvCxnSpPr>
        <p:spPr>
          <a:xfrm>
            <a:off x="10847722" y="4992257"/>
            <a:ext cx="0" cy="102365"/>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26" name="Straight Arrow Connector 125">
            <a:extLst>
              <a:ext uri="{FF2B5EF4-FFF2-40B4-BE49-F238E27FC236}">
                <a16:creationId xmlns:a16="http://schemas.microsoft.com/office/drawing/2014/main" id="{4150C5FC-A556-DE56-2A19-3EFF02FDFE5B}"/>
              </a:ext>
            </a:extLst>
          </p:cNvPr>
          <p:cNvCxnSpPr>
            <a:stCxn id="69" idx="2"/>
            <a:endCxn id="71" idx="0"/>
          </p:cNvCxnSpPr>
          <p:nvPr/>
        </p:nvCxnSpPr>
        <p:spPr>
          <a:xfrm>
            <a:off x="10847722" y="5359399"/>
            <a:ext cx="0" cy="88629"/>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27" name="Straight Arrow Connector 126">
            <a:extLst>
              <a:ext uri="{FF2B5EF4-FFF2-40B4-BE49-F238E27FC236}">
                <a16:creationId xmlns:a16="http://schemas.microsoft.com/office/drawing/2014/main" id="{7955BC21-64DC-7C76-0650-3BB01211A09D}"/>
              </a:ext>
            </a:extLst>
          </p:cNvPr>
          <p:cNvCxnSpPr>
            <a:stCxn id="28" idx="2"/>
            <a:endCxn id="50" idx="0"/>
          </p:cNvCxnSpPr>
          <p:nvPr/>
        </p:nvCxnSpPr>
        <p:spPr>
          <a:xfrm>
            <a:off x="5143752" y="2844585"/>
            <a:ext cx="0" cy="9674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28" name="Straight Arrow Connector 127">
            <a:extLst>
              <a:ext uri="{FF2B5EF4-FFF2-40B4-BE49-F238E27FC236}">
                <a16:creationId xmlns:a16="http://schemas.microsoft.com/office/drawing/2014/main" id="{4C3B88B6-EF10-FA52-651B-C592629FA2B9}"/>
              </a:ext>
            </a:extLst>
          </p:cNvPr>
          <p:cNvCxnSpPr>
            <a:stCxn id="25" idx="2"/>
            <a:endCxn id="43" idx="0"/>
          </p:cNvCxnSpPr>
          <p:nvPr/>
        </p:nvCxnSpPr>
        <p:spPr>
          <a:xfrm>
            <a:off x="3242428" y="2844585"/>
            <a:ext cx="0" cy="9674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29" name="Straight Arrow Connector 128">
            <a:extLst>
              <a:ext uri="{FF2B5EF4-FFF2-40B4-BE49-F238E27FC236}">
                <a16:creationId xmlns:a16="http://schemas.microsoft.com/office/drawing/2014/main" id="{7A39155D-0B48-4922-55E0-825FDAD5128E}"/>
              </a:ext>
            </a:extLst>
          </p:cNvPr>
          <p:cNvCxnSpPr>
            <a:stCxn id="24" idx="2"/>
            <a:endCxn id="42" idx="0"/>
          </p:cNvCxnSpPr>
          <p:nvPr/>
        </p:nvCxnSpPr>
        <p:spPr>
          <a:xfrm>
            <a:off x="1341104" y="2844585"/>
            <a:ext cx="0" cy="9674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grpSp>
        <p:nvGrpSpPr>
          <p:cNvPr id="7" name="Group 6">
            <a:extLst>
              <a:ext uri="{FF2B5EF4-FFF2-40B4-BE49-F238E27FC236}">
                <a16:creationId xmlns:a16="http://schemas.microsoft.com/office/drawing/2014/main" id="{5902A35D-83A4-61D6-DF3A-DF8805C53E8B}"/>
              </a:ext>
            </a:extLst>
          </p:cNvPr>
          <p:cNvGrpSpPr/>
          <p:nvPr/>
        </p:nvGrpSpPr>
        <p:grpSpPr>
          <a:xfrm>
            <a:off x="8801780" y="159786"/>
            <a:ext cx="2947308" cy="217488"/>
            <a:chOff x="8559953" y="967274"/>
            <a:chExt cx="2947308" cy="217488"/>
          </a:xfrm>
        </p:grpSpPr>
        <p:sp>
          <p:nvSpPr>
            <p:cNvPr id="27" name="Rectangle 26">
              <a:extLst>
                <a:ext uri="{FF2B5EF4-FFF2-40B4-BE49-F238E27FC236}">
                  <a16:creationId xmlns:a16="http://schemas.microsoft.com/office/drawing/2014/main" id="{70A668B9-1C0E-ABD1-3C6A-A03F5CDCE934}"/>
                </a:ext>
              </a:extLst>
            </p:cNvPr>
            <p:cNvSpPr/>
            <p:nvPr/>
          </p:nvSpPr>
          <p:spPr>
            <a:xfrm>
              <a:off x="9043607" y="96727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5</a:t>
              </a:r>
              <a:r>
                <a:rPr kumimoji="0" lang="lv-LV" sz="800" b="1" i="0" u="none" strike="noStrike" kern="0" cap="none" spc="0" normalizeH="0" baseline="0" dirty="0">
                  <a:ln>
                    <a:noFill/>
                  </a:ln>
                  <a:effectLst/>
                  <a:uLnTx/>
                  <a:uFillTx/>
                  <a:ea typeface="Georgia"/>
                  <a:cs typeface="Georgia"/>
                  <a:sym typeface="Georgia"/>
                </a:rPr>
                <a:t>.</a:t>
              </a:r>
              <a:r>
                <a:rPr kumimoji="0" lang="en-US" sz="800" b="1" i="0" u="none" strike="noStrike" kern="0" cap="none" spc="0" normalizeH="0" baseline="0" dirty="0">
                  <a:ln>
                    <a:noFill/>
                  </a:ln>
                  <a:effectLst/>
                  <a:uLnTx/>
                  <a:uFillTx/>
                  <a:ea typeface="Georgia"/>
                  <a:cs typeface="Georgia"/>
                  <a:sym typeface="Georgia"/>
                </a:rPr>
                <a:t>3</a:t>
              </a:r>
              <a:endParaRPr kumimoji="0" lang="lv-LV" sz="800" b="1" i="0" u="none" strike="noStrike" kern="0" cap="none" spc="0" normalizeH="0" baseline="0" dirty="0">
                <a:ln>
                  <a:noFill/>
                </a:ln>
                <a:effectLst/>
                <a:uLnTx/>
                <a:uFillTx/>
                <a:ea typeface="Georgia"/>
                <a:cs typeface="Georgia"/>
                <a:sym typeface="Georgia"/>
              </a:endParaRPr>
            </a:p>
          </p:txBody>
        </p:sp>
        <p:sp>
          <p:nvSpPr>
            <p:cNvPr id="33" name="Rectangle 32">
              <a:extLst>
                <a:ext uri="{FF2B5EF4-FFF2-40B4-BE49-F238E27FC236}">
                  <a16:creationId xmlns:a16="http://schemas.microsoft.com/office/drawing/2014/main" id="{72183B79-1E76-0AAE-CCEE-7A9041C83E71}"/>
                </a:ext>
              </a:extLst>
            </p:cNvPr>
            <p:cNvSpPr/>
            <p:nvPr/>
          </p:nvSpPr>
          <p:spPr>
            <a:xfrm>
              <a:off x="11291261" y="9672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4</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34" name="Rectangle 33">
              <a:extLst>
                <a:ext uri="{FF2B5EF4-FFF2-40B4-BE49-F238E27FC236}">
                  <a16:creationId xmlns:a16="http://schemas.microsoft.com/office/drawing/2014/main" id="{2E32FFD7-5063-9671-39FD-E72183C3E3BE}"/>
                </a:ext>
              </a:extLst>
            </p:cNvPr>
            <p:cNvSpPr/>
            <p:nvPr/>
          </p:nvSpPr>
          <p:spPr>
            <a:xfrm>
              <a:off x="9285434" y="967274"/>
              <a:ext cx="198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Apdraudējuma riska novērtēšana</a:t>
              </a:r>
              <a:endParaRPr kumimoji="0" lang="en-US" sz="800" b="1" i="0" u="none" strike="noStrike" kern="0" cap="none" spc="0" normalizeH="0" baseline="0" dirty="0">
                <a:ln>
                  <a:noFill/>
                </a:ln>
                <a:effectLst/>
                <a:uLnTx/>
                <a:uFillTx/>
                <a:ea typeface="Georgia"/>
                <a:cs typeface="Georgia"/>
                <a:sym typeface="Georgia"/>
              </a:endParaRPr>
            </a:p>
          </p:txBody>
        </p:sp>
        <p:sp>
          <p:nvSpPr>
            <p:cNvPr id="35" name="Rectangle 34">
              <a:extLst>
                <a:ext uri="{FF2B5EF4-FFF2-40B4-BE49-F238E27FC236}">
                  <a16:creationId xmlns:a16="http://schemas.microsoft.com/office/drawing/2014/main" id="{A2F68512-C396-5BF7-37C9-7BDCB45A4595}"/>
                </a:ext>
              </a:extLst>
            </p:cNvPr>
            <p:cNvSpPr/>
            <p:nvPr/>
          </p:nvSpPr>
          <p:spPr>
            <a:xfrm>
              <a:off x="8801780" y="9672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2</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36" name="Rectangle 35">
              <a:extLst>
                <a:ext uri="{FF2B5EF4-FFF2-40B4-BE49-F238E27FC236}">
                  <a16:creationId xmlns:a16="http://schemas.microsoft.com/office/drawing/2014/main" id="{18522B84-C4C3-B867-0854-420065DF362D}"/>
                </a:ext>
              </a:extLst>
            </p:cNvPr>
            <p:cNvSpPr/>
            <p:nvPr/>
          </p:nvSpPr>
          <p:spPr>
            <a:xfrm>
              <a:off x="8559953" y="9672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1243605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E8E0A4EB-3147-3688-FC1E-46F571D3FA32}"/>
              </a:ext>
            </a:extLst>
          </p:cNvPr>
          <p:cNvSpPr>
            <a:spLocks noGrp="1"/>
          </p:cNvSpPr>
          <p:nvPr>
            <p:ph type="title"/>
          </p:nvPr>
        </p:nvSpPr>
        <p:spPr>
          <a:xfrm>
            <a:off x="442913" y="432001"/>
            <a:ext cx="5480307" cy="1387274"/>
          </a:xfrm>
        </p:spPr>
        <p:txBody>
          <a:bodyPr vert="horz"/>
          <a:lstStyle/>
          <a:p>
            <a:r>
              <a:rPr lang="en-GB" dirty="0" err="1"/>
              <a:t>Uzdevumi</a:t>
            </a:r>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p:txBody>
          <a:bodyPr/>
          <a:lstStyle/>
          <a:p>
            <a:fld id="{7870704B-CE94-48CC-AF30-84932A1262A7}" type="slidenum">
              <a:rPr lang="en-GB" smtClean="0"/>
              <a:pPr/>
              <a:t>2</a:t>
            </a:fld>
            <a:endParaRPr lang="en-GB"/>
          </a:p>
        </p:txBody>
      </p:sp>
      <p:sp>
        <p:nvSpPr>
          <p:cNvPr id="3" name="TextBox 2">
            <a:extLst>
              <a:ext uri="{FF2B5EF4-FFF2-40B4-BE49-F238E27FC236}">
                <a16:creationId xmlns:a16="http://schemas.microsoft.com/office/drawing/2014/main" id="{4EF6DB77-182C-C281-1C2F-C2E2D9AB6583}"/>
              </a:ext>
            </a:extLst>
          </p:cNvPr>
          <p:cNvSpPr txBox="1"/>
          <p:nvPr/>
        </p:nvSpPr>
        <p:spPr>
          <a:xfrm>
            <a:off x="6268782" y="1813238"/>
            <a:ext cx="5473702" cy="2212642"/>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600"/>
              </a:spcAft>
            </a:pPr>
            <a:r>
              <a:rPr lang="lv-LV" sz="1600" dirty="0">
                <a:cs typeface="Arial"/>
              </a:rPr>
              <a:t>Izglītojamie:</a:t>
            </a:r>
          </a:p>
          <a:p>
            <a:pPr marL="742950" lvl="3" indent="-285750">
              <a:spcAft>
                <a:spcPts val="600"/>
              </a:spcAft>
              <a:buBlip>
                <a:blip r:embed="rId2"/>
              </a:buBlip>
            </a:pPr>
            <a:r>
              <a:rPr lang="lv-LV" sz="1600" dirty="0">
                <a:cs typeface="Arial"/>
              </a:rPr>
              <a:t>zina dažādus katastrofas veidus un to iedalījumu; </a:t>
            </a:r>
          </a:p>
          <a:p>
            <a:pPr marL="742950" lvl="3" indent="-285750">
              <a:spcAft>
                <a:spcPts val="600"/>
              </a:spcAft>
              <a:buBlip>
                <a:blip r:embed="rId2"/>
              </a:buBlip>
            </a:pPr>
            <a:r>
              <a:rPr lang="lv-LV" sz="1600" dirty="0">
                <a:cs typeface="Arial"/>
              </a:rPr>
              <a:t>pārzina katastrofas pārvaldīšanas galvenos principus un rīcības soļus;</a:t>
            </a:r>
          </a:p>
          <a:p>
            <a:pPr marL="742950" lvl="3" indent="-285750">
              <a:spcAft>
                <a:spcPts val="600"/>
              </a:spcAft>
              <a:buBlip>
                <a:blip r:embed="rId2"/>
              </a:buBlip>
            </a:pPr>
            <a:r>
              <a:rPr lang="lv-LV" sz="1600" dirty="0">
                <a:cs typeface="Arial"/>
              </a:rPr>
              <a:t>spēj aprakstīt drošības pasākumu galvenos principus.</a:t>
            </a:r>
          </a:p>
        </p:txBody>
      </p:sp>
      <p:sp>
        <p:nvSpPr>
          <p:cNvPr id="4" name="Title 1">
            <a:extLst>
              <a:ext uri="{FF2B5EF4-FFF2-40B4-BE49-F238E27FC236}">
                <a16:creationId xmlns:a16="http://schemas.microsoft.com/office/drawing/2014/main" id="{DE559977-5422-3158-C786-2983A20A2674}"/>
              </a:ext>
            </a:extLst>
          </p:cNvPr>
          <p:cNvSpPr txBox="1">
            <a:spLocks/>
          </p:cNvSpPr>
          <p:nvPr/>
        </p:nvSpPr>
        <p:spPr>
          <a:xfrm>
            <a:off x="6275386" y="432001"/>
            <a:ext cx="5473700" cy="1387274"/>
          </a:xfrm>
          <a:prstGeom prst="rect">
            <a:avLst/>
          </a:prstGeom>
        </p:spPr>
        <p:txBody>
          <a:bodyPr vert="horz" lIns="0" tIns="0" rIns="0" bIns="0" rtlCol="0" anchor="t" anchorCtr="0">
            <a:normAutofit fontScale="97500"/>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buSzPct val="100000"/>
            </a:pPr>
            <a:r>
              <a:rPr lang="en-GB" sz="3600" err="1">
                <a:latin typeface="Georgia"/>
                <a:cs typeface="Arial"/>
              </a:rPr>
              <a:t>Sasniedzamie</a:t>
            </a:r>
            <a:r>
              <a:rPr lang="en-GB" sz="3600">
                <a:latin typeface="Georgia"/>
                <a:cs typeface="Arial"/>
              </a:rPr>
              <a:t> </a:t>
            </a:r>
            <a:r>
              <a:rPr lang="en-GB" sz="3600" err="1">
                <a:latin typeface="Georgia"/>
                <a:cs typeface="Arial"/>
              </a:rPr>
              <a:t>rezultāti</a:t>
            </a:r>
            <a:endParaRPr lang="en-GB" sz="3600" err="1">
              <a:cs typeface="Arial"/>
            </a:endParaRPr>
          </a:p>
        </p:txBody>
      </p:sp>
      <p:sp>
        <p:nvSpPr>
          <p:cNvPr id="6" name="TextBox 5">
            <a:extLst>
              <a:ext uri="{FF2B5EF4-FFF2-40B4-BE49-F238E27FC236}">
                <a16:creationId xmlns:a16="http://schemas.microsoft.com/office/drawing/2014/main" id="{2CB3F9F5-858C-1D21-4D13-EAEDABE2E74A}"/>
              </a:ext>
            </a:extLst>
          </p:cNvPr>
          <p:cNvSpPr txBox="1"/>
          <p:nvPr/>
        </p:nvSpPr>
        <p:spPr>
          <a:xfrm>
            <a:off x="442909" y="1826234"/>
            <a:ext cx="5473702" cy="2199646"/>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lv-LV" sz="1600" dirty="0">
                <a:cs typeface="Arial"/>
              </a:rPr>
              <a:t>Iepazīstināt izglītojamos ar: </a:t>
            </a:r>
          </a:p>
          <a:p>
            <a:pPr marL="740664" indent="-285750">
              <a:spcAft>
                <a:spcPts val="600"/>
              </a:spcAft>
              <a:buBlip>
                <a:blip r:embed="rId2"/>
              </a:buBlip>
            </a:pPr>
            <a:r>
              <a:rPr lang="lv-LV" sz="1600" dirty="0">
                <a:cs typeface="Arial"/>
              </a:rPr>
              <a:t>katastrofu veidiem; </a:t>
            </a:r>
          </a:p>
          <a:p>
            <a:pPr marL="740664" indent="-285750">
              <a:spcAft>
                <a:spcPts val="600"/>
              </a:spcAft>
              <a:buBlip>
                <a:blip r:embed="rId2"/>
              </a:buBlip>
            </a:pPr>
            <a:r>
              <a:rPr lang="lv-LV" sz="1600" dirty="0">
                <a:cs typeface="Arial"/>
              </a:rPr>
              <a:t>katastrofas pārvaldīšanas galvenajiem principiem, tai skaitā preventīvajiem, gatavības, reaģēšanas un seku likvidēšanas pasākumiem;</a:t>
            </a:r>
          </a:p>
          <a:p>
            <a:pPr marL="740664" indent="-285750">
              <a:spcAft>
                <a:spcPts val="600"/>
              </a:spcAft>
              <a:buBlip>
                <a:blip r:embed="rId2"/>
              </a:buBlip>
            </a:pPr>
            <a:r>
              <a:rPr lang="lv-LV" sz="1600" dirty="0">
                <a:cs typeface="Arial"/>
              </a:rPr>
              <a:t>apdraudējuma riska novērtēšanas principiem;</a:t>
            </a:r>
          </a:p>
          <a:p>
            <a:pPr marL="740664" indent="-285750">
              <a:spcAft>
                <a:spcPts val="600"/>
              </a:spcAft>
              <a:buBlip>
                <a:blip r:embed="rId2"/>
              </a:buBlip>
            </a:pPr>
            <a:r>
              <a:rPr lang="lv-LV" sz="1600" dirty="0">
                <a:cs typeface="Arial"/>
              </a:rPr>
              <a:t>drošības pasākumu galvenajiem principiem.</a:t>
            </a:r>
          </a:p>
        </p:txBody>
      </p:sp>
      <p:sp>
        <p:nvSpPr>
          <p:cNvPr id="8" name="Rectangle 7">
            <a:extLst>
              <a:ext uri="{FF2B5EF4-FFF2-40B4-BE49-F238E27FC236}">
                <a16:creationId xmlns:a16="http://schemas.microsoft.com/office/drawing/2014/main" id="{B6BFA0E2-7135-FFE5-3283-2EDC43146D38}"/>
              </a:ext>
            </a:extLst>
          </p:cNvPr>
          <p:cNvSpPr/>
          <p:nvPr/>
        </p:nvSpPr>
        <p:spPr>
          <a:xfrm>
            <a:off x="442911" y="955542"/>
            <a:ext cx="54737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 name="Rectangle 8">
            <a:extLst>
              <a:ext uri="{FF2B5EF4-FFF2-40B4-BE49-F238E27FC236}">
                <a16:creationId xmlns:a16="http://schemas.microsoft.com/office/drawing/2014/main" id="{A8B3E759-01F6-3FCC-7165-6B1BE6AFC21E}"/>
              </a:ext>
            </a:extLst>
          </p:cNvPr>
          <p:cNvSpPr/>
          <p:nvPr/>
        </p:nvSpPr>
        <p:spPr>
          <a:xfrm>
            <a:off x="6281995" y="955047"/>
            <a:ext cx="5473700" cy="57626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4" name="Freeform 128">
            <a:extLst>
              <a:ext uri="{FF2B5EF4-FFF2-40B4-BE49-F238E27FC236}">
                <a16:creationId xmlns:a16="http://schemas.microsoft.com/office/drawing/2014/main" id="{19F3A3EA-1A15-1B4C-8DCB-26EE245E8AFC}"/>
              </a:ext>
            </a:extLst>
          </p:cNvPr>
          <p:cNvSpPr>
            <a:spLocks noChangeAspect="1" noEditPoints="1"/>
          </p:cNvSpPr>
          <p:nvPr/>
        </p:nvSpPr>
        <p:spPr bwMode="auto">
          <a:xfrm>
            <a:off x="8790893" y="1028955"/>
            <a:ext cx="455905" cy="457200"/>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5 h 576"/>
              <a:gd name="T16" fmla="*/ 551 w 576"/>
              <a:gd name="T17" fmla="*/ 25 h 576"/>
              <a:gd name="T18" fmla="*/ 551 w 576"/>
              <a:gd name="T19" fmla="*/ 551 h 576"/>
              <a:gd name="T20" fmla="*/ 130 w 576"/>
              <a:gd name="T21" fmla="*/ 215 h 576"/>
              <a:gd name="T22" fmla="*/ 176 w 576"/>
              <a:gd name="T23" fmla="*/ 169 h 576"/>
              <a:gd name="T24" fmla="*/ 130 w 576"/>
              <a:gd name="T25" fmla="*/ 124 h 576"/>
              <a:gd name="T26" fmla="*/ 85 w 576"/>
              <a:gd name="T27" fmla="*/ 169 h 576"/>
              <a:gd name="T28" fmla="*/ 130 w 576"/>
              <a:gd name="T29" fmla="*/ 215 h 576"/>
              <a:gd name="T30" fmla="*/ 130 w 576"/>
              <a:gd name="T31" fmla="*/ 148 h 576"/>
              <a:gd name="T32" fmla="*/ 151 w 576"/>
              <a:gd name="T33" fmla="*/ 169 h 576"/>
              <a:gd name="T34" fmla="*/ 130 w 576"/>
              <a:gd name="T35" fmla="*/ 190 h 576"/>
              <a:gd name="T36" fmla="*/ 109 w 576"/>
              <a:gd name="T37" fmla="*/ 169 h 576"/>
              <a:gd name="T38" fmla="*/ 130 w 576"/>
              <a:gd name="T39" fmla="*/ 148 h 576"/>
              <a:gd name="T40" fmla="*/ 494 w 576"/>
              <a:gd name="T41" fmla="*/ 182 h 576"/>
              <a:gd name="T42" fmla="*/ 217 w 576"/>
              <a:gd name="T43" fmla="*/ 182 h 576"/>
              <a:gd name="T44" fmla="*/ 217 w 576"/>
              <a:gd name="T45" fmla="*/ 157 h 576"/>
              <a:gd name="T46" fmla="*/ 494 w 576"/>
              <a:gd name="T47" fmla="*/ 157 h 576"/>
              <a:gd name="T48" fmla="*/ 494 w 576"/>
              <a:gd name="T49" fmla="*/ 182 h 576"/>
              <a:gd name="T50" fmla="*/ 130 w 576"/>
              <a:gd name="T51" fmla="*/ 358 h 576"/>
              <a:gd name="T52" fmla="*/ 176 w 576"/>
              <a:gd name="T53" fmla="*/ 312 h 576"/>
              <a:gd name="T54" fmla="*/ 130 w 576"/>
              <a:gd name="T55" fmla="*/ 267 h 576"/>
              <a:gd name="T56" fmla="*/ 85 w 576"/>
              <a:gd name="T57" fmla="*/ 312 h 576"/>
              <a:gd name="T58" fmla="*/ 130 w 576"/>
              <a:gd name="T59" fmla="*/ 358 h 576"/>
              <a:gd name="T60" fmla="*/ 130 w 576"/>
              <a:gd name="T61" fmla="*/ 291 h 576"/>
              <a:gd name="T62" fmla="*/ 151 w 576"/>
              <a:gd name="T63" fmla="*/ 312 h 576"/>
              <a:gd name="T64" fmla="*/ 130 w 576"/>
              <a:gd name="T65" fmla="*/ 333 h 576"/>
              <a:gd name="T66" fmla="*/ 109 w 576"/>
              <a:gd name="T67" fmla="*/ 312 h 576"/>
              <a:gd name="T68" fmla="*/ 130 w 576"/>
              <a:gd name="T69" fmla="*/ 291 h 576"/>
              <a:gd name="T70" fmla="*/ 494 w 576"/>
              <a:gd name="T71" fmla="*/ 325 h 576"/>
              <a:gd name="T72" fmla="*/ 217 w 576"/>
              <a:gd name="T73" fmla="*/ 325 h 576"/>
              <a:gd name="T74" fmla="*/ 217 w 576"/>
              <a:gd name="T75" fmla="*/ 300 h 576"/>
              <a:gd name="T76" fmla="*/ 494 w 576"/>
              <a:gd name="T77" fmla="*/ 300 h 576"/>
              <a:gd name="T78" fmla="*/ 494 w 576"/>
              <a:gd name="T79" fmla="*/ 325 h 576"/>
              <a:gd name="T80" fmla="*/ 130 w 576"/>
              <a:gd name="T81" fmla="*/ 501 h 576"/>
              <a:gd name="T82" fmla="*/ 176 w 576"/>
              <a:gd name="T83" fmla="*/ 455 h 576"/>
              <a:gd name="T84" fmla="*/ 130 w 576"/>
              <a:gd name="T85" fmla="*/ 410 h 576"/>
              <a:gd name="T86" fmla="*/ 85 w 576"/>
              <a:gd name="T87" fmla="*/ 455 h 576"/>
              <a:gd name="T88" fmla="*/ 130 w 576"/>
              <a:gd name="T89" fmla="*/ 501 h 576"/>
              <a:gd name="T90" fmla="*/ 130 w 576"/>
              <a:gd name="T91" fmla="*/ 434 h 576"/>
              <a:gd name="T92" fmla="*/ 151 w 576"/>
              <a:gd name="T93" fmla="*/ 455 h 576"/>
              <a:gd name="T94" fmla="*/ 130 w 576"/>
              <a:gd name="T95" fmla="*/ 476 h 576"/>
              <a:gd name="T96" fmla="*/ 109 w 576"/>
              <a:gd name="T97" fmla="*/ 455 h 576"/>
              <a:gd name="T98" fmla="*/ 130 w 576"/>
              <a:gd name="T99" fmla="*/ 434 h 576"/>
              <a:gd name="T100" fmla="*/ 494 w 576"/>
              <a:gd name="T101" fmla="*/ 468 h 576"/>
              <a:gd name="T102" fmla="*/ 217 w 576"/>
              <a:gd name="T103" fmla="*/ 468 h 576"/>
              <a:gd name="T104" fmla="*/ 217 w 576"/>
              <a:gd name="T105" fmla="*/ 443 h 576"/>
              <a:gd name="T106" fmla="*/ 494 w 576"/>
              <a:gd name="T107" fmla="*/ 443 h 576"/>
              <a:gd name="T108" fmla="*/ 494 w 576"/>
              <a:gd name="T109" fmla="*/ 46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130" y="215"/>
                </a:moveTo>
                <a:cubicBezTo>
                  <a:pt x="155" y="215"/>
                  <a:pt x="176" y="194"/>
                  <a:pt x="176" y="169"/>
                </a:cubicBezTo>
                <a:cubicBezTo>
                  <a:pt x="176" y="144"/>
                  <a:pt x="155" y="124"/>
                  <a:pt x="130" y="124"/>
                </a:cubicBezTo>
                <a:cubicBezTo>
                  <a:pt x="105" y="124"/>
                  <a:pt x="85" y="144"/>
                  <a:pt x="85" y="169"/>
                </a:cubicBezTo>
                <a:cubicBezTo>
                  <a:pt x="85" y="194"/>
                  <a:pt x="105" y="215"/>
                  <a:pt x="130" y="215"/>
                </a:cubicBezTo>
                <a:close/>
                <a:moveTo>
                  <a:pt x="130" y="148"/>
                </a:moveTo>
                <a:cubicBezTo>
                  <a:pt x="142" y="148"/>
                  <a:pt x="151" y="158"/>
                  <a:pt x="151" y="169"/>
                </a:cubicBezTo>
                <a:cubicBezTo>
                  <a:pt x="151" y="181"/>
                  <a:pt x="142" y="190"/>
                  <a:pt x="130" y="190"/>
                </a:cubicBezTo>
                <a:cubicBezTo>
                  <a:pt x="119" y="190"/>
                  <a:pt x="109" y="181"/>
                  <a:pt x="109" y="169"/>
                </a:cubicBezTo>
                <a:cubicBezTo>
                  <a:pt x="109" y="158"/>
                  <a:pt x="119" y="148"/>
                  <a:pt x="130" y="148"/>
                </a:cubicBezTo>
                <a:close/>
                <a:moveTo>
                  <a:pt x="494" y="182"/>
                </a:moveTo>
                <a:cubicBezTo>
                  <a:pt x="217" y="182"/>
                  <a:pt x="217" y="182"/>
                  <a:pt x="217" y="182"/>
                </a:cubicBezTo>
                <a:cubicBezTo>
                  <a:pt x="217" y="157"/>
                  <a:pt x="217" y="157"/>
                  <a:pt x="217" y="157"/>
                </a:cubicBezTo>
                <a:cubicBezTo>
                  <a:pt x="494" y="157"/>
                  <a:pt x="494" y="157"/>
                  <a:pt x="494" y="157"/>
                </a:cubicBezTo>
                <a:lnTo>
                  <a:pt x="494" y="182"/>
                </a:lnTo>
                <a:close/>
                <a:moveTo>
                  <a:pt x="130" y="358"/>
                </a:moveTo>
                <a:cubicBezTo>
                  <a:pt x="155" y="358"/>
                  <a:pt x="176" y="337"/>
                  <a:pt x="176" y="312"/>
                </a:cubicBezTo>
                <a:cubicBezTo>
                  <a:pt x="176" y="287"/>
                  <a:pt x="155" y="267"/>
                  <a:pt x="130" y="267"/>
                </a:cubicBezTo>
                <a:cubicBezTo>
                  <a:pt x="105" y="267"/>
                  <a:pt x="85" y="287"/>
                  <a:pt x="85" y="312"/>
                </a:cubicBezTo>
                <a:cubicBezTo>
                  <a:pt x="85" y="337"/>
                  <a:pt x="105" y="358"/>
                  <a:pt x="130" y="358"/>
                </a:cubicBezTo>
                <a:close/>
                <a:moveTo>
                  <a:pt x="130" y="291"/>
                </a:moveTo>
                <a:cubicBezTo>
                  <a:pt x="142" y="291"/>
                  <a:pt x="151" y="301"/>
                  <a:pt x="151" y="312"/>
                </a:cubicBezTo>
                <a:cubicBezTo>
                  <a:pt x="151" y="324"/>
                  <a:pt x="142" y="333"/>
                  <a:pt x="130" y="333"/>
                </a:cubicBezTo>
                <a:cubicBezTo>
                  <a:pt x="119" y="333"/>
                  <a:pt x="109" y="324"/>
                  <a:pt x="109" y="312"/>
                </a:cubicBezTo>
                <a:cubicBezTo>
                  <a:pt x="109" y="301"/>
                  <a:pt x="119" y="291"/>
                  <a:pt x="130" y="291"/>
                </a:cubicBezTo>
                <a:close/>
                <a:moveTo>
                  <a:pt x="494" y="325"/>
                </a:moveTo>
                <a:cubicBezTo>
                  <a:pt x="217" y="325"/>
                  <a:pt x="217" y="325"/>
                  <a:pt x="217" y="325"/>
                </a:cubicBezTo>
                <a:cubicBezTo>
                  <a:pt x="217" y="300"/>
                  <a:pt x="217" y="300"/>
                  <a:pt x="217" y="300"/>
                </a:cubicBezTo>
                <a:cubicBezTo>
                  <a:pt x="494" y="300"/>
                  <a:pt x="494" y="300"/>
                  <a:pt x="494" y="300"/>
                </a:cubicBezTo>
                <a:lnTo>
                  <a:pt x="494" y="325"/>
                </a:lnTo>
                <a:close/>
                <a:moveTo>
                  <a:pt x="130" y="501"/>
                </a:moveTo>
                <a:cubicBezTo>
                  <a:pt x="155" y="501"/>
                  <a:pt x="176" y="480"/>
                  <a:pt x="176" y="455"/>
                </a:cubicBezTo>
                <a:cubicBezTo>
                  <a:pt x="176" y="430"/>
                  <a:pt x="155" y="410"/>
                  <a:pt x="130" y="410"/>
                </a:cubicBezTo>
                <a:cubicBezTo>
                  <a:pt x="105" y="410"/>
                  <a:pt x="85" y="430"/>
                  <a:pt x="85" y="455"/>
                </a:cubicBezTo>
                <a:cubicBezTo>
                  <a:pt x="85" y="480"/>
                  <a:pt x="105" y="501"/>
                  <a:pt x="130" y="501"/>
                </a:cubicBezTo>
                <a:close/>
                <a:moveTo>
                  <a:pt x="130" y="434"/>
                </a:moveTo>
                <a:cubicBezTo>
                  <a:pt x="142" y="434"/>
                  <a:pt x="151" y="444"/>
                  <a:pt x="151" y="455"/>
                </a:cubicBezTo>
                <a:cubicBezTo>
                  <a:pt x="151" y="467"/>
                  <a:pt x="142" y="476"/>
                  <a:pt x="130" y="476"/>
                </a:cubicBezTo>
                <a:cubicBezTo>
                  <a:pt x="119" y="476"/>
                  <a:pt x="109" y="467"/>
                  <a:pt x="109" y="455"/>
                </a:cubicBezTo>
                <a:cubicBezTo>
                  <a:pt x="109" y="444"/>
                  <a:pt x="119" y="434"/>
                  <a:pt x="130" y="434"/>
                </a:cubicBezTo>
                <a:close/>
                <a:moveTo>
                  <a:pt x="494" y="468"/>
                </a:moveTo>
                <a:cubicBezTo>
                  <a:pt x="217" y="468"/>
                  <a:pt x="217" y="468"/>
                  <a:pt x="217" y="468"/>
                </a:cubicBezTo>
                <a:cubicBezTo>
                  <a:pt x="217" y="443"/>
                  <a:pt x="217" y="443"/>
                  <a:pt x="217" y="443"/>
                </a:cubicBezTo>
                <a:cubicBezTo>
                  <a:pt x="494" y="443"/>
                  <a:pt x="494" y="443"/>
                  <a:pt x="494" y="443"/>
                </a:cubicBezTo>
                <a:lnTo>
                  <a:pt x="494" y="4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25" name="Freeform 106">
            <a:extLst>
              <a:ext uri="{FF2B5EF4-FFF2-40B4-BE49-F238E27FC236}">
                <a16:creationId xmlns:a16="http://schemas.microsoft.com/office/drawing/2014/main" id="{014F40D3-F5E9-404A-8FA7-2C2BFB358B3B}"/>
              </a:ext>
            </a:extLst>
          </p:cNvPr>
          <p:cNvSpPr/>
          <p:nvPr/>
        </p:nvSpPr>
        <p:spPr>
          <a:xfrm>
            <a:off x="3181757"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pic>
        <p:nvPicPr>
          <p:cNvPr id="28" name="Picture 27">
            <a:extLst>
              <a:ext uri="{FF2B5EF4-FFF2-40B4-BE49-F238E27FC236}">
                <a16:creationId xmlns:a16="http://schemas.microsoft.com/office/drawing/2014/main" id="{57146472-1E12-8599-0248-F6AE825AAC2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42911" y="4412840"/>
            <a:ext cx="11309609" cy="1769992"/>
          </a:xfrm>
          <a:prstGeom prst="rect">
            <a:avLst/>
          </a:prstGeom>
        </p:spPr>
      </p:pic>
    </p:spTree>
    <p:extLst>
      <p:ext uri="{BB962C8B-B14F-4D97-AF65-F5344CB8AC3E}">
        <p14:creationId xmlns:p14="http://schemas.microsoft.com/office/powerpoint/2010/main" val="36277205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84E6BA2C-5A3C-F43E-8AF8-CD2AAD5E6C0E}"/>
              </a:ext>
            </a:extLst>
          </p:cNvPr>
          <p:cNvSpPr txBox="1"/>
          <p:nvPr/>
        </p:nvSpPr>
        <p:spPr>
          <a:xfrm>
            <a:off x="3345180" y="1828001"/>
            <a:ext cx="8403906" cy="276999"/>
          </a:xfrm>
          <a:prstGeom prst="rect">
            <a:avLst/>
          </a:prstGeom>
          <a:solidFill>
            <a:schemeClr val="bg1">
              <a:lumMod val="95000"/>
            </a:schemeClr>
          </a:solidFill>
        </p:spPr>
        <p:txBody>
          <a:bodyPr wrap="square">
            <a:spAutoFit/>
          </a:bodyPr>
          <a:lstStyle/>
          <a:p>
            <a:pPr algn="ctr"/>
            <a:r>
              <a:rPr lang="en-GB" sz="1200" b="1" err="1"/>
              <a:t>Latvijas</a:t>
            </a:r>
            <a:r>
              <a:rPr lang="en-GB" sz="1200" b="1"/>
              <a:t> </a:t>
            </a:r>
            <a:r>
              <a:rPr lang="en-GB" sz="1200" b="1" err="1"/>
              <a:t>risku</a:t>
            </a:r>
            <a:r>
              <a:rPr lang="en-GB" sz="1200" b="1"/>
              <a:t> </a:t>
            </a:r>
            <a:r>
              <a:rPr lang="en-GB" sz="1200" b="1" err="1"/>
              <a:t>matrica</a:t>
            </a:r>
            <a:endParaRPr lang="en-GB" sz="1200" b="1"/>
          </a:p>
        </p:txBody>
      </p:sp>
      <p:graphicFrame>
        <p:nvGraphicFramePr>
          <p:cNvPr id="30" name="Table 28">
            <a:extLst>
              <a:ext uri="{FF2B5EF4-FFF2-40B4-BE49-F238E27FC236}">
                <a16:creationId xmlns:a16="http://schemas.microsoft.com/office/drawing/2014/main" id="{6CAF9393-A50C-D247-FEF0-49E2101D70E1}"/>
              </a:ext>
            </a:extLst>
          </p:cNvPr>
          <p:cNvGraphicFramePr>
            <a:graphicFrameLocks noGrp="1"/>
          </p:cNvGraphicFramePr>
          <p:nvPr/>
        </p:nvGraphicFramePr>
        <p:xfrm>
          <a:off x="442913" y="2103438"/>
          <a:ext cx="11304586" cy="4068759"/>
        </p:xfrm>
        <a:graphic>
          <a:graphicData uri="http://schemas.openxmlformats.org/drawingml/2006/table">
            <a:tbl>
              <a:tblPr firstRow="1" bandRow="1">
                <a:tableStyleId>{5C22544A-7EE6-4342-B048-85BDC9FD1C3A}</a:tableStyleId>
              </a:tblPr>
              <a:tblGrid>
                <a:gridCol w="985054">
                  <a:extLst>
                    <a:ext uri="{9D8B030D-6E8A-4147-A177-3AD203B41FA5}">
                      <a16:colId xmlns:a16="http://schemas.microsoft.com/office/drawing/2014/main" val="3146476692"/>
                    </a:ext>
                  </a:extLst>
                </a:gridCol>
                <a:gridCol w="1916482">
                  <a:extLst>
                    <a:ext uri="{9D8B030D-6E8A-4147-A177-3AD203B41FA5}">
                      <a16:colId xmlns:a16="http://schemas.microsoft.com/office/drawing/2014/main" val="2437316923"/>
                    </a:ext>
                  </a:extLst>
                </a:gridCol>
                <a:gridCol w="1680610">
                  <a:extLst>
                    <a:ext uri="{9D8B030D-6E8A-4147-A177-3AD203B41FA5}">
                      <a16:colId xmlns:a16="http://schemas.microsoft.com/office/drawing/2014/main" val="314804313"/>
                    </a:ext>
                  </a:extLst>
                </a:gridCol>
                <a:gridCol w="1680610">
                  <a:extLst>
                    <a:ext uri="{9D8B030D-6E8A-4147-A177-3AD203B41FA5}">
                      <a16:colId xmlns:a16="http://schemas.microsoft.com/office/drawing/2014/main" val="1195482904"/>
                    </a:ext>
                  </a:extLst>
                </a:gridCol>
                <a:gridCol w="1680610">
                  <a:extLst>
                    <a:ext uri="{9D8B030D-6E8A-4147-A177-3AD203B41FA5}">
                      <a16:colId xmlns:a16="http://schemas.microsoft.com/office/drawing/2014/main" val="2128495255"/>
                    </a:ext>
                  </a:extLst>
                </a:gridCol>
                <a:gridCol w="1680610">
                  <a:extLst>
                    <a:ext uri="{9D8B030D-6E8A-4147-A177-3AD203B41FA5}">
                      <a16:colId xmlns:a16="http://schemas.microsoft.com/office/drawing/2014/main" val="1034980039"/>
                    </a:ext>
                  </a:extLst>
                </a:gridCol>
                <a:gridCol w="1680610">
                  <a:extLst>
                    <a:ext uri="{9D8B030D-6E8A-4147-A177-3AD203B41FA5}">
                      <a16:colId xmlns:a16="http://schemas.microsoft.com/office/drawing/2014/main" val="3484236256"/>
                    </a:ext>
                  </a:extLst>
                </a:gridCol>
              </a:tblGrid>
              <a:tr h="383346">
                <a:tc gridSpan="2">
                  <a:txBody>
                    <a:bodyPr/>
                    <a:lstStyle/>
                    <a:p>
                      <a:pPr algn="ctr"/>
                      <a:r>
                        <a:rPr lang="en-GB" sz="1200" err="1">
                          <a:solidFill>
                            <a:schemeClr val="tx1"/>
                          </a:solidFill>
                        </a:rPr>
                        <a:t>Varbūtība</a:t>
                      </a:r>
                      <a:endParaRPr lang="en-GB" sz="1200">
                        <a:solidFill>
                          <a:schemeClr val="tx1"/>
                        </a:solidFill>
                      </a:endParaRPr>
                    </a:p>
                  </a:txBody>
                  <a:tcPr marL="36000" marR="36000" marT="0" anchor="ctr">
                    <a:lnL w="12700" cmpd="sng">
                      <a:noFill/>
                    </a:lnL>
                    <a:lnR w="12700" cmpd="sng">
                      <a:noFill/>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a:txBody>
                    <a:bodyPr/>
                    <a:lstStyle/>
                    <a:p>
                      <a:pPr algn="ctr"/>
                      <a:r>
                        <a:rPr lang="en-GB" sz="1200">
                          <a:solidFill>
                            <a:schemeClr val="tx1"/>
                          </a:solidFill>
                        </a:rPr>
                        <a:t>Nenozīmīgs risks </a:t>
                      </a:r>
                    </a:p>
                  </a:txBody>
                  <a:tcPr marL="36000" marR="36000" marT="0" anchor="ctr">
                    <a:lnL w="12700" cmpd="sng">
                      <a:noFill/>
                    </a:lnL>
                    <a:lnR w="12700" cmpd="sng">
                      <a:noFill/>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r>
                        <a:rPr lang="en-GB" sz="1200">
                          <a:solidFill>
                            <a:schemeClr val="tx1"/>
                          </a:solidFill>
                        </a:rPr>
                        <a:t>Nozīmīgs risks</a:t>
                      </a:r>
                    </a:p>
                  </a:txBody>
                  <a:tcPr marL="36000" marR="36000" marT="0" anchor="ctr">
                    <a:lnL w="12700" cmpd="sng">
                      <a:noFill/>
                    </a:lnL>
                    <a:lnR w="12700" cmpd="sng">
                      <a:noFill/>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GB" sz="1200">
                          <a:solidFill>
                            <a:schemeClr val="tx1"/>
                          </a:solidFill>
                        </a:rPr>
                        <a:t>Vidējs Risks</a:t>
                      </a:r>
                    </a:p>
                  </a:txBody>
                  <a:tcPr marL="36000" marR="36000" marT="0" anchor="ctr">
                    <a:lnL w="12700" cmpd="sng">
                      <a:noFill/>
                    </a:lnL>
                    <a:lnR w="12700" cmpd="sng">
                      <a:noFill/>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r>
                        <a:rPr lang="en-GB" sz="1200">
                          <a:solidFill>
                            <a:schemeClr val="bg1"/>
                          </a:solidFill>
                        </a:rPr>
                        <a:t>Augsts risks</a:t>
                      </a:r>
                    </a:p>
                  </a:txBody>
                  <a:tcPr marL="36000" marR="36000" marT="0" anchor="ctr">
                    <a:lnL w="12700" cmpd="sng">
                      <a:noFill/>
                    </a:lnL>
                    <a:lnR w="12700" cmpd="sng">
                      <a:noFill/>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GB" sz="1200">
                          <a:solidFill>
                            <a:schemeClr val="bg1"/>
                          </a:solidFill>
                        </a:rPr>
                        <a:t>Ļoti augsts risks</a:t>
                      </a:r>
                    </a:p>
                  </a:txBody>
                  <a:tcPr marL="36000" marR="36000" marT="0" anchor="ctr">
                    <a:lnL w="12700" cmpd="sng">
                      <a:noFill/>
                    </a:lnL>
                    <a:lnR w="12700" cmpd="sng">
                      <a:noFill/>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4011904277"/>
                  </a:ext>
                </a:extLst>
              </a:tr>
              <a:tr h="383346">
                <a:tc>
                  <a:txBody>
                    <a:bodyPr/>
                    <a:lstStyle/>
                    <a:p>
                      <a:r>
                        <a:rPr lang="en-GB" sz="1200" b="1">
                          <a:solidFill>
                            <a:schemeClr val="tx1"/>
                          </a:solidFill>
                        </a:rPr>
                        <a:t>Ļoti augsta</a:t>
                      </a: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1200">
                          <a:solidFill>
                            <a:schemeClr val="tx1"/>
                          </a:solidFill>
                        </a:rPr>
                        <a:t>1x gadā un biežāk</a:t>
                      </a: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414803539"/>
                  </a:ext>
                </a:extLst>
              </a:tr>
              <a:tr h="383346">
                <a:tc>
                  <a:txBody>
                    <a:bodyPr/>
                    <a:lstStyle/>
                    <a:p>
                      <a:r>
                        <a:rPr lang="en-GB" sz="1200" b="1">
                          <a:solidFill>
                            <a:schemeClr val="tx1"/>
                          </a:solidFill>
                        </a:rPr>
                        <a:t>Augsta</a:t>
                      </a: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s-ES" sz="1200">
                          <a:solidFill>
                            <a:schemeClr val="tx1"/>
                          </a:solidFill>
                        </a:rPr>
                        <a:t>1x no 1 – 15 gadiem</a:t>
                      </a:r>
                      <a:endParaRPr lang="en-GB" sz="12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491543382"/>
                  </a:ext>
                </a:extLst>
              </a:tr>
              <a:tr h="383346">
                <a:tc>
                  <a:txBody>
                    <a:bodyPr/>
                    <a:lstStyle/>
                    <a:p>
                      <a:r>
                        <a:rPr lang="en-GB" sz="1200" b="1">
                          <a:solidFill>
                            <a:schemeClr val="tx1"/>
                          </a:solidFill>
                        </a:rPr>
                        <a:t>Vidēja</a:t>
                      </a: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s-ES" sz="1200">
                          <a:solidFill>
                            <a:schemeClr val="tx1"/>
                          </a:solidFill>
                        </a:rPr>
                        <a:t>1x no 16 – 50 gadiem</a:t>
                      </a:r>
                      <a:endParaRPr lang="en-GB" sz="12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1691447797"/>
                  </a:ext>
                </a:extLst>
              </a:tr>
              <a:tr h="383346">
                <a:tc>
                  <a:txBody>
                    <a:bodyPr/>
                    <a:lstStyle/>
                    <a:p>
                      <a:r>
                        <a:rPr lang="en-GB" sz="1200" b="1">
                          <a:solidFill>
                            <a:schemeClr val="tx1"/>
                          </a:solidFill>
                        </a:rPr>
                        <a:t>Zema </a:t>
                      </a: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s-ES" sz="1200">
                          <a:solidFill>
                            <a:schemeClr val="tx1"/>
                          </a:solidFill>
                        </a:rPr>
                        <a:t>1x no 51 – 100 gadiem</a:t>
                      </a:r>
                      <a:endParaRPr lang="en-GB" sz="12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320958643"/>
                  </a:ext>
                </a:extLst>
              </a:tr>
              <a:tr h="383346">
                <a:tc>
                  <a:txBody>
                    <a:bodyPr/>
                    <a:lstStyle/>
                    <a:p>
                      <a:r>
                        <a:rPr lang="en-GB" sz="1200" b="1">
                          <a:solidFill>
                            <a:schemeClr val="tx1"/>
                          </a:solidFill>
                        </a:rPr>
                        <a:t>Ļoti zema</a:t>
                      </a: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pt-BR" sz="1200">
                          <a:solidFill>
                            <a:schemeClr val="tx1"/>
                          </a:solidFill>
                        </a:rPr>
                        <a:t>Retāk kā 1 x 100 gados</a:t>
                      </a:r>
                      <a:endParaRPr lang="en-GB" sz="12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1899797779"/>
                  </a:ext>
                </a:extLst>
              </a:tr>
              <a:tr h="252669">
                <a:tc>
                  <a:txBody>
                    <a:bodyPr/>
                    <a:lstStyle/>
                    <a:p>
                      <a:endParaRPr lang="en-GB" sz="1200">
                        <a:solidFill>
                          <a:schemeClr val="tx1"/>
                        </a:solidFill>
                      </a:endParaRP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a:solidFill>
                            <a:schemeClr val="tx1"/>
                          </a:solidFill>
                        </a:rPr>
                        <a:t>Ievainotie/cietušie</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200">
                          <a:solidFill>
                            <a:schemeClr val="tx1"/>
                          </a:solidFill>
                        </a:rPr>
                        <a:t>10 līdz 100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101 līdz 1000</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1001 līdz 5000</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5001 līdz 10000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vairāk par 10000</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79117104"/>
                  </a:ext>
                </a:extLst>
              </a:tr>
              <a:tr h="252669">
                <a:tc>
                  <a:txBody>
                    <a:bodyPr/>
                    <a:lstStyle/>
                    <a:p>
                      <a:endParaRPr lang="en-GB" sz="1200">
                        <a:solidFill>
                          <a:schemeClr val="tx1"/>
                        </a:solidFill>
                      </a:endParaRPr>
                    </a:p>
                  </a:txBody>
                  <a:tcPr marL="36000" marR="36000" marT="0" marB="0" anchor="ctr">
                    <a:lnL w="12700" cmpd="sng">
                      <a:noFill/>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a:solidFill>
                            <a:schemeClr val="tx1"/>
                          </a:solidFill>
                        </a:rPr>
                        <a:t>Nāves gadījumi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200">
                          <a:solidFill>
                            <a:schemeClr val="tx1"/>
                          </a:solidFill>
                        </a:rPr>
                        <a:t>1 līdz 10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11 līdz 100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101 līdz 500</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501 līdz 1000</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vairāk par 1000</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72302993"/>
                  </a:ext>
                </a:extLst>
              </a:tr>
              <a:tr h="252669">
                <a:tc>
                  <a:txBody>
                    <a:bodyPr/>
                    <a:lstStyle/>
                    <a:p>
                      <a:endParaRPr lang="en-GB" sz="1200">
                        <a:solidFill>
                          <a:schemeClr val="tx1"/>
                        </a:solidFill>
                      </a:endParaRPr>
                    </a:p>
                  </a:txBody>
                  <a:tcPr marL="36000" marR="36000" marT="0" marB="0" anchor="ctr">
                    <a:lnL w="12700" cmpd="sng">
                      <a:noFill/>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a:solidFill>
                            <a:schemeClr val="tx1"/>
                          </a:solidFill>
                        </a:rPr>
                        <a:t>Materiālie zaudējumi</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200">
                          <a:solidFill>
                            <a:schemeClr val="tx1"/>
                          </a:solidFill>
                        </a:rPr>
                        <a:t>50 tūkst. līdz 100 tūkst.</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100 tūkst. līdz 1 milj.</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sv-SE" sz="1200">
                          <a:solidFill>
                            <a:schemeClr val="tx1"/>
                          </a:solidFill>
                        </a:rPr>
                        <a:t>1 milj. līdz 10 milj.</a:t>
                      </a:r>
                      <a:endParaRPr lang="en-GB" sz="1200">
                        <a:solidFill>
                          <a:schemeClr val="tx1"/>
                        </a:solidFill>
                      </a:endParaRP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sv-SE" sz="1200">
                          <a:solidFill>
                            <a:schemeClr val="tx1"/>
                          </a:solidFill>
                        </a:rPr>
                        <a:t>10 milj. līdz 100 milj.</a:t>
                      </a:r>
                      <a:endParaRPr lang="en-GB" sz="1200">
                        <a:solidFill>
                          <a:schemeClr val="tx1"/>
                        </a:solidFill>
                      </a:endParaRP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vairāk par 100 milj.</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5554785"/>
                  </a:ext>
                </a:extLst>
              </a:tr>
              <a:tr h="252669">
                <a:tc>
                  <a:txBody>
                    <a:bodyPr/>
                    <a:lstStyle/>
                    <a:p>
                      <a:endParaRPr lang="en-GB" sz="1200">
                        <a:solidFill>
                          <a:schemeClr val="tx1"/>
                        </a:solidFill>
                      </a:endParaRPr>
                    </a:p>
                  </a:txBody>
                  <a:tcPr marL="36000" marR="36000" marT="0" marB="0" anchor="ctr">
                    <a:lnL w="12700" cmpd="sng">
                      <a:noFill/>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a:solidFill>
                            <a:schemeClr val="tx1"/>
                          </a:solidFill>
                        </a:rPr>
                        <a:t>Kaitējums videi</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50 tūkst. līdz 100 tūkst.</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100 tūkst. līdz 1 milj.</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200">
                          <a:solidFill>
                            <a:schemeClr val="tx1"/>
                          </a:solidFill>
                        </a:rPr>
                        <a:t>1 milj. līdz 10 milj.</a:t>
                      </a:r>
                      <a:endParaRPr lang="en-GB" sz="1200">
                        <a:solidFill>
                          <a:schemeClr val="tx1"/>
                        </a:solidFill>
                      </a:endParaRP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200">
                          <a:solidFill>
                            <a:schemeClr val="tx1"/>
                          </a:solidFill>
                        </a:rPr>
                        <a:t>10 milj. līdz 100 milj.</a:t>
                      </a:r>
                      <a:endParaRPr lang="en-GB" sz="1200">
                        <a:solidFill>
                          <a:schemeClr val="tx1"/>
                        </a:solidFill>
                      </a:endParaRP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vairāk par 100 milj.</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30161085"/>
                  </a:ext>
                </a:extLst>
              </a:tr>
              <a:tr h="252669">
                <a:tc>
                  <a:txBody>
                    <a:bodyPr/>
                    <a:lstStyle/>
                    <a:p>
                      <a:endParaRPr lang="en-GB" sz="1200">
                        <a:solidFill>
                          <a:schemeClr val="tx1"/>
                        </a:solidFill>
                      </a:endParaRPr>
                    </a:p>
                  </a:txBody>
                  <a:tcPr marL="36000" marR="36000" marT="0" marB="0" anchor="ctr">
                    <a:lnL w="12700" cmpd="sng">
                      <a:noFill/>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a:solidFill>
                            <a:schemeClr val="tx1"/>
                          </a:solidFill>
                        </a:rPr>
                        <a:t>Saslimušie</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200">
                          <a:solidFill>
                            <a:schemeClr val="tx1"/>
                          </a:solidFill>
                        </a:rPr>
                        <a:t>Mazāk par 5%</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5-15%</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15-20%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21-35%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Vairāk par 35%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78398583"/>
                  </a:ext>
                </a:extLst>
              </a:tr>
              <a:tr h="252669">
                <a:tc>
                  <a:txBody>
                    <a:bodyPr/>
                    <a:lstStyle/>
                    <a:p>
                      <a:endParaRPr lang="en-GB" sz="1200">
                        <a:solidFill>
                          <a:schemeClr val="tx1"/>
                        </a:solidFill>
                      </a:endParaRPr>
                    </a:p>
                  </a:txBody>
                  <a:tcPr marL="36000" marR="36000" marT="0" marB="0" anchor="ctr">
                    <a:lnL w="12700" cmpd="sng">
                      <a:noFill/>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Pārvietotās personas</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200">
                          <a:solidFill>
                            <a:schemeClr val="tx1"/>
                          </a:solidFill>
                        </a:rPr>
                        <a:t>10 līdz 100</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101 līdz 1000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1001 līdz 5000</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5001 līdz 10000</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Vairāk par 10000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9510189"/>
                  </a:ext>
                </a:extLst>
              </a:tr>
              <a:tr h="252669">
                <a:tc>
                  <a:txBody>
                    <a:bodyPr/>
                    <a:lstStyle/>
                    <a:p>
                      <a:endParaRPr lang="en-GB" sz="1200">
                        <a:solidFill>
                          <a:schemeClr val="tx1"/>
                        </a:solidFill>
                      </a:endParaRPr>
                    </a:p>
                  </a:txBody>
                  <a:tcPr marL="36000" marR="36000" marT="0" marB="0" anchor="ctr">
                    <a:lnL w="12700" cmpd="sng">
                      <a:noFill/>
                    </a:lnL>
                    <a:lnR w="12700" cmpd="sng">
                      <a:noFill/>
                    </a:lnR>
                    <a:lnT w="31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r>
                        <a:rPr lang="en-GB" sz="1200" b="1" err="1">
                          <a:solidFill>
                            <a:schemeClr val="tx1"/>
                          </a:solidFill>
                        </a:rPr>
                        <a:t>Sekas</a:t>
                      </a:r>
                      <a:endParaRPr lang="en-GB" sz="1200" b="1">
                        <a:solidFill>
                          <a:schemeClr val="tx1"/>
                        </a:solidFill>
                      </a:endParaRP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GB" sz="1200" b="1">
                          <a:solidFill>
                            <a:schemeClr val="tx1"/>
                          </a:solidFill>
                        </a:rPr>
                        <a:t>Maznozīmīgas</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GB" sz="1200" b="1">
                          <a:solidFill>
                            <a:schemeClr val="tx1"/>
                          </a:solidFill>
                        </a:rPr>
                        <a:t>Nozīmīgas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GB" sz="1200" b="1">
                          <a:solidFill>
                            <a:schemeClr val="tx1"/>
                          </a:solidFill>
                        </a:rPr>
                        <a:t>Vidējas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GB" sz="1200" b="1">
                          <a:solidFill>
                            <a:schemeClr val="tx1"/>
                          </a:solidFill>
                        </a:rPr>
                        <a:t>Smagas</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GB" sz="1200" b="1" dirty="0" err="1">
                          <a:solidFill>
                            <a:schemeClr val="tx1"/>
                          </a:solidFill>
                        </a:rPr>
                        <a:t>Katastrofālas</a:t>
                      </a:r>
                      <a:r>
                        <a:rPr lang="en-GB" sz="1200" b="1" dirty="0">
                          <a:solidFill>
                            <a:schemeClr val="tx1"/>
                          </a:solidFill>
                        </a:rPr>
                        <a:t> </a:t>
                      </a:r>
                      <a:r>
                        <a:rPr lang="en-GB" sz="1200" b="1" dirty="0" err="1">
                          <a:solidFill>
                            <a:schemeClr val="tx1"/>
                          </a:solidFill>
                        </a:rPr>
                        <a:t>sekas</a:t>
                      </a:r>
                      <a:endParaRPr lang="en-GB" sz="1200" b="1" dirty="0">
                        <a:solidFill>
                          <a:schemeClr val="tx1"/>
                        </a:solidFill>
                      </a:endParaRP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0935515"/>
                  </a:ext>
                </a:extLst>
              </a:tr>
            </a:tbl>
          </a:graphicData>
        </a:graphic>
      </p:graphicFrame>
      <p:sp>
        <p:nvSpPr>
          <p:cNvPr id="4" name="Slide Number Placeholder 3">
            <a:extLst>
              <a:ext uri="{FF2B5EF4-FFF2-40B4-BE49-F238E27FC236}">
                <a16:creationId xmlns:a16="http://schemas.microsoft.com/office/drawing/2014/main" id="{A582BF1B-B430-C5FF-89FF-422AB409923A}"/>
              </a:ext>
            </a:extLst>
          </p:cNvPr>
          <p:cNvSpPr>
            <a:spLocks noGrp="1"/>
          </p:cNvSpPr>
          <p:nvPr>
            <p:ph type="sldNum" sz="quarter" idx="11"/>
          </p:nvPr>
        </p:nvSpPr>
        <p:spPr>
          <a:xfrm>
            <a:off x="9984296" y="6492240"/>
            <a:ext cx="1764792" cy="13716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750" b="0" i="0" u="none" strike="noStrike" kern="1200" cap="none" spc="0" normalizeH="0" baseline="0" noProof="0">
              <a:ln>
                <a:noFill/>
              </a:ln>
              <a:solidFill>
                <a:srgbClr val="000000"/>
              </a:solidFill>
              <a:effectLst/>
              <a:uLnTx/>
              <a:uFillTx/>
              <a:latin typeface="Arial"/>
              <a:ea typeface="+mn-ea"/>
              <a:cs typeface="+mn-cs"/>
            </a:endParaRPr>
          </a:p>
        </p:txBody>
      </p:sp>
      <p:sp>
        <p:nvSpPr>
          <p:cNvPr id="19" name="Title 1">
            <a:extLst>
              <a:ext uri="{FF2B5EF4-FFF2-40B4-BE49-F238E27FC236}">
                <a16:creationId xmlns:a16="http://schemas.microsoft.com/office/drawing/2014/main" id="{D4CCCA12-6848-7E0B-CD7A-E85D849E9DCF}"/>
              </a:ext>
            </a:extLst>
          </p:cNvPr>
          <p:cNvSpPr>
            <a:spLocks noGrp="1"/>
          </p:cNvSpPr>
          <p:nvPr>
            <p:ph type="title"/>
          </p:nvPr>
        </p:nvSpPr>
        <p:spPr>
          <a:xfrm>
            <a:off x="442913" y="432001"/>
            <a:ext cx="11306175" cy="1387274"/>
          </a:xfrm>
        </p:spPr>
        <p:txBody>
          <a:bodyPr vert="horz"/>
          <a:lstStyle/>
          <a:p>
            <a:r>
              <a:rPr lang="lv-LV" dirty="0"/>
              <a:t>Riska izvērtēšanas matrica</a:t>
            </a:r>
          </a:p>
        </p:txBody>
      </p:sp>
      <p:sp>
        <p:nvSpPr>
          <p:cNvPr id="3" name="Rectangle 2">
            <a:extLst>
              <a:ext uri="{FF2B5EF4-FFF2-40B4-BE49-F238E27FC236}">
                <a16:creationId xmlns:a16="http://schemas.microsoft.com/office/drawing/2014/main" id="{93FDAF7C-A0AC-018B-27DA-EF7DA4739F1A}"/>
              </a:ext>
            </a:extLst>
          </p:cNvPr>
          <p:cNvSpPr/>
          <p:nvPr/>
        </p:nvSpPr>
        <p:spPr>
          <a:xfrm>
            <a:off x="442910" y="6348112"/>
            <a:ext cx="3531367" cy="34657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5" name="Freeform 50">
            <a:extLst>
              <a:ext uri="{FF2B5EF4-FFF2-40B4-BE49-F238E27FC236}">
                <a16:creationId xmlns:a16="http://schemas.microsoft.com/office/drawing/2014/main" id="{4FE39BAA-3855-F918-037E-E234B0D06CF1}"/>
              </a:ext>
            </a:extLst>
          </p:cNvPr>
          <p:cNvSpPr>
            <a:spLocks noChangeAspect="1"/>
          </p:cNvSpPr>
          <p:nvPr/>
        </p:nvSpPr>
        <p:spPr bwMode="auto">
          <a:xfrm>
            <a:off x="580102" y="6405514"/>
            <a:ext cx="230247" cy="231772"/>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83" b="0" i="0" u="none" strike="noStrike" kern="1200" cap="none" spc="0" normalizeH="0" baseline="0" noProof="0">
              <a:ln>
                <a:noFill/>
              </a:ln>
              <a:solidFill>
                <a:srgbClr val="000000"/>
              </a:solidFill>
              <a:effectLst/>
              <a:uLnTx/>
              <a:uFillTx/>
              <a:latin typeface="Arial"/>
              <a:ea typeface="+mn-ea"/>
              <a:cs typeface="+mn-cs"/>
            </a:endParaRPr>
          </a:p>
        </p:txBody>
      </p:sp>
      <p:sp>
        <p:nvSpPr>
          <p:cNvPr id="6" name="Google Shape;2685;p25">
            <a:extLst>
              <a:ext uri="{FF2B5EF4-FFF2-40B4-BE49-F238E27FC236}">
                <a16:creationId xmlns:a16="http://schemas.microsoft.com/office/drawing/2014/main" id="{C2B114F8-791F-3D8F-C14A-C45AA40956E8}"/>
              </a:ext>
            </a:extLst>
          </p:cNvPr>
          <p:cNvSpPr txBox="1"/>
          <p:nvPr/>
        </p:nvSpPr>
        <p:spPr>
          <a:xfrm>
            <a:off x="987293" y="6436762"/>
            <a:ext cx="3531367" cy="169277"/>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100" b="0" i="0" u="none" strike="noStrike" kern="1200" cap="none" spc="0" normalizeH="0" baseline="0" noProof="0">
                <a:ln>
                  <a:noFill/>
                </a:ln>
                <a:solidFill>
                  <a:srgbClr val="000000"/>
                </a:solidFill>
                <a:effectLst/>
                <a:uLnTx/>
                <a:uFillTx/>
                <a:latin typeface="Arial"/>
                <a:ea typeface="+mn-ea"/>
                <a:cs typeface="+mn-cs"/>
                <a:hlinkClick r:id="rId3">
                  <a:extLst>
                    <a:ext uri="{A12FA001-AC4F-418D-AE19-62706E023703}">
                      <ahyp:hlinkClr xmlns:ahyp="http://schemas.microsoft.com/office/drawing/2018/hyperlinkcolor" val="tx"/>
                    </a:ext>
                  </a:extLst>
                </a:hlinkClick>
              </a:rPr>
              <a:t>Katastrofu riska novērtēšanas rekomendācijas</a:t>
            </a:r>
            <a:endParaRPr kumimoji="0" lang="lv-LV" sz="1100" b="0" i="0" u="none" strike="noStrike" kern="1200" cap="none" spc="0" normalizeH="0" baseline="0" noProof="0">
              <a:ln>
                <a:noFill/>
              </a:ln>
              <a:solidFill>
                <a:srgbClr val="000000"/>
              </a:solidFill>
              <a:effectLst/>
              <a:uLnTx/>
              <a:uFillTx/>
              <a:latin typeface="Arial"/>
              <a:ea typeface="+mn-ea"/>
              <a:cs typeface="+mn-cs"/>
            </a:endParaRPr>
          </a:p>
        </p:txBody>
      </p:sp>
      <p:sp>
        <p:nvSpPr>
          <p:cNvPr id="8" name="Rectangle 7">
            <a:extLst>
              <a:ext uri="{FF2B5EF4-FFF2-40B4-BE49-F238E27FC236}">
                <a16:creationId xmlns:a16="http://schemas.microsoft.com/office/drawing/2014/main" id="{387A30A5-377B-EA77-7775-034F370CA988}"/>
              </a:ext>
            </a:extLst>
          </p:cNvPr>
          <p:cNvSpPr/>
          <p:nvPr/>
        </p:nvSpPr>
        <p:spPr>
          <a:xfrm>
            <a:off x="4327525" y="6348112"/>
            <a:ext cx="3533775" cy="34657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Google Shape;2685;p25">
            <a:extLst>
              <a:ext uri="{FF2B5EF4-FFF2-40B4-BE49-F238E27FC236}">
                <a16:creationId xmlns:a16="http://schemas.microsoft.com/office/drawing/2014/main" id="{86B8BED1-C18C-9993-0D5F-7DC39D169396}"/>
              </a:ext>
            </a:extLst>
          </p:cNvPr>
          <p:cNvSpPr txBox="1"/>
          <p:nvPr/>
        </p:nvSpPr>
        <p:spPr>
          <a:xfrm>
            <a:off x="4895414" y="6436762"/>
            <a:ext cx="4797811" cy="169277"/>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100" b="0" i="0" u="none" strike="noStrike" kern="1200" cap="none" spc="0" normalizeH="0" baseline="0" noProof="0">
                <a:ln>
                  <a:noFill/>
                </a:ln>
                <a:solidFill>
                  <a:srgbClr val="000000"/>
                </a:solidFill>
                <a:effectLst/>
                <a:uLnTx/>
                <a:uFillTx/>
                <a:latin typeface="Arial"/>
                <a:ea typeface="+mn-ea"/>
                <a:cs typeface="+mn-cs"/>
                <a:hlinkClick r:id="rId4">
                  <a:extLst>
                    <a:ext uri="{A12FA001-AC4F-418D-AE19-62706E023703}">
                      <ahyp:hlinkClr xmlns:ahyp="http://schemas.microsoft.com/office/drawing/2018/hyperlinkcolor" val="tx"/>
                    </a:ext>
                  </a:extLst>
                </a:hlinkClick>
              </a:rPr>
              <a:t>Par Valsts civilās aizsardzības plānu</a:t>
            </a:r>
            <a:endParaRPr kumimoji="0" lang="lv-LV" sz="1100" b="0" i="0" u="none" strike="noStrike" kern="1200" cap="none" spc="0" normalizeH="0" baseline="0" noProof="0">
              <a:ln>
                <a:noFill/>
              </a:ln>
              <a:solidFill>
                <a:srgbClr val="000000"/>
              </a:solidFill>
              <a:effectLst/>
              <a:uLnTx/>
              <a:uFillTx/>
              <a:latin typeface="Arial"/>
              <a:ea typeface="+mn-ea"/>
              <a:cs typeface="+mn-cs"/>
            </a:endParaRPr>
          </a:p>
        </p:txBody>
      </p:sp>
      <p:sp>
        <p:nvSpPr>
          <p:cNvPr id="10" name="Freeform 50">
            <a:extLst>
              <a:ext uri="{FF2B5EF4-FFF2-40B4-BE49-F238E27FC236}">
                <a16:creationId xmlns:a16="http://schemas.microsoft.com/office/drawing/2014/main" id="{D578A772-4E99-7B88-CA71-FEB4DD5709AE}"/>
              </a:ext>
            </a:extLst>
          </p:cNvPr>
          <p:cNvSpPr>
            <a:spLocks noChangeAspect="1"/>
          </p:cNvSpPr>
          <p:nvPr/>
        </p:nvSpPr>
        <p:spPr bwMode="auto">
          <a:xfrm>
            <a:off x="4485781" y="6405514"/>
            <a:ext cx="230247" cy="231772"/>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83" b="0" i="0" u="none" strike="noStrike" kern="1200" cap="none" spc="0" normalizeH="0" baseline="0" noProof="0">
              <a:ln>
                <a:noFill/>
              </a:ln>
              <a:solidFill>
                <a:srgbClr val="000000"/>
              </a:solidFill>
              <a:effectLst/>
              <a:uLnTx/>
              <a:uFillTx/>
              <a:latin typeface="Arial"/>
              <a:ea typeface="+mn-ea"/>
              <a:cs typeface="+mn-cs"/>
            </a:endParaRPr>
          </a:p>
        </p:txBody>
      </p:sp>
      <p:cxnSp>
        <p:nvCxnSpPr>
          <p:cNvPr id="2" name="Straight Arrow Connector 1">
            <a:extLst>
              <a:ext uri="{FF2B5EF4-FFF2-40B4-BE49-F238E27FC236}">
                <a16:creationId xmlns:a16="http://schemas.microsoft.com/office/drawing/2014/main" id="{45E9038F-6DC9-16AA-6786-EF6210A68484}"/>
              </a:ext>
            </a:extLst>
          </p:cNvPr>
          <p:cNvCxnSpPr/>
          <p:nvPr/>
        </p:nvCxnSpPr>
        <p:spPr>
          <a:xfrm>
            <a:off x="2352040" y="2203401"/>
            <a:ext cx="0" cy="143559"/>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3" name="Straight Arrow Connector 12">
            <a:extLst>
              <a:ext uri="{FF2B5EF4-FFF2-40B4-BE49-F238E27FC236}">
                <a16:creationId xmlns:a16="http://schemas.microsoft.com/office/drawing/2014/main" id="{0D2AAD19-3E60-6F3A-9503-20BBE4CB3187}"/>
              </a:ext>
            </a:extLst>
          </p:cNvPr>
          <p:cNvCxnSpPr/>
          <p:nvPr/>
        </p:nvCxnSpPr>
        <p:spPr>
          <a:xfrm>
            <a:off x="1968500" y="6057900"/>
            <a:ext cx="232833" cy="0"/>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grpSp>
        <p:nvGrpSpPr>
          <p:cNvPr id="7" name="Group 6">
            <a:extLst>
              <a:ext uri="{FF2B5EF4-FFF2-40B4-BE49-F238E27FC236}">
                <a16:creationId xmlns:a16="http://schemas.microsoft.com/office/drawing/2014/main" id="{70669E68-7A13-1D2C-8E28-14511F4B7A00}"/>
              </a:ext>
            </a:extLst>
          </p:cNvPr>
          <p:cNvGrpSpPr/>
          <p:nvPr/>
        </p:nvGrpSpPr>
        <p:grpSpPr>
          <a:xfrm>
            <a:off x="8801780" y="159786"/>
            <a:ext cx="2947308" cy="217488"/>
            <a:chOff x="8559953" y="967274"/>
            <a:chExt cx="2947308" cy="217488"/>
          </a:xfrm>
        </p:grpSpPr>
        <p:sp>
          <p:nvSpPr>
            <p:cNvPr id="27" name="Rectangle 26">
              <a:extLst>
                <a:ext uri="{FF2B5EF4-FFF2-40B4-BE49-F238E27FC236}">
                  <a16:creationId xmlns:a16="http://schemas.microsoft.com/office/drawing/2014/main" id="{EF36C935-0541-9B43-A91C-5FB3B1B02BC3}"/>
                </a:ext>
              </a:extLst>
            </p:cNvPr>
            <p:cNvSpPr/>
            <p:nvPr/>
          </p:nvSpPr>
          <p:spPr>
            <a:xfrm>
              <a:off x="9043607" y="96727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5</a:t>
              </a:r>
              <a:r>
                <a:rPr kumimoji="0" lang="lv-LV" sz="800" b="1" i="0" u="none" strike="noStrike" kern="0" cap="none" spc="0" normalizeH="0" baseline="0" dirty="0">
                  <a:ln>
                    <a:noFill/>
                  </a:ln>
                  <a:effectLst/>
                  <a:uLnTx/>
                  <a:uFillTx/>
                  <a:ea typeface="Georgia"/>
                  <a:cs typeface="Georgia"/>
                  <a:sym typeface="Georgia"/>
                </a:rPr>
                <a:t>.</a:t>
              </a:r>
              <a:r>
                <a:rPr kumimoji="0" lang="en-US" sz="800" b="1" i="0" u="none" strike="noStrike" kern="0" cap="none" spc="0" normalizeH="0" baseline="0" dirty="0">
                  <a:ln>
                    <a:noFill/>
                  </a:ln>
                  <a:effectLst/>
                  <a:uLnTx/>
                  <a:uFillTx/>
                  <a:ea typeface="Georgia"/>
                  <a:cs typeface="Georgia"/>
                  <a:sym typeface="Georgia"/>
                </a:rPr>
                <a:t>3</a:t>
              </a:r>
              <a:endParaRPr kumimoji="0" lang="lv-LV" sz="800" b="1" i="0" u="none" strike="noStrike" kern="0" cap="none" spc="0" normalizeH="0" baseline="0" dirty="0">
                <a:ln>
                  <a:noFill/>
                </a:ln>
                <a:effectLst/>
                <a:uLnTx/>
                <a:uFillTx/>
                <a:ea typeface="Georgia"/>
                <a:cs typeface="Georgia"/>
                <a:sym typeface="Georgia"/>
              </a:endParaRPr>
            </a:p>
          </p:txBody>
        </p:sp>
        <p:sp>
          <p:nvSpPr>
            <p:cNvPr id="31" name="Rectangle 30">
              <a:extLst>
                <a:ext uri="{FF2B5EF4-FFF2-40B4-BE49-F238E27FC236}">
                  <a16:creationId xmlns:a16="http://schemas.microsoft.com/office/drawing/2014/main" id="{6B59DBBB-F5F4-C8C4-67A9-C80917EFABEA}"/>
                </a:ext>
              </a:extLst>
            </p:cNvPr>
            <p:cNvSpPr/>
            <p:nvPr/>
          </p:nvSpPr>
          <p:spPr>
            <a:xfrm>
              <a:off x="11291261" y="9672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4</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32" name="Rectangle 31">
              <a:extLst>
                <a:ext uri="{FF2B5EF4-FFF2-40B4-BE49-F238E27FC236}">
                  <a16:creationId xmlns:a16="http://schemas.microsoft.com/office/drawing/2014/main" id="{0425912A-058B-A29D-9ED6-9E252ABDF78C}"/>
                </a:ext>
              </a:extLst>
            </p:cNvPr>
            <p:cNvSpPr/>
            <p:nvPr/>
          </p:nvSpPr>
          <p:spPr>
            <a:xfrm>
              <a:off x="9285434" y="967274"/>
              <a:ext cx="198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Apdraudējuma riska novērtēšana</a:t>
              </a:r>
              <a:endParaRPr kumimoji="0" lang="en-US" sz="800" b="1" i="0" u="none" strike="noStrike" kern="0" cap="none" spc="0" normalizeH="0" baseline="0" dirty="0">
                <a:ln>
                  <a:noFill/>
                </a:ln>
                <a:effectLst/>
                <a:uLnTx/>
                <a:uFillTx/>
                <a:ea typeface="Georgia"/>
                <a:cs typeface="Georgia"/>
                <a:sym typeface="Georgia"/>
              </a:endParaRPr>
            </a:p>
          </p:txBody>
        </p:sp>
        <p:sp>
          <p:nvSpPr>
            <p:cNvPr id="33" name="Rectangle 32">
              <a:extLst>
                <a:ext uri="{FF2B5EF4-FFF2-40B4-BE49-F238E27FC236}">
                  <a16:creationId xmlns:a16="http://schemas.microsoft.com/office/drawing/2014/main" id="{3383B3B6-C022-210F-684A-763FC4C02C9A}"/>
                </a:ext>
              </a:extLst>
            </p:cNvPr>
            <p:cNvSpPr/>
            <p:nvPr/>
          </p:nvSpPr>
          <p:spPr>
            <a:xfrm>
              <a:off x="8801780" y="9672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2</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34" name="Rectangle 33">
              <a:extLst>
                <a:ext uri="{FF2B5EF4-FFF2-40B4-BE49-F238E27FC236}">
                  <a16:creationId xmlns:a16="http://schemas.microsoft.com/office/drawing/2014/main" id="{12D6B93E-1E5E-3E9D-369F-AE07299C175C}"/>
                </a:ext>
              </a:extLst>
            </p:cNvPr>
            <p:cNvSpPr/>
            <p:nvPr/>
          </p:nvSpPr>
          <p:spPr>
            <a:xfrm>
              <a:off x="8559953" y="9672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5617138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582BF1B-B430-C5FF-89FF-422AB409923A}"/>
              </a:ext>
            </a:extLst>
          </p:cNvPr>
          <p:cNvSpPr>
            <a:spLocks noGrp="1"/>
          </p:cNvSpPr>
          <p:nvPr>
            <p:ph type="sldNum" sz="quarter" idx="11"/>
          </p:nvPr>
        </p:nvSpPr>
        <p:spPr>
          <a:xfrm>
            <a:off x="9984296" y="6492240"/>
            <a:ext cx="1764792" cy="13716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75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22" name="Table 21">
            <a:extLst>
              <a:ext uri="{FF2B5EF4-FFF2-40B4-BE49-F238E27FC236}">
                <a16:creationId xmlns:a16="http://schemas.microsoft.com/office/drawing/2014/main" id="{B81163DC-846F-77F9-BCA7-61B5C7F444C3}"/>
              </a:ext>
            </a:extLst>
          </p:cNvPr>
          <p:cNvGraphicFramePr>
            <a:graphicFrameLocks noGrp="1"/>
          </p:cNvGraphicFramePr>
          <p:nvPr/>
        </p:nvGraphicFramePr>
        <p:xfrm>
          <a:off x="442911" y="1662375"/>
          <a:ext cx="11306179" cy="4356000"/>
        </p:xfrm>
        <a:graphic>
          <a:graphicData uri="http://schemas.openxmlformats.org/drawingml/2006/table">
            <a:tbl>
              <a:tblPr firstRow="1" bandRow="1">
                <a:tableStyleId>{5C22544A-7EE6-4342-B048-85BDC9FD1C3A}</a:tableStyleId>
              </a:tblPr>
              <a:tblGrid>
                <a:gridCol w="1578929">
                  <a:extLst>
                    <a:ext uri="{9D8B030D-6E8A-4147-A177-3AD203B41FA5}">
                      <a16:colId xmlns:a16="http://schemas.microsoft.com/office/drawing/2014/main" val="837786651"/>
                    </a:ext>
                  </a:extLst>
                </a:gridCol>
                <a:gridCol w="1945450">
                  <a:extLst>
                    <a:ext uri="{9D8B030D-6E8A-4147-A177-3AD203B41FA5}">
                      <a16:colId xmlns:a16="http://schemas.microsoft.com/office/drawing/2014/main" val="1368320036"/>
                    </a:ext>
                  </a:extLst>
                </a:gridCol>
                <a:gridCol w="1945450">
                  <a:extLst>
                    <a:ext uri="{9D8B030D-6E8A-4147-A177-3AD203B41FA5}">
                      <a16:colId xmlns:a16="http://schemas.microsoft.com/office/drawing/2014/main" val="3062819815"/>
                    </a:ext>
                  </a:extLst>
                </a:gridCol>
                <a:gridCol w="1945450">
                  <a:extLst>
                    <a:ext uri="{9D8B030D-6E8A-4147-A177-3AD203B41FA5}">
                      <a16:colId xmlns:a16="http://schemas.microsoft.com/office/drawing/2014/main" val="2493186866"/>
                    </a:ext>
                  </a:extLst>
                </a:gridCol>
                <a:gridCol w="1945450">
                  <a:extLst>
                    <a:ext uri="{9D8B030D-6E8A-4147-A177-3AD203B41FA5}">
                      <a16:colId xmlns:a16="http://schemas.microsoft.com/office/drawing/2014/main" val="1654166125"/>
                    </a:ext>
                  </a:extLst>
                </a:gridCol>
                <a:gridCol w="1945450">
                  <a:extLst>
                    <a:ext uri="{9D8B030D-6E8A-4147-A177-3AD203B41FA5}">
                      <a16:colId xmlns:a16="http://schemas.microsoft.com/office/drawing/2014/main" val="1682495242"/>
                    </a:ext>
                  </a:extLst>
                </a:gridCol>
              </a:tblGrid>
              <a:tr h="360000">
                <a:tc>
                  <a:txBody>
                    <a:bodyPr/>
                    <a:lstStyle/>
                    <a:p>
                      <a:pPr algn="ctr">
                        <a:spcAft>
                          <a:spcPts val="200"/>
                        </a:spcAft>
                      </a:pPr>
                      <a:r>
                        <a:rPr lang="lv-LV" sz="800">
                          <a:solidFill>
                            <a:schemeClr val="tx1"/>
                          </a:solidFill>
                        </a:rPr>
                        <a:t>Varbūtība / </a:t>
                      </a:r>
                      <a:endParaRPr lang="en-US" sz="800">
                        <a:solidFill>
                          <a:schemeClr val="tx1"/>
                        </a:solidFill>
                      </a:endParaRPr>
                    </a:p>
                    <a:p>
                      <a:pPr algn="ctr">
                        <a:spcAft>
                          <a:spcPts val="200"/>
                        </a:spcAft>
                      </a:pPr>
                      <a:r>
                        <a:rPr lang="lv-LV" sz="800">
                          <a:solidFill>
                            <a:schemeClr val="tx1"/>
                          </a:solidFill>
                        </a:rPr>
                        <a:t>ticamības līmenis </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spcAft>
                          <a:spcPts val="200"/>
                        </a:spcAft>
                      </a:pPr>
                      <a:r>
                        <a:rPr lang="lv-LV" sz="800" b="0">
                          <a:solidFill>
                            <a:schemeClr val="bg1"/>
                          </a:solidFill>
                        </a:rPr>
                        <a:t>Maznozīmīgs risks</a:t>
                      </a:r>
                      <a:endParaRPr lang="en-GB" sz="800" b="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spcAft>
                          <a:spcPts val="200"/>
                        </a:spcAft>
                      </a:pPr>
                      <a:r>
                        <a:rPr lang="lv-LV" sz="800">
                          <a:solidFill>
                            <a:schemeClr val="tx1"/>
                          </a:solidFill>
                        </a:rPr>
                        <a:t>Nozīmīg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spcAft>
                          <a:spcPts val="200"/>
                        </a:spcAft>
                      </a:pPr>
                      <a:r>
                        <a:rPr lang="lv-LV" sz="800">
                          <a:solidFill>
                            <a:schemeClr val="tx1"/>
                          </a:solidFill>
                        </a:rPr>
                        <a:t>Vidēj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spcAft>
                          <a:spcPts val="200"/>
                        </a:spcAft>
                      </a:pPr>
                      <a:r>
                        <a:rPr lang="lv-LV" sz="800"/>
                        <a:t>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spcAft>
                          <a:spcPts val="200"/>
                        </a:spcAft>
                      </a:pPr>
                      <a:r>
                        <a:rPr lang="lv-LV" sz="800"/>
                        <a:t>Ļoti 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27874976"/>
                  </a:ext>
                </a:extLst>
              </a:tr>
              <a:tr h="288000">
                <a:tc>
                  <a:txBody>
                    <a:bodyPr/>
                    <a:lstStyle/>
                    <a:p>
                      <a:pPr algn="ctr">
                        <a:spcAft>
                          <a:spcPts val="200"/>
                        </a:spcAft>
                      </a:pPr>
                      <a:r>
                        <a:rPr lang="lv-LV" sz="800">
                          <a:solidFill>
                            <a:schemeClr val="bg1"/>
                          </a:solidFill>
                        </a:rPr>
                        <a:t>Ļoti augst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spcAft>
                          <a:spcPts val="200"/>
                        </a:spcAft>
                      </a:pP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lang="en-GB" sz="800" err="1">
                          <a:solidFill>
                            <a:schemeClr val="tx1"/>
                          </a:solidFill>
                        </a:rPr>
                        <a:t>Meža</a:t>
                      </a:r>
                      <a:r>
                        <a:rPr lang="en-GB" sz="800">
                          <a:solidFill>
                            <a:schemeClr val="tx1"/>
                          </a:solidFill>
                        </a:rPr>
                        <a:t> un </a:t>
                      </a:r>
                      <a:r>
                        <a:rPr lang="en-GB" sz="800" err="1">
                          <a:solidFill>
                            <a:schemeClr val="tx1"/>
                          </a:solidFill>
                        </a:rPr>
                        <a:t>kūdras</a:t>
                      </a:r>
                      <a:r>
                        <a:rPr lang="en-GB" sz="800">
                          <a:solidFill>
                            <a:schemeClr val="tx1"/>
                          </a:solidFill>
                        </a:rPr>
                        <a:t> </a:t>
                      </a:r>
                      <a:r>
                        <a:rPr lang="en-GB" sz="800" err="1">
                          <a:solidFill>
                            <a:schemeClr val="tx1"/>
                          </a:solidFill>
                        </a:rPr>
                        <a:t>purvu</a:t>
                      </a:r>
                      <a:r>
                        <a:rPr lang="en-GB" sz="800">
                          <a:solidFill>
                            <a:schemeClr val="tx1"/>
                          </a:solidFill>
                        </a:rPr>
                        <a:t> </a:t>
                      </a:r>
                      <a:r>
                        <a:rPr lang="en-GB" sz="800" err="1">
                          <a:solidFill>
                            <a:schemeClr val="tx1"/>
                          </a:solidFill>
                        </a:rPr>
                        <a:t>ugunsgrēki</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spcAft>
                          <a:spcPts val="200"/>
                        </a:spcAft>
                      </a:pPr>
                      <a:r>
                        <a:rPr lang="en-GB" sz="800" err="1">
                          <a:solidFill>
                            <a:schemeClr val="tx1"/>
                          </a:solidFill>
                        </a:rPr>
                        <a:t>Epizootij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spcAft>
                          <a:spcPts val="200"/>
                        </a:spcAft>
                      </a:pP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spcAft>
                          <a:spcPts val="200"/>
                        </a:spcAft>
                      </a:pP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25864913"/>
                  </a:ext>
                </a:extLst>
              </a:tr>
              <a:tr h="828000">
                <a:tc>
                  <a:txBody>
                    <a:bodyPr/>
                    <a:lstStyle/>
                    <a:p>
                      <a:pPr algn="ctr">
                        <a:spcAft>
                          <a:spcPts val="200"/>
                        </a:spcAft>
                      </a:pPr>
                      <a:r>
                        <a:rPr lang="lv-LV" sz="800">
                          <a:solidFill>
                            <a:schemeClr val="bg1"/>
                          </a:solidFill>
                        </a:rPr>
                        <a:t>Augst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spcAft>
                          <a:spcPts val="200"/>
                        </a:spcAft>
                      </a:pP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spcAft>
                          <a:spcPts val="200"/>
                        </a:spcAft>
                      </a:pP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spcAft>
                          <a:spcPts val="200"/>
                        </a:spcAft>
                      </a:pPr>
                      <a:r>
                        <a:rPr lang="en-GB" sz="800">
                          <a:solidFill>
                            <a:schemeClr val="tx1"/>
                          </a:solidFill>
                        </a:rPr>
                        <a:t>Pali un </a:t>
                      </a:r>
                      <a:r>
                        <a:rPr lang="en-GB" sz="800" err="1">
                          <a:solidFill>
                            <a:schemeClr val="tx1"/>
                          </a:solidFill>
                        </a:rPr>
                        <a:t>plūdi</a:t>
                      </a:r>
                      <a:endParaRPr lang="en-GB" sz="800">
                        <a:solidFill>
                          <a:schemeClr val="tx1"/>
                        </a:solidFill>
                      </a:endParaRPr>
                    </a:p>
                    <a:p>
                      <a:pPr algn="ctr">
                        <a:spcAft>
                          <a:spcPts val="200"/>
                        </a:spcAft>
                      </a:pPr>
                      <a:r>
                        <a:rPr lang="en-GB" sz="800" err="1">
                          <a:solidFill>
                            <a:schemeClr val="tx1"/>
                          </a:solidFill>
                        </a:rPr>
                        <a:t>Karstums</a:t>
                      </a:r>
                      <a:endParaRPr lang="en-GB" sz="800">
                        <a:solidFill>
                          <a:schemeClr val="tx1"/>
                        </a:solidFill>
                      </a:endParaRPr>
                    </a:p>
                    <a:p>
                      <a:pPr algn="ctr">
                        <a:spcAft>
                          <a:spcPts val="200"/>
                        </a:spcAft>
                      </a:pPr>
                      <a:r>
                        <a:rPr lang="en-GB" sz="800" err="1">
                          <a:solidFill>
                            <a:schemeClr val="tx1"/>
                          </a:solidFill>
                        </a:rPr>
                        <a:t>Apledojums</a:t>
                      </a:r>
                      <a:endParaRPr lang="en-GB" sz="800">
                        <a:solidFill>
                          <a:schemeClr val="tx1"/>
                        </a:solidFill>
                      </a:endParaRPr>
                    </a:p>
                    <a:p>
                      <a:pPr algn="ctr">
                        <a:spcAft>
                          <a:spcPts val="200"/>
                        </a:spcAft>
                      </a:pPr>
                      <a:r>
                        <a:rPr lang="en-GB" sz="800" err="1">
                          <a:solidFill>
                            <a:schemeClr val="tx1"/>
                          </a:solidFill>
                        </a:rPr>
                        <a:t>Sabiedriskās</a:t>
                      </a:r>
                      <a:r>
                        <a:rPr lang="en-GB" sz="800">
                          <a:solidFill>
                            <a:schemeClr val="tx1"/>
                          </a:solidFill>
                        </a:rPr>
                        <a:t> </a:t>
                      </a:r>
                      <a:r>
                        <a:rPr lang="en-GB" sz="800" err="1">
                          <a:solidFill>
                            <a:schemeClr val="tx1"/>
                          </a:solidFill>
                        </a:rPr>
                        <a:t>nekārtības</a:t>
                      </a:r>
                      <a:endParaRPr lang="en-GB" sz="800">
                        <a:solidFill>
                          <a:schemeClr val="tx1"/>
                        </a:solidFill>
                      </a:endParaRPr>
                    </a:p>
                    <a:p>
                      <a:pPr algn="ctr">
                        <a:spcAft>
                          <a:spcPts val="200"/>
                        </a:spcAft>
                      </a:pPr>
                      <a:r>
                        <a:rPr lang="en-GB" sz="800" err="1">
                          <a:solidFill>
                            <a:schemeClr val="tx1"/>
                          </a:solidFill>
                        </a:rPr>
                        <a:t>Iekšējie</a:t>
                      </a:r>
                      <a:r>
                        <a:rPr lang="en-GB" sz="800">
                          <a:solidFill>
                            <a:schemeClr val="tx1"/>
                          </a:solidFill>
                        </a:rPr>
                        <a:t> </a:t>
                      </a:r>
                      <a:r>
                        <a:rPr lang="en-GB" sz="800" err="1">
                          <a:solidFill>
                            <a:schemeClr val="tx1"/>
                          </a:solidFill>
                        </a:rPr>
                        <a:t>nemieri</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spcAft>
                          <a:spcPts val="200"/>
                        </a:spcAft>
                      </a:pPr>
                      <a:r>
                        <a:rPr lang="en-GB" sz="800" err="1">
                          <a:solidFill>
                            <a:schemeClr val="bg1"/>
                          </a:solidFill>
                        </a:rPr>
                        <a:t>Epidēmija</a:t>
                      </a:r>
                      <a:r>
                        <a:rPr lang="en-GB" sz="800">
                          <a:solidFill>
                            <a:schemeClr val="bg1"/>
                          </a:solidFill>
                        </a:rPr>
                        <a:t>, </a:t>
                      </a:r>
                      <a:r>
                        <a:rPr lang="en-GB" sz="800" err="1">
                          <a:solidFill>
                            <a:schemeClr val="bg1"/>
                          </a:solidFill>
                        </a:rPr>
                        <a:t>pandēmija</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spcAft>
                          <a:spcPts val="200"/>
                        </a:spcAft>
                      </a:pP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14494894"/>
                  </a:ext>
                </a:extLst>
              </a:tr>
              <a:tr h="936000">
                <a:tc>
                  <a:txBody>
                    <a:bodyPr/>
                    <a:lstStyle/>
                    <a:p>
                      <a:pPr algn="ctr">
                        <a:spcAft>
                          <a:spcPts val="200"/>
                        </a:spcAft>
                      </a:pPr>
                      <a:r>
                        <a:rPr lang="lv-LV" sz="800"/>
                        <a:t>Vidēj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spcAft>
                          <a:spcPts val="200"/>
                        </a:spcAft>
                      </a:pPr>
                      <a:r>
                        <a:rPr lang="en-GB" sz="800" err="1">
                          <a:solidFill>
                            <a:schemeClr val="bg1"/>
                          </a:solidFill>
                        </a:rPr>
                        <a:t>Autotransporta</a:t>
                      </a:r>
                      <a:r>
                        <a:rPr lang="en-GB" sz="800">
                          <a:solidFill>
                            <a:schemeClr val="bg1"/>
                          </a:solidFill>
                        </a:rPr>
                        <a:t> </a:t>
                      </a:r>
                      <a:r>
                        <a:rPr lang="en-GB" sz="800" err="1">
                          <a:solidFill>
                            <a:schemeClr val="bg1"/>
                          </a:solidFill>
                        </a:rPr>
                        <a:t>avārija</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spcAft>
                          <a:spcPts val="200"/>
                        </a:spcAft>
                      </a:pPr>
                      <a:r>
                        <a:rPr lang="lv-LV" sz="800">
                          <a:solidFill>
                            <a:schemeClr val="tx1"/>
                          </a:solidFill>
                        </a:rPr>
                        <a:t>Pārvades elektrotīklu bojājumi</a:t>
                      </a:r>
                    </a:p>
                    <a:p>
                      <a:pPr algn="ctr">
                        <a:spcAft>
                          <a:spcPts val="200"/>
                        </a:spcAft>
                      </a:pPr>
                      <a:r>
                        <a:rPr lang="lv-LV" sz="800">
                          <a:solidFill>
                            <a:schemeClr val="tx1"/>
                          </a:solidFill>
                        </a:rPr>
                        <a:t>Dzelzceļa transporta katastrofa</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spcAft>
                          <a:spcPts val="200"/>
                        </a:spcAft>
                      </a:pPr>
                      <a:r>
                        <a:rPr lang="lv-LV" sz="800">
                          <a:solidFill>
                            <a:schemeClr val="tx1"/>
                          </a:solidFill>
                        </a:rPr>
                        <a:t>Stiprs sals</a:t>
                      </a:r>
                    </a:p>
                    <a:p>
                      <a:pPr algn="ctr">
                        <a:spcAft>
                          <a:spcPts val="200"/>
                        </a:spcAft>
                      </a:pPr>
                      <a:r>
                        <a:rPr lang="lv-LV" sz="800">
                          <a:solidFill>
                            <a:schemeClr val="tx1"/>
                          </a:solidFill>
                        </a:rPr>
                        <a:t>Lietusgāzes un ilgstošas lietavas</a:t>
                      </a:r>
                    </a:p>
                    <a:p>
                      <a:pPr algn="ctr">
                        <a:spcAft>
                          <a:spcPts val="200"/>
                        </a:spcAft>
                      </a:pPr>
                      <a:r>
                        <a:rPr lang="lv-LV" sz="800">
                          <a:solidFill>
                            <a:schemeClr val="tx1"/>
                          </a:solidFill>
                        </a:rPr>
                        <a:t>Pērkona negaiss un krusa</a:t>
                      </a:r>
                    </a:p>
                    <a:p>
                      <a:pPr algn="ctr">
                        <a:spcAft>
                          <a:spcPts val="200"/>
                        </a:spcAft>
                      </a:pPr>
                      <a:r>
                        <a:rPr lang="lv-LV" sz="800">
                          <a:solidFill>
                            <a:schemeClr val="tx1"/>
                          </a:solidFill>
                        </a:rPr>
                        <a:t>Viesuļi</a:t>
                      </a:r>
                    </a:p>
                    <a:p>
                      <a:pPr algn="ctr">
                        <a:spcAft>
                          <a:spcPts val="200"/>
                        </a:spcAft>
                      </a:pPr>
                      <a:r>
                        <a:rPr lang="lv-LV" sz="800">
                          <a:solidFill>
                            <a:schemeClr val="tx1"/>
                          </a:solidFill>
                        </a:rPr>
                        <a:t>Sausums</a:t>
                      </a:r>
                    </a:p>
                    <a:p>
                      <a:pPr algn="ctr">
                        <a:spcAft>
                          <a:spcPts val="200"/>
                        </a:spcAft>
                      </a:pPr>
                      <a:r>
                        <a:rPr lang="lv-LV" sz="800">
                          <a:solidFill>
                            <a:schemeClr val="tx1"/>
                          </a:solidFill>
                        </a:rPr>
                        <a:t>Sniegs un puteni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spcAft>
                          <a:spcPts val="200"/>
                        </a:spcAft>
                      </a:pPr>
                      <a:r>
                        <a:rPr lang="en-GB" sz="800">
                          <a:solidFill>
                            <a:schemeClr val="tx1"/>
                          </a:solidFill>
                        </a:rPr>
                        <a:t>Vējuzplūdi</a:t>
                      </a:r>
                    </a:p>
                    <a:p>
                      <a:pPr algn="ctr">
                        <a:spcAft>
                          <a:spcPts val="200"/>
                        </a:spcAft>
                      </a:pPr>
                      <a:r>
                        <a:rPr lang="en-GB" sz="800">
                          <a:solidFill>
                            <a:schemeClr val="tx1"/>
                          </a:solidFill>
                        </a:rPr>
                        <a:t>Sadales elektrotīklu bojājumi</a:t>
                      </a:r>
                    </a:p>
                    <a:p>
                      <a:pPr algn="ctr">
                        <a:spcAft>
                          <a:spcPts val="200"/>
                        </a:spcAft>
                      </a:pPr>
                      <a:r>
                        <a:rPr lang="en-GB" sz="800">
                          <a:solidFill>
                            <a:schemeClr val="tx1"/>
                          </a:solidFill>
                        </a:rPr>
                        <a:t>Vētras un krasas vēja brāzmas</a:t>
                      </a:r>
                    </a:p>
                    <a:p>
                      <a:pPr algn="ctr">
                        <a:spcAft>
                          <a:spcPts val="200"/>
                        </a:spcAft>
                      </a:pPr>
                      <a:r>
                        <a:rPr lang="en-GB" sz="800">
                          <a:solidFill>
                            <a:schemeClr val="tx1"/>
                          </a:solidFill>
                        </a:rPr>
                        <a:t>Ugunsgrēki ēkās un būvēs</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spcAft>
                          <a:spcPts val="200"/>
                        </a:spcAft>
                      </a:pP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3178954602"/>
                  </a:ext>
                </a:extLst>
              </a:tr>
              <a:tr h="828000">
                <a:tc>
                  <a:txBody>
                    <a:bodyPr/>
                    <a:lstStyle/>
                    <a:p>
                      <a:pPr algn="ctr">
                        <a:spcAft>
                          <a:spcPts val="200"/>
                        </a:spcAft>
                      </a:pPr>
                      <a:r>
                        <a:rPr lang="lv-LV" sz="800"/>
                        <a:t>Zem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spcAft>
                          <a:spcPts val="200"/>
                        </a:spcAft>
                      </a:pP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spcAft>
                          <a:spcPts val="200"/>
                        </a:spcAft>
                      </a:pPr>
                      <a:r>
                        <a:rPr lang="en-GB" sz="800" err="1">
                          <a:solidFill>
                            <a:schemeClr val="tx1"/>
                          </a:solidFill>
                        </a:rPr>
                        <a:t>Epifitotij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spcAft>
                          <a:spcPts val="200"/>
                        </a:spcAft>
                      </a:pPr>
                      <a:r>
                        <a:rPr lang="lv-LV" sz="800">
                          <a:solidFill>
                            <a:schemeClr val="tx1"/>
                          </a:solidFill>
                        </a:rPr>
                        <a:t>Būvju sabrukums</a:t>
                      </a:r>
                    </a:p>
                    <a:p>
                      <a:pPr algn="ctr">
                        <a:spcAft>
                          <a:spcPts val="200"/>
                        </a:spcAft>
                      </a:pPr>
                      <a:r>
                        <a:rPr lang="lv-LV" sz="800">
                          <a:solidFill>
                            <a:schemeClr val="tx1"/>
                          </a:solidFill>
                        </a:rPr>
                        <a:t>Avārija dabasgāzes apgādes sistēmā</a:t>
                      </a:r>
                    </a:p>
                    <a:p>
                      <a:pPr algn="ctr">
                        <a:spcAft>
                          <a:spcPts val="200"/>
                        </a:spcAft>
                      </a:pPr>
                      <a:r>
                        <a:rPr lang="lv-LV" sz="800">
                          <a:solidFill>
                            <a:schemeClr val="tx1"/>
                          </a:solidFill>
                        </a:rPr>
                        <a:t>Pasažiera kuģa katastrofa</a:t>
                      </a:r>
                    </a:p>
                    <a:p>
                      <a:pPr algn="ctr">
                        <a:spcAft>
                          <a:spcPts val="200"/>
                        </a:spcAft>
                      </a:pPr>
                      <a:r>
                        <a:rPr lang="lv-LV" sz="800">
                          <a:solidFill>
                            <a:schemeClr val="tx1"/>
                          </a:solidFill>
                        </a:rPr>
                        <a:t>Bīstamo ķīmisko vielu noplūde objektā</a:t>
                      </a:r>
                    </a:p>
                    <a:p>
                      <a:pPr algn="ctr">
                        <a:spcAft>
                          <a:spcPts val="200"/>
                        </a:spcAft>
                      </a:pPr>
                      <a:r>
                        <a:rPr lang="lv-LV" sz="800">
                          <a:solidFill>
                            <a:schemeClr val="tx1"/>
                          </a:solidFill>
                        </a:rPr>
                        <a:t>Slapja sniega nogulum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spcAft>
                          <a:spcPts val="200"/>
                        </a:spcAft>
                      </a:pP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spcAft>
                          <a:spcPts val="200"/>
                        </a:spcAft>
                      </a:pPr>
                      <a:r>
                        <a:rPr lang="lv-LV" sz="800">
                          <a:solidFill>
                            <a:schemeClr val="tx1"/>
                          </a:solidFill>
                        </a:rPr>
                        <a:t>Hidrotehnisko būvju pārrāvumi – Daugavas HES</a:t>
                      </a:r>
                    </a:p>
                    <a:p>
                      <a:pPr algn="ctr">
                        <a:spcAft>
                          <a:spcPts val="200"/>
                        </a:spcAft>
                      </a:pPr>
                      <a:r>
                        <a:rPr lang="lv-LV" sz="800">
                          <a:solidFill>
                            <a:schemeClr val="tx1"/>
                          </a:solidFill>
                        </a:rPr>
                        <a:t>Bīstamo ķīmisko vielu noplūde no kuģiem</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70922250"/>
                  </a:ext>
                </a:extLst>
              </a:tr>
              <a:tr h="756000">
                <a:tc>
                  <a:txBody>
                    <a:bodyPr/>
                    <a:lstStyle/>
                    <a:p>
                      <a:pPr algn="ctr">
                        <a:spcAft>
                          <a:spcPts val="200"/>
                        </a:spcAft>
                      </a:pPr>
                      <a:r>
                        <a:rPr lang="lv-LV" sz="800">
                          <a:solidFill>
                            <a:schemeClr val="bg1"/>
                          </a:solidFill>
                        </a:rPr>
                        <a:t>Ļoti zem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spcAft>
                          <a:spcPts val="200"/>
                        </a:spcAft>
                      </a:pPr>
                      <a:r>
                        <a:rPr lang="en-GB" sz="800" b="1" err="1">
                          <a:solidFill>
                            <a:schemeClr val="bg1"/>
                          </a:solidFill>
                        </a:rPr>
                        <a:t>Zemes</a:t>
                      </a:r>
                      <a:r>
                        <a:rPr lang="en-GB" sz="800" b="1">
                          <a:solidFill>
                            <a:schemeClr val="bg1"/>
                          </a:solidFill>
                        </a:rPr>
                        <a:t> </a:t>
                      </a:r>
                      <a:r>
                        <a:rPr lang="en-GB" sz="800" b="1" err="1">
                          <a:solidFill>
                            <a:schemeClr val="bg1"/>
                          </a:solidFill>
                        </a:rPr>
                        <a:t>nogruvumi</a:t>
                      </a:r>
                      <a:endParaRPr lang="en-GB" sz="800" b="1">
                        <a:solidFill>
                          <a:schemeClr val="bg1"/>
                        </a:solidFill>
                      </a:endParaRPr>
                    </a:p>
                    <a:p>
                      <a:pPr algn="ctr">
                        <a:spcAft>
                          <a:spcPts val="200"/>
                        </a:spcAft>
                      </a:pPr>
                      <a:r>
                        <a:rPr lang="en-GB" sz="800" b="1" err="1">
                          <a:solidFill>
                            <a:schemeClr val="bg1"/>
                          </a:solidFill>
                        </a:rPr>
                        <a:t>Zemestrīces</a:t>
                      </a:r>
                      <a:endParaRPr lang="en-GB" sz="800" b="1">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spcAft>
                          <a:spcPts val="200"/>
                        </a:spcAft>
                      </a:pPr>
                      <a:r>
                        <a:rPr lang="lv-LV" sz="800">
                          <a:solidFill>
                            <a:schemeClr val="bg1"/>
                          </a:solidFill>
                        </a:rPr>
                        <a:t>Terora akti</a:t>
                      </a:r>
                    </a:p>
                    <a:p>
                      <a:pPr algn="ctr">
                        <a:spcAft>
                          <a:spcPts val="200"/>
                        </a:spcAft>
                      </a:pPr>
                      <a:r>
                        <a:rPr lang="lv-LV" sz="800">
                          <a:solidFill>
                            <a:schemeClr val="bg1"/>
                          </a:solidFill>
                        </a:rPr>
                        <a:t>Radiācijas avārija</a:t>
                      </a:r>
                    </a:p>
                    <a:p>
                      <a:pPr algn="ctr">
                        <a:spcAft>
                          <a:spcPts val="200"/>
                        </a:spcAft>
                      </a:pPr>
                      <a:r>
                        <a:rPr lang="lv-LV" sz="800">
                          <a:solidFill>
                            <a:schemeClr val="bg1"/>
                          </a:solidFill>
                        </a:rPr>
                        <a:t>Kuģa uzskriešana uz sēkļa</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spcAft>
                          <a:spcPts val="200"/>
                        </a:spcAft>
                      </a:pPr>
                      <a:r>
                        <a:rPr lang="lv-LV" sz="800">
                          <a:solidFill>
                            <a:schemeClr val="bg1"/>
                          </a:solidFill>
                        </a:rPr>
                        <a:t>Avārijas naftas produktu cauruļvada transporta infrastruktūrā</a:t>
                      </a:r>
                    </a:p>
                    <a:p>
                      <a:pPr algn="ctr">
                        <a:spcAft>
                          <a:spcPts val="200"/>
                        </a:spcAft>
                      </a:pPr>
                      <a:r>
                        <a:rPr lang="lv-LV" sz="800">
                          <a:solidFill>
                            <a:schemeClr val="bg1"/>
                          </a:solidFill>
                        </a:rPr>
                        <a:t>Avārijas vai negadījumi ostu un jūras hidrotehniskajās inženierbūvēs</a:t>
                      </a:r>
                    </a:p>
                    <a:p>
                      <a:pPr algn="ctr">
                        <a:spcAft>
                          <a:spcPts val="200"/>
                        </a:spcAft>
                      </a:pPr>
                      <a:r>
                        <a:rPr lang="lv-LV" sz="800">
                          <a:solidFill>
                            <a:schemeClr val="bg1"/>
                          </a:solidFill>
                        </a:rPr>
                        <a:t>Kuģu sadursme</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spcAft>
                          <a:spcPts val="200"/>
                        </a:spcAft>
                      </a:pPr>
                      <a:r>
                        <a:rPr lang="lv-LV" sz="800">
                          <a:solidFill>
                            <a:schemeClr val="bg1"/>
                          </a:solidFill>
                        </a:rPr>
                        <a:t>Bioloģisko vielu negadījums</a:t>
                      </a:r>
                    </a:p>
                    <a:p>
                      <a:pPr algn="ctr">
                        <a:spcAft>
                          <a:spcPts val="200"/>
                        </a:spcAft>
                      </a:pPr>
                      <a:r>
                        <a:rPr lang="lv-LV" sz="800">
                          <a:solidFill>
                            <a:schemeClr val="bg1"/>
                          </a:solidFill>
                        </a:rPr>
                        <a:t>Aviācijas nelaimes gadījums ar gaisa kuģi</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spcAft>
                          <a:spcPts val="200"/>
                        </a:spcAft>
                      </a:pP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3985653046"/>
                  </a:ext>
                </a:extLst>
              </a:tr>
              <a:tr h="360000">
                <a:tc>
                  <a:txBody>
                    <a:bodyPr/>
                    <a:lstStyle/>
                    <a:p>
                      <a:pPr algn="ctr">
                        <a:spcAft>
                          <a:spcPts val="200"/>
                        </a:spcAft>
                      </a:pPr>
                      <a:r>
                        <a:rPr lang="lv-LV" sz="800">
                          <a:solidFill>
                            <a:schemeClr val="tx1"/>
                          </a:solidFill>
                        </a:rPr>
                        <a:t>Apdraudējuma iespējamais seku līmenis</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spcAft>
                          <a:spcPts val="200"/>
                        </a:spcAft>
                      </a:pPr>
                      <a:r>
                        <a:rPr lang="lv-LV" sz="800">
                          <a:solidFill>
                            <a:schemeClr val="bg1"/>
                          </a:solidFill>
                        </a:rPr>
                        <a:t>Maznozīmī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0AD47"/>
                    </a:solidFill>
                  </a:tcPr>
                </a:tc>
                <a:tc>
                  <a:txBody>
                    <a:bodyPr/>
                    <a:lstStyle/>
                    <a:p>
                      <a:pPr algn="ctr">
                        <a:spcAft>
                          <a:spcPts val="200"/>
                        </a:spcAft>
                      </a:pPr>
                      <a:r>
                        <a:rPr lang="lv-LV" sz="800"/>
                        <a:t>Nozīmīgas seka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C000"/>
                    </a:solidFill>
                  </a:tcPr>
                </a:tc>
                <a:tc>
                  <a:txBody>
                    <a:bodyPr/>
                    <a:lstStyle/>
                    <a:p>
                      <a:pPr algn="ctr">
                        <a:spcAft>
                          <a:spcPts val="200"/>
                        </a:spcAft>
                      </a:pPr>
                      <a:r>
                        <a:rPr lang="lv-LV" sz="800">
                          <a:solidFill>
                            <a:schemeClr val="tx1"/>
                          </a:solidFill>
                        </a:rPr>
                        <a:t>Vidējas sek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D7D31"/>
                    </a:solidFill>
                  </a:tcPr>
                </a:tc>
                <a:tc>
                  <a:txBody>
                    <a:bodyPr/>
                    <a:lstStyle/>
                    <a:p>
                      <a:pPr algn="ctr">
                        <a:spcAft>
                          <a:spcPts val="200"/>
                        </a:spcAft>
                      </a:pPr>
                      <a:r>
                        <a:rPr lang="lv-LV" sz="800">
                          <a:solidFill>
                            <a:schemeClr val="bg1"/>
                          </a:solidFill>
                        </a:rPr>
                        <a:t>Sma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0000"/>
                    </a:solidFill>
                  </a:tcPr>
                </a:tc>
                <a:tc>
                  <a:txBody>
                    <a:bodyPr/>
                    <a:lstStyle/>
                    <a:p>
                      <a:pPr algn="ctr">
                        <a:spcAft>
                          <a:spcPts val="200"/>
                        </a:spcAft>
                      </a:pPr>
                      <a:r>
                        <a:rPr lang="lv-LV" sz="800" dirty="0">
                          <a:solidFill>
                            <a:schemeClr val="bg1"/>
                          </a:solidFill>
                        </a:rPr>
                        <a:t>Katastrofālas sekas</a:t>
                      </a:r>
                      <a:endParaRPr lang="en-GB" sz="800" dirty="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342551084"/>
                  </a:ext>
                </a:extLst>
              </a:tr>
            </a:tbl>
          </a:graphicData>
        </a:graphic>
      </p:graphicFrame>
      <p:cxnSp>
        <p:nvCxnSpPr>
          <p:cNvPr id="24" name="Straight Arrow Connector 23">
            <a:extLst>
              <a:ext uri="{FF2B5EF4-FFF2-40B4-BE49-F238E27FC236}">
                <a16:creationId xmlns:a16="http://schemas.microsoft.com/office/drawing/2014/main" id="{D95F2A54-4CAF-620A-BE0B-CF50004DF0E3}"/>
              </a:ext>
            </a:extLst>
          </p:cNvPr>
          <p:cNvCxnSpPr>
            <a:cxnSpLocks/>
          </p:cNvCxnSpPr>
          <p:nvPr/>
        </p:nvCxnSpPr>
        <p:spPr>
          <a:xfrm>
            <a:off x="442911" y="1662375"/>
            <a:ext cx="0" cy="317528"/>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cxnSp>
        <p:nvCxnSpPr>
          <p:cNvPr id="25" name="Straight Arrow Connector 24">
            <a:extLst>
              <a:ext uri="{FF2B5EF4-FFF2-40B4-BE49-F238E27FC236}">
                <a16:creationId xmlns:a16="http://schemas.microsoft.com/office/drawing/2014/main" id="{5E67A504-DF01-D349-EE22-F99AA1F98667}"/>
              </a:ext>
            </a:extLst>
          </p:cNvPr>
          <p:cNvCxnSpPr>
            <a:cxnSpLocks/>
          </p:cNvCxnSpPr>
          <p:nvPr/>
        </p:nvCxnSpPr>
        <p:spPr>
          <a:xfrm>
            <a:off x="427294" y="6012405"/>
            <a:ext cx="1508186" cy="0"/>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sp>
        <p:nvSpPr>
          <p:cNvPr id="19" name="Title 1">
            <a:extLst>
              <a:ext uri="{FF2B5EF4-FFF2-40B4-BE49-F238E27FC236}">
                <a16:creationId xmlns:a16="http://schemas.microsoft.com/office/drawing/2014/main" id="{D4CCCA12-6848-7E0B-CD7A-E85D849E9DCF}"/>
              </a:ext>
            </a:extLst>
          </p:cNvPr>
          <p:cNvSpPr>
            <a:spLocks noGrp="1"/>
          </p:cNvSpPr>
          <p:nvPr>
            <p:ph type="title"/>
          </p:nvPr>
        </p:nvSpPr>
        <p:spPr>
          <a:xfrm>
            <a:off x="442913" y="432001"/>
            <a:ext cx="11306175" cy="1387274"/>
          </a:xfrm>
        </p:spPr>
        <p:txBody>
          <a:bodyPr vert="horz"/>
          <a:lstStyle/>
          <a:p>
            <a:r>
              <a:rPr lang="lv-LV" dirty="0"/>
              <a:t>Katastrofu risku kopsavilkums Valsts civilās </a:t>
            </a:r>
            <a:br>
              <a:rPr lang="lv-LV" dirty="0"/>
            </a:br>
            <a:r>
              <a:rPr lang="lv-LV" dirty="0"/>
              <a:t>aizsardzības plānā </a:t>
            </a:r>
          </a:p>
        </p:txBody>
      </p:sp>
      <p:sp>
        <p:nvSpPr>
          <p:cNvPr id="3" name="Rectangle 2">
            <a:extLst>
              <a:ext uri="{FF2B5EF4-FFF2-40B4-BE49-F238E27FC236}">
                <a16:creationId xmlns:a16="http://schemas.microsoft.com/office/drawing/2014/main" id="{93FDAF7C-A0AC-018B-27DA-EF7DA4739F1A}"/>
              </a:ext>
            </a:extLst>
          </p:cNvPr>
          <p:cNvSpPr/>
          <p:nvPr/>
        </p:nvSpPr>
        <p:spPr>
          <a:xfrm>
            <a:off x="442910" y="6128425"/>
            <a:ext cx="5610227" cy="34657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5" name="Freeform 50">
            <a:extLst>
              <a:ext uri="{FF2B5EF4-FFF2-40B4-BE49-F238E27FC236}">
                <a16:creationId xmlns:a16="http://schemas.microsoft.com/office/drawing/2014/main" id="{4FE39BAA-3855-F918-037E-E234B0D06CF1}"/>
              </a:ext>
            </a:extLst>
          </p:cNvPr>
          <p:cNvSpPr>
            <a:spLocks noChangeAspect="1"/>
          </p:cNvSpPr>
          <p:nvPr/>
        </p:nvSpPr>
        <p:spPr bwMode="auto">
          <a:xfrm>
            <a:off x="580102" y="6195906"/>
            <a:ext cx="230247" cy="231772"/>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83" b="0" i="0" u="none" strike="noStrike" kern="1200" cap="none" spc="0" normalizeH="0" baseline="0" noProof="0">
              <a:ln>
                <a:noFill/>
              </a:ln>
              <a:solidFill>
                <a:srgbClr val="000000"/>
              </a:solidFill>
              <a:effectLst/>
              <a:uLnTx/>
              <a:uFillTx/>
              <a:latin typeface="Arial"/>
              <a:ea typeface="+mn-ea"/>
              <a:cs typeface="+mn-cs"/>
            </a:endParaRPr>
          </a:p>
        </p:txBody>
      </p:sp>
      <p:sp>
        <p:nvSpPr>
          <p:cNvPr id="6" name="Google Shape;2685;p25">
            <a:extLst>
              <a:ext uri="{FF2B5EF4-FFF2-40B4-BE49-F238E27FC236}">
                <a16:creationId xmlns:a16="http://schemas.microsoft.com/office/drawing/2014/main" id="{C2B114F8-791F-3D8F-C14A-C45AA40956E8}"/>
              </a:ext>
            </a:extLst>
          </p:cNvPr>
          <p:cNvSpPr txBox="1"/>
          <p:nvPr/>
        </p:nvSpPr>
        <p:spPr>
          <a:xfrm>
            <a:off x="987293" y="6213063"/>
            <a:ext cx="3531367" cy="169277"/>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100" b="0" i="0" u="none" strike="noStrike" kern="1200" cap="none" spc="0" normalizeH="0" baseline="0" noProof="0">
                <a:ln>
                  <a:noFill/>
                </a:ln>
                <a:solidFill>
                  <a:srgbClr val="000000"/>
                </a:solidFill>
                <a:effectLst/>
                <a:uLnTx/>
                <a:uFillTx/>
                <a:latin typeface="Arial"/>
                <a:ea typeface="+mn-ea"/>
                <a:cs typeface="+mn-cs"/>
                <a:hlinkClick r:id="rId3">
                  <a:extLst>
                    <a:ext uri="{A12FA001-AC4F-418D-AE19-62706E023703}">
                      <ahyp:hlinkClr xmlns:ahyp="http://schemas.microsoft.com/office/drawing/2018/hyperlinkcolor" val="tx"/>
                    </a:ext>
                  </a:extLst>
                </a:hlinkClick>
              </a:rPr>
              <a:t>Katastrofu riska novērtēšanas rekomendācijas</a:t>
            </a:r>
            <a:endParaRPr kumimoji="0" lang="lv-LV" sz="1100" b="0" i="0" u="none" strike="noStrike" kern="1200" cap="none" spc="0" normalizeH="0" baseline="0" noProof="0">
              <a:ln>
                <a:noFill/>
              </a:ln>
              <a:solidFill>
                <a:srgbClr val="000000"/>
              </a:solidFill>
              <a:effectLst/>
              <a:uLnTx/>
              <a:uFillTx/>
              <a:latin typeface="Arial"/>
              <a:ea typeface="+mn-ea"/>
              <a:cs typeface="+mn-cs"/>
            </a:endParaRPr>
          </a:p>
        </p:txBody>
      </p:sp>
      <p:sp>
        <p:nvSpPr>
          <p:cNvPr id="8" name="Rectangle 7">
            <a:extLst>
              <a:ext uri="{FF2B5EF4-FFF2-40B4-BE49-F238E27FC236}">
                <a16:creationId xmlns:a16="http://schemas.microsoft.com/office/drawing/2014/main" id="{387A30A5-377B-EA77-7775-034F370CA988}"/>
              </a:ext>
            </a:extLst>
          </p:cNvPr>
          <p:cNvSpPr/>
          <p:nvPr/>
        </p:nvSpPr>
        <p:spPr>
          <a:xfrm>
            <a:off x="6196555" y="6128425"/>
            <a:ext cx="5553075" cy="34657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Google Shape;2685;p25">
            <a:extLst>
              <a:ext uri="{FF2B5EF4-FFF2-40B4-BE49-F238E27FC236}">
                <a16:creationId xmlns:a16="http://schemas.microsoft.com/office/drawing/2014/main" id="{86B8BED1-C18C-9993-0D5F-7DC39D169396}"/>
              </a:ext>
            </a:extLst>
          </p:cNvPr>
          <p:cNvSpPr txBox="1"/>
          <p:nvPr/>
        </p:nvSpPr>
        <p:spPr>
          <a:xfrm>
            <a:off x="6764444" y="6213063"/>
            <a:ext cx="4797811" cy="169277"/>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100" b="0" i="0" u="none" strike="noStrike" kern="1200" cap="none" spc="0" normalizeH="0" baseline="0" noProof="0">
                <a:ln>
                  <a:noFill/>
                </a:ln>
                <a:solidFill>
                  <a:srgbClr val="000000"/>
                </a:solidFill>
                <a:effectLst/>
                <a:uLnTx/>
                <a:uFillTx/>
                <a:latin typeface="Arial"/>
                <a:ea typeface="+mn-ea"/>
                <a:cs typeface="+mn-cs"/>
                <a:hlinkClick r:id="rId4">
                  <a:extLst>
                    <a:ext uri="{A12FA001-AC4F-418D-AE19-62706E023703}">
                      <ahyp:hlinkClr xmlns:ahyp="http://schemas.microsoft.com/office/drawing/2018/hyperlinkcolor" val="tx"/>
                    </a:ext>
                  </a:extLst>
                </a:hlinkClick>
              </a:rPr>
              <a:t>Par Valsts civilās aizsardzības plānu</a:t>
            </a:r>
            <a:endParaRPr kumimoji="0" lang="lv-LV" sz="1100" b="0" i="0" u="none" strike="noStrike" kern="1200" cap="none" spc="0" normalizeH="0" baseline="0" noProof="0">
              <a:ln>
                <a:noFill/>
              </a:ln>
              <a:solidFill>
                <a:srgbClr val="000000"/>
              </a:solidFill>
              <a:effectLst/>
              <a:uLnTx/>
              <a:uFillTx/>
              <a:latin typeface="Arial"/>
              <a:ea typeface="+mn-ea"/>
              <a:cs typeface="+mn-cs"/>
            </a:endParaRPr>
          </a:p>
        </p:txBody>
      </p:sp>
      <p:sp>
        <p:nvSpPr>
          <p:cNvPr id="10" name="Freeform 50">
            <a:extLst>
              <a:ext uri="{FF2B5EF4-FFF2-40B4-BE49-F238E27FC236}">
                <a16:creationId xmlns:a16="http://schemas.microsoft.com/office/drawing/2014/main" id="{D578A772-4E99-7B88-CA71-FEB4DD5709AE}"/>
              </a:ext>
            </a:extLst>
          </p:cNvPr>
          <p:cNvSpPr>
            <a:spLocks noChangeAspect="1"/>
          </p:cNvSpPr>
          <p:nvPr/>
        </p:nvSpPr>
        <p:spPr bwMode="auto">
          <a:xfrm>
            <a:off x="6354811" y="6195906"/>
            <a:ext cx="230247" cy="231772"/>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83" b="0" i="0" u="none" strike="noStrike" kern="1200" cap="none" spc="0" normalizeH="0" baseline="0" noProof="0">
              <a:ln>
                <a:noFill/>
              </a:ln>
              <a:solidFill>
                <a:srgbClr val="000000"/>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A7E0CEEC-482D-6F0B-B3B8-C36867AD2018}"/>
              </a:ext>
            </a:extLst>
          </p:cNvPr>
          <p:cNvGrpSpPr/>
          <p:nvPr/>
        </p:nvGrpSpPr>
        <p:grpSpPr>
          <a:xfrm>
            <a:off x="8801780" y="159786"/>
            <a:ext cx="2947308" cy="217488"/>
            <a:chOff x="8559953" y="967274"/>
            <a:chExt cx="2947308" cy="217488"/>
          </a:xfrm>
        </p:grpSpPr>
        <p:sp>
          <p:nvSpPr>
            <p:cNvPr id="27" name="Rectangle 26">
              <a:extLst>
                <a:ext uri="{FF2B5EF4-FFF2-40B4-BE49-F238E27FC236}">
                  <a16:creationId xmlns:a16="http://schemas.microsoft.com/office/drawing/2014/main" id="{2040CC6E-035D-E13D-6CA7-9144DA52AC8F}"/>
                </a:ext>
              </a:extLst>
            </p:cNvPr>
            <p:cNvSpPr/>
            <p:nvPr/>
          </p:nvSpPr>
          <p:spPr>
            <a:xfrm>
              <a:off x="9043607" y="96727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5</a:t>
              </a:r>
              <a:r>
                <a:rPr kumimoji="0" lang="lv-LV" sz="800" b="1" i="0" u="none" strike="noStrike" kern="0" cap="none" spc="0" normalizeH="0" baseline="0" dirty="0">
                  <a:ln>
                    <a:noFill/>
                  </a:ln>
                  <a:effectLst/>
                  <a:uLnTx/>
                  <a:uFillTx/>
                  <a:ea typeface="Georgia"/>
                  <a:cs typeface="Georgia"/>
                  <a:sym typeface="Georgia"/>
                </a:rPr>
                <a:t>.</a:t>
              </a:r>
              <a:r>
                <a:rPr kumimoji="0" lang="en-US" sz="800" b="1" i="0" u="none" strike="noStrike" kern="0" cap="none" spc="0" normalizeH="0" baseline="0" dirty="0">
                  <a:ln>
                    <a:noFill/>
                  </a:ln>
                  <a:effectLst/>
                  <a:uLnTx/>
                  <a:uFillTx/>
                  <a:ea typeface="Georgia"/>
                  <a:cs typeface="Georgia"/>
                  <a:sym typeface="Georgia"/>
                </a:rPr>
                <a:t>3</a:t>
              </a:r>
              <a:endParaRPr kumimoji="0" lang="lv-LV" sz="800" b="1" i="0" u="none" strike="noStrike" kern="0" cap="none" spc="0" normalizeH="0" baseline="0" dirty="0">
                <a:ln>
                  <a:noFill/>
                </a:ln>
                <a:effectLst/>
                <a:uLnTx/>
                <a:uFillTx/>
                <a:ea typeface="Georgia"/>
                <a:cs typeface="Georgia"/>
                <a:sym typeface="Georgia"/>
              </a:endParaRPr>
            </a:p>
          </p:txBody>
        </p:sp>
        <p:sp>
          <p:nvSpPr>
            <p:cNvPr id="28" name="Rectangle 27">
              <a:extLst>
                <a:ext uri="{FF2B5EF4-FFF2-40B4-BE49-F238E27FC236}">
                  <a16:creationId xmlns:a16="http://schemas.microsoft.com/office/drawing/2014/main" id="{9E5F5EE3-6B93-6A4E-C5FD-1D5C28FB1F6B}"/>
                </a:ext>
              </a:extLst>
            </p:cNvPr>
            <p:cNvSpPr/>
            <p:nvPr/>
          </p:nvSpPr>
          <p:spPr>
            <a:xfrm>
              <a:off x="11291261" y="9672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4</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29" name="Rectangle 28">
              <a:extLst>
                <a:ext uri="{FF2B5EF4-FFF2-40B4-BE49-F238E27FC236}">
                  <a16:creationId xmlns:a16="http://schemas.microsoft.com/office/drawing/2014/main" id="{25C883CA-68A7-0DB6-DE54-1D85D57EE3F8}"/>
                </a:ext>
              </a:extLst>
            </p:cNvPr>
            <p:cNvSpPr/>
            <p:nvPr/>
          </p:nvSpPr>
          <p:spPr>
            <a:xfrm>
              <a:off x="9285434" y="967274"/>
              <a:ext cx="198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Apdraudējuma riska novērtēšana</a:t>
              </a:r>
              <a:endParaRPr kumimoji="0" lang="en-US" sz="800" b="1" i="0" u="none" strike="noStrike" kern="0" cap="none" spc="0" normalizeH="0" baseline="0" dirty="0">
                <a:ln>
                  <a:noFill/>
                </a:ln>
                <a:effectLst/>
                <a:uLnTx/>
                <a:uFillTx/>
                <a:ea typeface="Georgia"/>
                <a:cs typeface="Georgia"/>
                <a:sym typeface="Georgia"/>
              </a:endParaRPr>
            </a:p>
          </p:txBody>
        </p:sp>
        <p:sp>
          <p:nvSpPr>
            <p:cNvPr id="30" name="Rectangle 29">
              <a:extLst>
                <a:ext uri="{FF2B5EF4-FFF2-40B4-BE49-F238E27FC236}">
                  <a16:creationId xmlns:a16="http://schemas.microsoft.com/office/drawing/2014/main" id="{1291ECD9-E876-2D46-37F1-3B8C41670DAC}"/>
                </a:ext>
              </a:extLst>
            </p:cNvPr>
            <p:cNvSpPr/>
            <p:nvPr/>
          </p:nvSpPr>
          <p:spPr>
            <a:xfrm>
              <a:off x="8801780" y="9672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2</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F3125593-183F-F163-EB91-F973A8AD8510}"/>
                </a:ext>
              </a:extLst>
            </p:cNvPr>
            <p:cNvSpPr/>
            <p:nvPr/>
          </p:nvSpPr>
          <p:spPr>
            <a:xfrm>
              <a:off x="8559953" y="9672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3275824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BFF6DBE8-6100-2647-D3F1-5ECCFDAAD7BB}"/>
              </a:ext>
            </a:extLst>
          </p:cNvPr>
          <p:cNvSpPr/>
          <p:nvPr/>
        </p:nvSpPr>
        <p:spPr>
          <a:xfrm>
            <a:off x="441325" y="3632424"/>
            <a:ext cx="5474381" cy="2548545"/>
          </a:xfrm>
          <a:prstGeom prst="rect">
            <a:avLst/>
          </a:prstGeom>
          <a:solidFill>
            <a:schemeClr val="bg1"/>
          </a:solidFill>
          <a:ln>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19" name="Title 1">
            <a:extLst>
              <a:ext uri="{FF2B5EF4-FFF2-40B4-BE49-F238E27FC236}">
                <a16:creationId xmlns:a16="http://schemas.microsoft.com/office/drawing/2014/main" id="{D4CCCA12-6848-7E0B-CD7A-E85D849E9DCF}"/>
              </a:ext>
            </a:extLst>
          </p:cNvPr>
          <p:cNvSpPr>
            <a:spLocks noGrp="1"/>
          </p:cNvSpPr>
          <p:nvPr>
            <p:ph type="title"/>
          </p:nvPr>
        </p:nvSpPr>
        <p:spPr>
          <a:xfrm>
            <a:off x="442913" y="432001"/>
            <a:ext cx="11306175" cy="1387274"/>
          </a:xfrm>
        </p:spPr>
        <p:txBody>
          <a:bodyPr vert="horz"/>
          <a:lstStyle/>
          <a:p>
            <a:r>
              <a:rPr lang="lv-LV"/>
              <a:t>Riska novērtēšanas piemērs</a:t>
            </a:r>
            <a:br>
              <a:rPr lang="lv-LV"/>
            </a:br>
            <a:r>
              <a:rPr lang="lv-LV">
                <a:solidFill>
                  <a:srgbClr val="9D2235"/>
                </a:solidFill>
              </a:rPr>
              <a:t>Riska analīze paliem un ledus sanesumiem</a:t>
            </a:r>
          </a:p>
        </p:txBody>
      </p:sp>
      <p:pic>
        <p:nvPicPr>
          <p:cNvPr id="6" name="Picture 5">
            <a:extLst>
              <a:ext uri="{FF2B5EF4-FFF2-40B4-BE49-F238E27FC236}">
                <a16:creationId xmlns:a16="http://schemas.microsoft.com/office/drawing/2014/main" id="{B53044FE-6C0B-A9F2-D69F-2B58575FC368}"/>
              </a:ext>
            </a:extLst>
          </p:cNvPr>
          <p:cNvPicPr>
            <a:picLocks noChangeAspect="1"/>
          </p:cNvPicPr>
          <p:nvPr/>
        </p:nvPicPr>
        <p:blipFill>
          <a:blip r:embed="rId3"/>
          <a:stretch>
            <a:fillRect/>
          </a:stretch>
        </p:blipFill>
        <p:spPr>
          <a:xfrm>
            <a:off x="1264524" y="3735034"/>
            <a:ext cx="3827983" cy="2343324"/>
          </a:xfrm>
          <a:prstGeom prst="rect">
            <a:avLst/>
          </a:prstGeom>
        </p:spPr>
      </p:pic>
      <p:sp>
        <p:nvSpPr>
          <p:cNvPr id="2" name="Rectangle 1">
            <a:extLst>
              <a:ext uri="{FF2B5EF4-FFF2-40B4-BE49-F238E27FC236}">
                <a16:creationId xmlns:a16="http://schemas.microsoft.com/office/drawing/2014/main" id="{06DCA747-B9D8-8ADE-3F74-0F9E20FF45C0}"/>
              </a:ext>
            </a:extLst>
          </p:cNvPr>
          <p:cNvSpPr/>
          <p:nvPr/>
        </p:nvSpPr>
        <p:spPr>
          <a:xfrm>
            <a:off x="441326" y="1731202"/>
            <a:ext cx="576000" cy="1110549"/>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3" name="L-Shape 2">
            <a:extLst>
              <a:ext uri="{FF2B5EF4-FFF2-40B4-BE49-F238E27FC236}">
                <a16:creationId xmlns:a16="http://schemas.microsoft.com/office/drawing/2014/main" id="{FAD22E34-A4F8-722B-09D9-BB347185E8AB}"/>
              </a:ext>
            </a:extLst>
          </p:cNvPr>
          <p:cNvSpPr/>
          <p:nvPr/>
        </p:nvSpPr>
        <p:spPr>
          <a:xfrm rot="13500000">
            <a:off x="562835" y="2202750"/>
            <a:ext cx="261934"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4" name="Rectangle 3">
            <a:extLst>
              <a:ext uri="{FF2B5EF4-FFF2-40B4-BE49-F238E27FC236}">
                <a16:creationId xmlns:a16="http://schemas.microsoft.com/office/drawing/2014/main" id="{F0E40DF2-8D8D-9BF6-2301-6E96248EC892}"/>
              </a:ext>
            </a:extLst>
          </p:cNvPr>
          <p:cNvSpPr/>
          <p:nvPr/>
        </p:nvSpPr>
        <p:spPr>
          <a:xfrm>
            <a:off x="1120997" y="1730830"/>
            <a:ext cx="4794710" cy="111143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R="0" lvl="0" algn="l" defTabSz="914400" rtl="0" eaLnBrk="1" fontAlgn="auto" latinLnBrk="0" hangingPunct="1">
              <a:lnSpc>
                <a:spcPct val="100000"/>
              </a:lnSpc>
              <a:spcBef>
                <a:spcPts val="0"/>
              </a:spcBef>
              <a:buClrTx/>
              <a:buSzPct val="100000"/>
              <a:tabLst/>
              <a:defRPr/>
            </a:pPr>
            <a:r>
              <a:rPr kumimoji="0" lang="lv-LV" sz="1400" b="0" i="0" u="none" strike="noStrike" kern="1200" cap="none" spc="0" normalizeH="0" baseline="0" noProof="0">
                <a:ln>
                  <a:noFill/>
                </a:ln>
                <a:solidFill>
                  <a:srgbClr val="000000"/>
                </a:solidFill>
                <a:effectLst/>
                <a:uLnTx/>
                <a:uFillTx/>
                <a:latin typeface="Arial"/>
                <a:ea typeface="+mn-ea"/>
                <a:cs typeface="+mn-cs"/>
              </a:rPr>
              <a:t>Palu un ledus sanesumu riskam kā analīzes primārais indikators tika izvēlēta gada nokrišņu daudzuma summa sniega formā (GSS), laika periodam no 1950. gada līdz 2100. gadam</a:t>
            </a:r>
          </a:p>
        </p:txBody>
      </p:sp>
      <p:sp>
        <p:nvSpPr>
          <p:cNvPr id="5" name="Rectangle 4">
            <a:extLst>
              <a:ext uri="{FF2B5EF4-FFF2-40B4-BE49-F238E27FC236}">
                <a16:creationId xmlns:a16="http://schemas.microsoft.com/office/drawing/2014/main" id="{9787A234-A1D8-43FC-7FE8-7A03130CE9BE}"/>
              </a:ext>
            </a:extLst>
          </p:cNvPr>
          <p:cNvSpPr/>
          <p:nvPr/>
        </p:nvSpPr>
        <p:spPr>
          <a:xfrm>
            <a:off x="441326" y="2973459"/>
            <a:ext cx="576000" cy="550407"/>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8" name="L-Shape 7">
            <a:extLst>
              <a:ext uri="{FF2B5EF4-FFF2-40B4-BE49-F238E27FC236}">
                <a16:creationId xmlns:a16="http://schemas.microsoft.com/office/drawing/2014/main" id="{C24B7FCE-A10A-52B6-0B87-F8B9F29E1530}"/>
              </a:ext>
            </a:extLst>
          </p:cNvPr>
          <p:cNvSpPr/>
          <p:nvPr/>
        </p:nvSpPr>
        <p:spPr>
          <a:xfrm rot="13500000">
            <a:off x="580626" y="3128117"/>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10" name="Rectangle 9">
            <a:extLst>
              <a:ext uri="{FF2B5EF4-FFF2-40B4-BE49-F238E27FC236}">
                <a16:creationId xmlns:a16="http://schemas.microsoft.com/office/drawing/2014/main" id="{70499C89-EF94-DC92-AA80-0BA09E03764B}"/>
              </a:ext>
            </a:extLst>
          </p:cNvPr>
          <p:cNvSpPr/>
          <p:nvPr/>
        </p:nvSpPr>
        <p:spPr>
          <a:xfrm>
            <a:off x="1120997" y="2973240"/>
            <a:ext cx="4794710" cy="55084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R="0" lvl="0" algn="l" defTabSz="914400" rtl="0" eaLnBrk="1" fontAlgn="auto" latinLnBrk="0" hangingPunct="1">
              <a:lnSpc>
                <a:spcPct val="100000"/>
              </a:lnSpc>
              <a:spcBef>
                <a:spcPts val="0"/>
              </a:spcBef>
              <a:buClrTx/>
              <a:buSzPct val="100000"/>
              <a:tabLst/>
              <a:defRPr/>
            </a:pPr>
            <a:r>
              <a:rPr kumimoji="0" lang="lv-LV" sz="1400" b="0" i="0" u="none" strike="noStrike" kern="1200" cap="none" spc="0" normalizeH="0" baseline="0" noProof="0">
                <a:ln>
                  <a:noFill/>
                </a:ln>
                <a:solidFill>
                  <a:srgbClr val="000000"/>
                </a:solidFill>
                <a:effectLst/>
                <a:uLnTx/>
                <a:uFillTx/>
                <a:latin typeface="Arial"/>
                <a:ea typeface="+mn-ea"/>
                <a:cs typeface="+mn-cs"/>
              </a:rPr>
              <a:t>Ar tumši zaļu līniju attēlots GSS laika grafiks, kas aprēķināts no LVĢMC novērojumiem</a:t>
            </a:r>
          </a:p>
        </p:txBody>
      </p:sp>
      <p:sp>
        <p:nvSpPr>
          <p:cNvPr id="16" name="Rectangle 15">
            <a:extLst>
              <a:ext uri="{FF2B5EF4-FFF2-40B4-BE49-F238E27FC236}">
                <a16:creationId xmlns:a16="http://schemas.microsoft.com/office/drawing/2014/main" id="{03C4D676-D0C5-038D-6DE5-DBC38148FEF9}"/>
              </a:ext>
            </a:extLst>
          </p:cNvPr>
          <p:cNvSpPr/>
          <p:nvPr/>
        </p:nvSpPr>
        <p:spPr>
          <a:xfrm>
            <a:off x="6273272" y="4947632"/>
            <a:ext cx="576000" cy="5508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17" name="L-Shape 16">
            <a:extLst>
              <a:ext uri="{FF2B5EF4-FFF2-40B4-BE49-F238E27FC236}">
                <a16:creationId xmlns:a16="http://schemas.microsoft.com/office/drawing/2014/main" id="{F42519D9-ED60-B6C3-7DC1-7548A5800E03}"/>
              </a:ext>
            </a:extLst>
          </p:cNvPr>
          <p:cNvSpPr/>
          <p:nvPr/>
        </p:nvSpPr>
        <p:spPr>
          <a:xfrm rot="13500000">
            <a:off x="6412572" y="5102518"/>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2DF88B6B-DAF2-6E78-7782-C4A54D8405F4}"/>
              </a:ext>
            </a:extLst>
          </p:cNvPr>
          <p:cNvSpPr/>
          <p:nvPr/>
        </p:nvSpPr>
        <p:spPr>
          <a:xfrm>
            <a:off x="6952943" y="4947632"/>
            <a:ext cx="4794710" cy="5508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R="0" lvl="0" algn="l" defTabSz="914400" rtl="0" eaLnBrk="1" fontAlgn="auto" latinLnBrk="0" hangingPunct="1">
              <a:lnSpc>
                <a:spcPct val="100000"/>
              </a:lnSpc>
              <a:spcBef>
                <a:spcPts val="0"/>
              </a:spcBef>
              <a:buClrTx/>
              <a:buSzPct val="100000"/>
              <a:tabLst/>
              <a:defRPr/>
            </a:pPr>
            <a:r>
              <a:rPr kumimoji="0" lang="lv-LV" sz="1400" b="0" i="0" u="none" strike="noStrike" kern="1200" cap="none" spc="0" normalizeH="0" baseline="0" noProof="0">
                <a:ln>
                  <a:noFill/>
                </a:ln>
                <a:solidFill>
                  <a:srgbClr val="000000"/>
                </a:solidFill>
                <a:effectLst/>
                <a:uLnTx/>
                <a:uFillTx/>
                <a:latin typeface="Arial"/>
                <a:ea typeface="+mn-ea"/>
                <a:cs typeface="+mn-cs"/>
              </a:rPr>
              <a:t>S</a:t>
            </a:r>
            <a:r>
              <a:rPr kumimoji="0" lang="en-GB" sz="1400" b="0" i="0" u="none" strike="noStrike" kern="1200" cap="none" spc="0" normalizeH="0" baseline="0" noProof="0" err="1">
                <a:ln>
                  <a:noFill/>
                </a:ln>
                <a:solidFill>
                  <a:srgbClr val="000000"/>
                </a:solidFill>
                <a:effectLst/>
                <a:uLnTx/>
                <a:uFillTx/>
                <a:latin typeface="Arial"/>
                <a:ea typeface="+mn-ea"/>
                <a:cs typeface="+mn-cs"/>
              </a:rPr>
              <a:t>niega</a:t>
            </a:r>
            <a:r>
              <a:rPr kumimoji="0" lang="en-GB" sz="1400" b="0" i="0" u="none" strike="noStrike" kern="1200" cap="none" spc="0" normalizeH="0" baseline="0" noProof="0">
                <a:ln>
                  <a:noFill/>
                </a:ln>
                <a:solidFill>
                  <a:srgbClr val="000000"/>
                </a:solidFill>
                <a:effectLst/>
                <a:uLnTx/>
                <a:uFillTx/>
                <a:latin typeface="Arial"/>
                <a:ea typeface="+mn-ea"/>
                <a:cs typeface="+mn-cs"/>
              </a:rPr>
              <a:t> </a:t>
            </a:r>
            <a:r>
              <a:rPr kumimoji="0" lang="en-GB" sz="1400" b="0" i="0" u="none" strike="noStrike" kern="1200" cap="none" spc="0" normalizeH="0" baseline="0" noProof="0" err="1">
                <a:ln>
                  <a:noFill/>
                </a:ln>
                <a:solidFill>
                  <a:srgbClr val="000000"/>
                </a:solidFill>
                <a:effectLst/>
                <a:uLnTx/>
                <a:uFillTx/>
                <a:latin typeface="Arial"/>
                <a:ea typeface="+mn-ea"/>
                <a:cs typeface="+mn-cs"/>
              </a:rPr>
              <a:t>sega</a:t>
            </a:r>
            <a:r>
              <a:rPr kumimoji="0" lang="en-GB" sz="1400" b="0" i="0" u="none" strike="noStrike" kern="1200" cap="none" spc="0" normalizeH="0" baseline="0" noProof="0">
                <a:ln>
                  <a:noFill/>
                </a:ln>
                <a:solidFill>
                  <a:srgbClr val="000000"/>
                </a:solidFill>
                <a:effectLst/>
                <a:uLnTx/>
                <a:uFillTx/>
                <a:latin typeface="Arial"/>
                <a:ea typeface="+mn-ea"/>
                <a:cs typeface="+mn-cs"/>
              </a:rPr>
              <a:t> </a:t>
            </a:r>
            <a:r>
              <a:rPr kumimoji="0" lang="en-GB" sz="1400" b="0" i="0" u="none" strike="noStrike" kern="1200" cap="none" spc="0" normalizeH="0" baseline="0" noProof="0" err="1">
                <a:ln>
                  <a:noFill/>
                </a:ln>
                <a:solidFill>
                  <a:srgbClr val="000000"/>
                </a:solidFill>
                <a:effectLst/>
                <a:uLnTx/>
                <a:uFillTx/>
                <a:latin typeface="Arial"/>
                <a:ea typeface="+mn-ea"/>
                <a:cs typeface="+mn-cs"/>
              </a:rPr>
              <a:t>nākotnē</a:t>
            </a:r>
            <a:r>
              <a:rPr kumimoji="0" lang="en-GB" sz="1400" b="0" i="0" u="none" strike="noStrike" kern="1200" cap="none" spc="0" normalizeH="0" baseline="0" noProof="0">
                <a:ln>
                  <a:noFill/>
                </a:ln>
                <a:solidFill>
                  <a:srgbClr val="000000"/>
                </a:solidFill>
                <a:effectLst/>
                <a:uLnTx/>
                <a:uFillTx/>
                <a:latin typeface="Arial"/>
                <a:ea typeface="+mn-ea"/>
                <a:cs typeface="+mn-cs"/>
              </a:rPr>
              <a:t> </a:t>
            </a:r>
            <a:r>
              <a:rPr kumimoji="0" lang="en-GB" sz="1400" b="0" i="0" u="none" strike="noStrike" kern="1200" cap="none" spc="0" normalizeH="0" baseline="0" noProof="0" err="1">
                <a:ln>
                  <a:noFill/>
                </a:ln>
                <a:solidFill>
                  <a:srgbClr val="000000"/>
                </a:solidFill>
                <a:effectLst/>
                <a:uLnTx/>
                <a:uFillTx/>
                <a:latin typeface="Arial"/>
                <a:ea typeface="+mn-ea"/>
                <a:cs typeface="+mn-cs"/>
              </a:rPr>
              <a:t>samazināsies</a:t>
            </a:r>
            <a:r>
              <a:rPr kumimoji="0" lang="en-GB" sz="1400" b="0" i="0" u="none" strike="noStrike" kern="1200" cap="none" spc="0" normalizeH="0" baseline="0" noProof="0">
                <a:ln>
                  <a:noFill/>
                </a:ln>
                <a:solidFill>
                  <a:srgbClr val="000000"/>
                </a:solidFill>
                <a:effectLst/>
                <a:uLnTx/>
                <a:uFillTx/>
                <a:latin typeface="Arial"/>
                <a:ea typeface="+mn-ea"/>
                <a:cs typeface="+mn-cs"/>
              </a:rPr>
              <a:t>, un, </a:t>
            </a:r>
            <a:r>
              <a:rPr kumimoji="0" lang="en-GB" sz="1400" b="0" i="0" u="none" strike="noStrike" kern="1200" cap="none" spc="0" normalizeH="0" baseline="0" noProof="0" err="1">
                <a:ln>
                  <a:noFill/>
                </a:ln>
                <a:solidFill>
                  <a:srgbClr val="000000"/>
                </a:solidFill>
                <a:effectLst/>
                <a:uLnTx/>
                <a:uFillTx/>
                <a:latin typeface="Arial"/>
                <a:ea typeface="+mn-ea"/>
                <a:cs typeface="+mn-cs"/>
              </a:rPr>
              <a:t>atbilstoši</a:t>
            </a:r>
            <a:r>
              <a:rPr kumimoji="0" lang="en-GB" sz="1400" b="0" i="0" u="none" strike="noStrike" kern="1200" cap="none" spc="0" normalizeH="0" baseline="0" noProof="0">
                <a:ln>
                  <a:noFill/>
                </a:ln>
                <a:solidFill>
                  <a:srgbClr val="000000"/>
                </a:solidFill>
                <a:effectLst/>
                <a:uLnTx/>
                <a:uFillTx/>
                <a:latin typeface="Arial"/>
                <a:ea typeface="+mn-ea"/>
                <a:cs typeface="+mn-cs"/>
              </a:rPr>
              <a:t>, </a:t>
            </a:r>
            <a:r>
              <a:rPr kumimoji="0" lang="en-GB" sz="1400" b="0" i="0" u="none" strike="noStrike" kern="1200" cap="none" spc="0" normalizeH="0" baseline="0" noProof="0" err="1">
                <a:ln>
                  <a:noFill/>
                </a:ln>
                <a:solidFill>
                  <a:srgbClr val="000000"/>
                </a:solidFill>
                <a:effectLst/>
                <a:uLnTx/>
                <a:uFillTx/>
                <a:latin typeface="Arial"/>
                <a:ea typeface="+mn-ea"/>
                <a:cs typeface="+mn-cs"/>
              </a:rPr>
              <a:t>paredzama</a:t>
            </a:r>
            <a:r>
              <a:rPr kumimoji="0" lang="en-GB" sz="1400" b="0" i="0" u="none" strike="noStrike" kern="1200" cap="none" spc="0" normalizeH="0" baseline="0" noProof="0">
                <a:ln>
                  <a:noFill/>
                </a:ln>
                <a:solidFill>
                  <a:srgbClr val="000000"/>
                </a:solidFill>
                <a:effectLst/>
                <a:uLnTx/>
                <a:uFillTx/>
                <a:latin typeface="Arial"/>
                <a:ea typeface="+mn-ea"/>
                <a:cs typeface="+mn-cs"/>
              </a:rPr>
              <a:t> </a:t>
            </a:r>
            <a:r>
              <a:rPr kumimoji="0" lang="en-GB" sz="1400" b="0" i="0" u="none" strike="noStrike" kern="1200" cap="none" spc="0" normalizeH="0" baseline="0" noProof="0" err="1">
                <a:ln>
                  <a:noFill/>
                </a:ln>
                <a:solidFill>
                  <a:srgbClr val="000000"/>
                </a:solidFill>
                <a:effectLst/>
                <a:uLnTx/>
                <a:uFillTx/>
                <a:latin typeface="Arial"/>
                <a:ea typeface="+mn-ea"/>
                <a:cs typeface="+mn-cs"/>
              </a:rPr>
              <a:t>arī</a:t>
            </a:r>
            <a:r>
              <a:rPr kumimoji="0" lang="en-GB" sz="1400" b="0" i="0" u="none" strike="noStrike" kern="1200" cap="none" spc="0" normalizeH="0" baseline="0" noProof="0">
                <a:ln>
                  <a:noFill/>
                </a:ln>
                <a:solidFill>
                  <a:srgbClr val="000000"/>
                </a:solidFill>
                <a:effectLst/>
                <a:uLnTx/>
                <a:uFillTx/>
                <a:latin typeface="Arial"/>
                <a:ea typeface="+mn-ea"/>
                <a:cs typeface="+mn-cs"/>
              </a:rPr>
              <a:t> </a:t>
            </a:r>
            <a:r>
              <a:rPr kumimoji="0" lang="en-GB" sz="1400" b="0" i="0" u="none" strike="noStrike" kern="1200" cap="none" spc="0" normalizeH="0" baseline="0" noProof="0" err="1">
                <a:ln>
                  <a:noFill/>
                </a:ln>
                <a:solidFill>
                  <a:srgbClr val="000000"/>
                </a:solidFill>
                <a:effectLst/>
                <a:uLnTx/>
                <a:uFillTx/>
                <a:latin typeface="Arial"/>
                <a:ea typeface="+mn-ea"/>
                <a:cs typeface="+mn-cs"/>
              </a:rPr>
              <a:t>palu</a:t>
            </a:r>
            <a:r>
              <a:rPr kumimoji="0" lang="en-GB" sz="1400" b="0" i="0" u="none" strike="noStrike" kern="1200" cap="none" spc="0" normalizeH="0" baseline="0" noProof="0">
                <a:ln>
                  <a:noFill/>
                </a:ln>
                <a:solidFill>
                  <a:srgbClr val="000000"/>
                </a:solidFill>
                <a:effectLst/>
                <a:uLnTx/>
                <a:uFillTx/>
                <a:latin typeface="Arial"/>
                <a:ea typeface="+mn-ea"/>
                <a:cs typeface="+mn-cs"/>
              </a:rPr>
              <a:t> </a:t>
            </a:r>
            <a:r>
              <a:rPr kumimoji="0" lang="en-GB" sz="1400" b="0" i="0" u="none" strike="noStrike" kern="1200" cap="none" spc="0" normalizeH="0" baseline="0" noProof="0" err="1">
                <a:ln>
                  <a:noFill/>
                </a:ln>
                <a:solidFill>
                  <a:srgbClr val="000000"/>
                </a:solidFill>
                <a:effectLst/>
                <a:uLnTx/>
                <a:uFillTx/>
                <a:latin typeface="Arial"/>
                <a:ea typeface="+mn-ea"/>
                <a:cs typeface="+mn-cs"/>
              </a:rPr>
              <a:t>maksimuma</a:t>
            </a:r>
            <a:r>
              <a:rPr kumimoji="0" lang="en-GB" sz="1400" b="0" i="0" u="none" strike="noStrike" kern="1200" cap="none" spc="0" normalizeH="0" baseline="0" noProof="0">
                <a:ln>
                  <a:noFill/>
                </a:ln>
                <a:solidFill>
                  <a:srgbClr val="000000"/>
                </a:solidFill>
                <a:effectLst/>
                <a:uLnTx/>
                <a:uFillTx/>
                <a:latin typeface="Arial"/>
                <a:ea typeface="+mn-ea"/>
                <a:cs typeface="+mn-cs"/>
              </a:rPr>
              <a:t> </a:t>
            </a:r>
            <a:r>
              <a:rPr kumimoji="0" lang="en-GB" sz="1400" b="0" i="0" u="none" strike="noStrike" kern="1200" cap="none" spc="0" normalizeH="0" baseline="0" noProof="0" err="1">
                <a:ln>
                  <a:noFill/>
                </a:ln>
                <a:solidFill>
                  <a:srgbClr val="000000"/>
                </a:solidFill>
                <a:effectLst/>
                <a:uLnTx/>
                <a:uFillTx/>
                <a:latin typeface="Arial"/>
                <a:ea typeface="+mn-ea"/>
                <a:cs typeface="+mn-cs"/>
              </a:rPr>
              <a:t>samazināšanās</a:t>
            </a:r>
            <a:endParaRPr kumimoji="0" lang="lv-LV" sz="1400" b="0" i="0" u="none" strike="noStrike" kern="1200" cap="none" spc="0" normalizeH="0" baseline="0" noProof="0">
              <a:ln>
                <a:noFill/>
              </a:ln>
              <a:solidFill>
                <a:srgbClr val="000000"/>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54608B4C-2EFB-87C8-694B-2F68996928EF}"/>
              </a:ext>
            </a:extLst>
          </p:cNvPr>
          <p:cNvSpPr/>
          <p:nvPr/>
        </p:nvSpPr>
        <p:spPr>
          <a:xfrm>
            <a:off x="6273272" y="5629695"/>
            <a:ext cx="576000" cy="550407"/>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24" name="L-Shape 23">
            <a:extLst>
              <a:ext uri="{FF2B5EF4-FFF2-40B4-BE49-F238E27FC236}">
                <a16:creationId xmlns:a16="http://schemas.microsoft.com/office/drawing/2014/main" id="{555870B5-6AD0-C185-9A58-9F873107E604}"/>
              </a:ext>
            </a:extLst>
          </p:cNvPr>
          <p:cNvSpPr/>
          <p:nvPr/>
        </p:nvSpPr>
        <p:spPr>
          <a:xfrm rot="13500000">
            <a:off x="6412572" y="5784353"/>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821E5D07-43E4-974B-205D-842E2C84443A}"/>
              </a:ext>
            </a:extLst>
          </p:cNvPr>
          <p:cNvSpPr/>
          <p:nvPr/>
        </p:nvSpPr>
        <p:spPr>
          <a:xfrm>
            <a:off x="6952943" y="5629476"/>
            <a:ext cx="4794710" cy="55084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R="0" lvl="0" algn="l" defTabSz="914400" rtl="0" eaLnBrk="1" fontAlgn="auto" latinLnBrk="0" hangingPunct="1">
              <a:lnSpc>
                <a:spcPct val="100000"/>
              </a:lnSpc>
              <a:spcBef>
                <a:spcPts val="0"/>
              </a:spcBef>
              <a:buClrTx/>
              <a:buSzPct val="100000"/>
              <a:tabLst/>
              <a:defRPr/>
            </a:pPr>
            <a:r>
              <a:rPr kumimoji="0" lang="lv-LV" sz="1400" b="0" i="0" u="none" strike="noStrike" kern="1200" cap="none" spc="0" normalizeH="0" baseline="0" noProof="0">
                <a:ln>
                  <a:noFill/>
                </a:ln>
                <a:solidFill>
                  <a:srgbClr val="000000"/>
                </a:solidFill>
                <a:effectLst/>
                <a:uLnTx/>
                <a:uFillTx/>
                <a:latin typeface="Arial"/>
                <a:ea typeface="+mn-ea"/>
                <a:cs typeface="+mn-cs"/>
              </a:rPr>
              <a:t>Palu riskam, klimata izmaiņu ietekmē samazināsies gan iestāšanās varbūtība, gan sekas</a:t>
            </a:r>
          </a:p>
        </p:txBody>
      </p:sp>
      <p:graphicFrame>
        <p:nvGraphicFramePr>
          <p:cNvPr id="13" name="Table 16">
            <a:extLst>
              <a:ext uri="{FF2B5EF4-FFF2-40B4-BE49-F238E27FC236}">
                <a16:creationId xmlns:a16="http://schemas.microsoft.com/office/drawing/2014/main" id="{03B72942-B514-7F47-F7F7-E1F16A8F8E68}"/>
              </a:ext>
            </a:extLst>
          </p:cNvPr>
          <p:cNvGraphicFramePr>
            <a:graphicFrameLocks noGrp="1"/>
          </p:cNvGraphicFramePr>
          <p:nvPr/>
        </p:nvGraphicFramePr>
        <p:xfrm>
          <a:off x="6273271" y="1817226"/>
          <a:ext cx="5478873" cy="2824221"/>
        </p:xfrm>
        <a:graphic>
          <a:graphicData uri="http://schemas.openxmlformats.org/drawingml/2006/table">
            <a:tbl>
              <a:tblPr firstRow="1" bandRow="1"/>
              <a:tblGrid>
                <a:gridCol w="555792">
                  <a:extLst>
                    <a:ext uri="{9D8B030D-6E8A-4147-A177-3AD203B41FA5}">
                      <a16:colId xmlns:a16="http://schemas.microsoft.com/office/drawing/2014/main" val="3315001564"/>
                    </a:ext>
                  </a:extLst>
                </a:gridCol>
                <a:gridCol w="891251">
                  <a:extLst>
                    <a:ext uri="{9D8B030D-6E8A-4147-A177-3AD203B41FA5}">
                      <a16:colId xmlns:a16="http://schemas.microsoft.com/office/drawing/2014/main" val="593294205"/>
                    </a:ext>
                  </a:extLst>
                </a:gridCol>
                <a:gridCol w="879676">
                  <a:extLst>
                    <a:ext uri="{9D8B030D-6E8A-4147-A177-3AD203B41FA5}">
                      <a16:colId xmlns:a16="http://schemas.microsoft.com/office/drawing/2014/main" val="288374722"/>
                    </a:ext>
                  </a:extLst>
                </a:gridCol>
                <a:gridCol w="733056">
                  <a:extLst>
                    <a:ext uri="{9D8B030D-6E8A-4147-A177-3AD203B41FA5}">
                      <a16:colId xmlns:a16="http://schemas.microsoft.com/office/drawing/2014/main" val="2668575217"/>
                    </a:ext>
                  </a:extLst>
                </a:gridCol>
                <a:gridCol w="806366">
                  <a:extLst>
                    <a:ext uri="{9D8B030D-6E8A-4147-A177-3AD203B41FA5}">
                      <a16:colId xmlns:a16="http://schemas.microsoft.com/office/drawing/2014/main" val="1717086339"/>
                    </a:ext>
                  </a:extLst>
                </a:gridCol>
                <a:gridCol w="806366">
                  <a:extLst>
                    <a:ext uri="{9D8B030D-6E8A-4147-A177-3AD203B41FA5}">
                      <a16:colId xmlns:a16="http://schemas.microsoft.com/office/drawing/2014/main" val="4059464442"/>
                    </a:ext>
                  </a:extLst>
                </a:gridCol>
                <a:gridCol w="806366">
                  <a:extLst>
                    <a:ext uri="{9D8B030D-6E8A-4147-A177-3AD203B41FA5}">
                      <a16:colId xmlns:a16="http://schemas.microsoft.com/office/drawing/2014/main" val="2825404985"/>
                    </a:ext>
                  </a:extLst>
                </a:gridCol>
              </a:tblGrid>
              <a:tr h="451923">
                <a:tc>
                  <a:txBody>
                    <a:bodyPr/>
                    <a:lstStyle/>
                    <a:p>
                      <a:endParaRPr lang="en-GB" sz="900" b="1"/>
                    </a:p>
                  </a:txBody>
                  <a:tcPr marL="36000" marR="36000" marT="0" marB="0" anchor="ctr">
                    <a:lnL w="12700" cmpd="sng">
                      <a:noFill/>
                      <a:prstDash val="solid"/>
                    </a:lnL>
                    <a:lnR w="3175" cap="flat" cmpd="sng" algn="ctr">
                      <a:noFill/>
                      <a:prstDash val="solid"/>
                      <a:round/>
                      <a:headEnd type="none" w="med" len="med"/>
                      <a:tailEnd type="none" w="med" len="med"/>
                    </a:lnR>
                    <a:lnT w="12700" cmpd="sng">
                      <a:noFill/>
                      <a:prstDash val="soli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b="1"/>
                        <a:t>Varbūtība</a:t>
                      </a:r>
                    </a:p>
                  </a:txBody>
                  <a:tcPr marL="36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prstDash val="soli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a:t>Nenozīmīgs risks </a:t>
                      </a:r>
                    </a:p>
                  </a:txBody>
                  <a:tcPr marL="36000" marR="36000" marT="0" marB="0" anchor="ctr">
                    <a:lnL w="3175" cap="flat" cmpd="sng" algn="ctr">
                      <a:noFill/>
                      <a:prstDash val="solid"/>
                      <a:round/>
                      <a:headEnd type="none" w="med" len="med"/>
                      <a:tailEnd type="none" w="med" len="med"/>
                    </a:lnL>
                    <a:lnR w="3175" cap="flat" cmpd="sng" algn="ctr">
                      <a:solidFill>
                        <a:schemeClr val="accent6"/>
                      </a:solidFill>
                      <a:prstDash val="solid"/>
                      <a:round/>
                      <a:headEnd type="none" w="med" len="med"/>
                      <a:tailEnd type="none" w="med" len="med"/>
                    </a:lnR>
                    <a:lnT w="12700" cmpd="sng">
                      <a:noFill/>
                      <a:prstDash val="soli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a:t>Nozīmīgs risks </a:t>
                      </a:r>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12700" cmpd="sng">
                      <a:noFill/>
                      <a:prstDash val="soli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a:t>Vidējs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a:t>Risks </a:t>
                      </a:r>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12700" cmpd="sng">
                      <a:noFill/>
                      <a:prstDash val="soli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a:solidFill>
                            <a:schemeClr val="bg1"/>
                          </a:solidFill>
                        </a:rPr>
                        <a:t>Augsts risks </a:t>
                      </a:r>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12700" cmpd="sng">
                      <a:noFill/>
                      <a:prstDash val="soli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a:solidFill>
                            <a:schemeClr val="bg1"/>
                          </a:solidFill>
                        </a:rPr>
                        <a:t>Ļoti augsts risks</a:t>
                      </a:r>
                    </a:p>
                  </a:txBody>
                  <a:tcPr marL="36000" marR="36000" marT="0" marB="0" anchor="ctr">
                    <a:lnL w="3175" cap="flat" cmpd="sng" algn="ctr">
                      <a:solidFill>
                        <a:schemeClr val="accent6"/>
                      </a:solidFill>
                      <a:prstDash val="solid"/>
                      <a:round/>
                      <a:headEnd type="none" w="med" len="med"/>
                      <a:tailEnd type="none" w="med" len="med"/>
                    </a:lnL>
                    <a:lnR w="12700" cmpd="sng">
                      <a:noFill/>
                      <a:prstDash val="solid"/>
                    </a:lnR>
                    <a:lnT w="12700" cmpd="sng">
                      <a:noFill/>
                      <a:prstDash val="soli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319959065"/>
                  </a:ext>
                </a:extLst>
              </a:tr>
              <a:tr h="395383">
                <a:tc>
                  <a:txBody>
                    <a:bodyPr/>
                    <a:lstStyle/>
                    <a:p>
                      <a:r>
                        <a:rPr lang="it-IT" sz="900" b="1"/>
                        <a:t>Ļoti augsta </a:t>
                      </a:r>
                      <a:endParaRPr lang="en-GB" sz="900" b="1"/>
                    </a:p>
                  </a:txBody>
                  <a:tcPr marL="36000" marR="36000" marT="0" marB="0" anchor="ctr">
                    <a:lnL w="12700" cmpd="sng">
                      <a:noFill/>
                      <a:prstDash val="soli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it-IT" sz="900"/>
                        <a:t>1x gadā un biežāk</a:t>
                      </a:r>
                      <a:endParaRPr lang="en-GB" sz="900"/>
                    </a:p>
                  </a:txBody>
                  <a:tcPr marL="36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GB" sz="900"/>
                    </a:p>
                  </a:txBody>
                  <a:tcPr marL="36000" marR="36000" marT="0" marB="0" anchor="ctr">
                    <a:lnL w="3175" cap="flat" cmpd="sng" algn="ctr">
                      <a:no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923624331"/>
                  </a:ext>
                </a:extLst>
              </a:tr>
              <a:tr h="395383">
                <a:tc>
                  <a:txBody>
                    <a:bodyPr/>
                    <a:lstStyle/>
                    <a:p>
                      <a:r>
                        <a:rPr lang="en-GB" sz="900" b="1"/>
                        <a:t>Augsta</a:t>
                      </a:r>
                    </a:p>
                  </a:txBody>
                  <a:tcPr marL="36000" marR="36000" marT="0" marB="0" anchor="ctr">
                    <a:lnL w="12700" cmpd="sng">
                      <a:noFill/>
                      <a:prstDash val="solid"/>
                    </a:lnL>
                    <a:lnR w="3175"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a:t>1x no 1 – 15 gadiem</a:t>
                      </a:r>
                    </a:p>
                  </a:txBody>
                  <a:tcPr marL="36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GB" sz="900"/>
                    </a:p>
                  </a:txBody>
                  <a:tcPr marL="36000" marR="36000" marT="0" marB="0" anchor="ctr">
                    <a:lnL w="3175" cap="flat" cmpd="sng" algn="ctr">
                      <a:no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2682791098"/>
                  </a:ext>
                </a:extLst>
              </a:tr>
              <a:tr h="395383">
                <a:tc>
                  <a:txBody>
                    <a:bodyPr/>
                    <a:lstStyle/>
                    <a:p>
                      <a:r>
                        <a:rPr lang="en-GB" sz="900" b="1"/>
                        <a:t>Vidēja</a:t>
                      </a:r>
                    </a:p>
                  </a:txBody>
                  <a:tcPr marL="36000" marR="36000" marT="0" marB="0" anchor="ctr">
                    <a:lnL w="12700" cmpd="sng">
                      <a:noFill/>
                      <a:prstDash val="solid"/>
                    </a:lnL>
                    <a:lnR w="3175"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a:t>1x no 16 – 50 gadiem</a:t>
                      </a:r>
                    </a:p>
                  </a:txBody>
                  <a:tcPr marL="36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GB" sz="900"/>
                    </a:p>
                  </a:txBody>
                  <a:tcPr marL="36000" marR="36000" marT="0" marB="0" anchor="ctr">
                    <a:lnL w="3175" cap="flat" cmpd="sng" algn="ctr">
                      <a:no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1831220745"/>
                  </a:ext>
                </a:extLst>
              </a:tr>
              <a:tr h="395383">
                <a:tc>
                  <a:txBody>
                    <a:bodyPr/>
                    <a:lstStyle/>
                    <a:p>
                      <a:r>
                        <a:rPr lang="en-GB" sz="900" b="1"/>
                        <a:t>Zema </a:t>
                      </a:r>
                    </a:p>
                  </a:txBody>
                  <a:tcPr marL="36000" marR="36000" marT="0" marB="0" anchor="ctr">
                    <a:lnL w="12700" cmpd="sng">
                      <a:noFill/>
                      <a:prstDash val="solid"/>
                    </a:lnL>
                    <a:lnR w="3175"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a:t>1x no 51 – 100 gadiem</a:t>
                      </a:r>
                    </a:p>
                  </a:txBody>
                  <a:tcPr marL="36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GB" sz="900"/>
                    </a:p>
                  </a:txBody>
                  <a:tcPr marL="36000" marR="36000" marT="0" marB="0" anchor="ctr">
                    <a:lnL w="3175" cap="flat" cmpd="sng" algn="ctr">
                      <a:no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3680801105"/>
                  </a:ext>
                </a:extLst>
              </a:tr>
              <a:tr h="395383">
                <a:tc>
                  <a:txBody>
                    <a:bodyPr/>
                    <a:lstStyle/>
                    <a:p>
                      <a:r>
                        <a:rPr lang="en-GB" sz="900" b="1"/>
                        <a:t>Ļoti zema </a:t>
                      </a:r>
                    </a:p>
                  </a:txBody>
                  <a:tcPr marL="36000" marR="36000" marT="0" marB="0" anchor="ctr">
                    <a:lnL w="12700" cmpd="sng">
                      <a:noFill/>
                      <a:prstDash val="solid"/>
                    </a:lnL>
                    <a:lnR w="3175"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a:txBody>
                    <a:bodyPr/>
                    <a:lstStyle/>
                    <a:p>
                      <a:pPr algn="ctr"/>
                      <a:r>
                        <a:rPr lang="en-GB" sz="900"/>
                        <a:t>Retāk kā 1 x 100 gados</a:t>
                      </a:r>
                    </a:p>
                  </a:txBody>
                  <a:tcPr marL="36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95000"/>
                      </a:schemeClr>
                    </a:solidFill>
                  </a:tcPr>
                </a:tc>
                <a:tc>
                  <a:txBody>
                    <a:bodyPr/>
                    <a:lstStyle/>
                    <a:p>
                      <a:pPr algn="ctr"/>
                      <a:endParaRPr lang="en-GB" sz="900"/>
                    </a:p>
                  </a:txBody>
                  <a:tcPr marL="36000" marR="36000" marT="0" marB="0" anchor="ctr">
                    <a:lnL w="3175" cap="flat" cmpd="sng" algn="ctr">
                      <a:no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rgbClr val="70AD47"/>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rgbClr val="70AD47"/>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rgbClr val="70AD47"/>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rgbClr val="70AD47"/>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12700" cmpd="sng">
                      <a:noFill/>
                      <a:prstDash val="solid"/>
                    </a:lnR>
                    <a:lnT w="3175" cap="flat" cmpd="sng" algn="ctr">
                      <a:solidFill>
                        <a:schemeClr val="accent6"/>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2944093571"/>
                  </a:ext>
                </a:extLst>
              </a:tr>
              <a:tr h="395383">
                <a:tc>
                  <a:txBody>
                    <a:bodyPr/>
                    <a:lstStyle/>
                    <a:p>
                      <a:endParaRPr lang="en-GB" sz="900"/>
                    </a:p>
                  </a:txBody>
                  <a:tcPr marL="36000" marR="3600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endParaRPr lang="en-GB" sz="900"/>
                    </a:p>
                  </a:txBody>
                  <a:tcPr marL="36000" marR="36000" marT="0" marB="0" anchor="ctr">
                    <a:lnL w="12700" cmpd="sng">
                      <a:noFill/>
                      <a:prstDash val="solid"/>
                    </a:lnL>
                    <a:lnR w="3175" cap="flat" cmpd="sng" algn="ctr">
                      <a:no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a:r>
                        <a:rPr lang="en-GB" sz="900" b="1"/>
                        <a:t>Maznozīmīgas</a:t>
                      </a:r>
                    </a:p>
                  </a:txBody>
                  <a:tcPr marL="36000" marR="36000" marT="0" marB="0" anchor="ctr">
                    <a:lnL w="3175" cap="flat" cmpd="sng" algn="ctr">
                      <a:noFill/>
                      <a:prstDash val="solid"/>
                      <a:round/>
                      <a:headEnd type="none" w="med" len="med"/>
                      <a:tailEnd type="none" w="med" len="med"/>
                    </a:lnL>
                    <a:lnR w="3175" cap="flat" cmpd="sng" algn="ctr">
                      <a:solidFill>
                        <a:schemeClr val="accent6"/>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a:r>
                        <a:rPr lang="en-GB" sz="900" b="1"/>
                        <a:t>Nozīmīgas</a:t>
                      </a:r>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a:r>
                        <a:rPr lang="en-GB" sz="900" b="1"/>
                        <a:t>Vidējas</a:t>
                      </a:r>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a:r>
                        <a:rPr lang="en-GB" sz="900" b="1"/>
                        <a:t>Smagas</a:t>
                      </a:r>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a:r>
                        <a:rPr lang="en-GB" sz="900" b="1" dirty="0" err="1"/>
                        <a:t>Katastrofālas</a:t>
                      </a:r>
                      <a:r>
                        <a:rPr lang="en-GB" sz="900" b="1" dirty="0"/>
                        <a:t> </a:t>
                      </a:r>
                      <a:r>
                        <a:rPr lang="en-GB" sz="900" b="1" dirty="0" err="1"/>
                        <a:t>sekas</a:t>
                      </a:r>
                      <a:r>
                        <a:rPr lang="en-GB" sz="900" b="1" dirty="0"/>
                        <a:t> </a:t>
                      </a:r>
                    </a:p>
                  </a:txBody>
                  <a:tcPr marL="36000" marR="36000" marT="0" marB="0" anchor="ctr">
                    <a:lnL w="3175" cap="flat" cmpd="sng" algn="ctr">
                      <a:solidFill>
                        <a:schemeClr val="accent6"/>
                      </a:solidFill>
                      <a:prstDash val="solid"/>
                      <a:round/>
                      <a:headEnd type="none" w="med" len="med"/>
                      <a:tailEnd type="none" w="med" len="me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65707648"/>
                  </a:ext>
                </a:extLst>
              </a:tr>
            </a:tbl>
          </a:graphicData>
        </a:graphic>
      </p:graphicFrame>
      <p:sp>
        <p:nvSpPr>
          <p:cNvPr id="14" name="Freeform 100">
            <a:extLst>
              <a:ext uri="{FF2B5EF4-FFF2-40B4-BE49-F238E27FC236}">
                <a16:creationId xmlns:a16="http://schemas.microsoft.com/office/drawing/2014/main" id="{1AC4A6A8-45FC-9820-77C3-CD414BA3B195}"/>
              </a:ext>
            </a:extLst>
          </p:cNvPr>
          <p:cNvSpPr>
            <a:spLocks noChangeAspect="1"/>
          </p:cNvSpPr>
          <p:nvPr/>
        </p:nvSpPr>
        <p:spPr bwMode="auto">
          <a:xfrm>
            <a:off x="9656677" y="2751342"/>
            <a:ext cx="181415" cy="180818"/>
          </a:xfrm>
          <a:custGeom>
            <a:avLst/>
            <a:gdLst>
              <a:gd name="T0" fmla="*/ 117 w 304"/>
              <a:gd name="T1" fmla="*/ 151 h 303"/>
              <a:gd name="T2" fmla="*/ 0 w 304"/>
              <a:gd name="T3" fmla="*/ 35 h 303"/>
              <a:gd name="T4" fmla="*/ 35 w 304"/>
              <a:gd name="T5" fmla="*/ 0 h 303"/>
              <a:gd name="T6" fmla="*/ 152 w 304"/>
              <a:gd name="T7" fmla="*/ 116 h 303"/>
              <a:gd name="T8" fmla="*/ 269 w 304"/>
              <a:gd name="T9" fmla="*/ 0 h 303"/>
              <a:gd name="T10" fmla="*/ 304 w 304"/>
              <a:gd name="T11" fmla="*/ 35 h 303"/>
              <a:gd name="T12" fmla="*/ 187 w 304"/>
              <a:gd name="T13" fmla="*/ 151 h 303"/>
              <a:gd name="T14" fmla="*/ 304 w 304"/>
              <a:gd name="T15" fmla="*/ 268 h 303"/>
              <a:gd name="T16" fmla="*/ 269 w 304"/>
              <a:gd name="T17" fmla="*/ 303 h 303"/>
              <a:gd name="T18" fmla="*/ 152 w 304"/>
              <a:gd name="T19" fmla="*/ 186 h 303"/>
              <a:gd name="T20" fmla="*/ 35 w 304"/>
              <a:gd name="T21" fmla="*/ 303 h 303"/>
              <a:gd name="T22" fmla="*/ 0 w 304"/>
              <a:gd name="T23" fmla="*/ 268 h 303"/>
              <a:gd name="T24" fmla="*/ 117 w 304"/>
              <a:gd name="T25"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4" h="303">
                <a:moveTo>
                  <a:pt x="117" y="151"/>
                </a:moveTo>
                <a:lnTo>
                  <a:pt x="0" y="35"/>
                </a:lnTo>
                <a:lnTo>
                  <a:pt x="35" y="0"/>
                </a:lnTo>
                <a:lnTo>
                  <a:pt x="152" y="116"/>
                </a:lnTo>
                <a:lnTo>
                  <a:pt x="269" y="0"/>
                </a:lnTo>
                <a:lnTo>
                  <a:pt x="304" y="35"/>
                </a:lnTo>
                <a:lnTo>
                  <a:pt x="187" y="151"/>
                </a:lnTo>
                <a:lnTo>
                  <a:pt x="304" y="268"/>
                </a:lnTo>
                <a:lnTo>
                  <a:pt x="269" y="303"/>
                </a:lnTo>
                <a:lnTo>
                  <a:pt x="152" y="186"/>
                </a:lnTo>
                <a:lnTo>
                  <a:pt x="35" y="303"/>
                </a:lnTo>
                <a:lnTo>
                  <a:pt x="0" y="268"/>
                </a:lnTo>
                <a:lnTo>
                  <a:pt x="117" y="151"/>
                </a:lnTo>
                <a:close/>
              </a:path>
            </a:pathLst>
          </a:custGeom>
          <a:solidFill>
            <a:srgbClr val="525A72"/>
          </a:solidFill>
          <a:ln w="28575">
            <a:solidFill>
              <a:srgbClr val="525A72"/>
            </a:solidFill>
          </a:ln>
        </p:spPr>
        <p:txBody>
          <a:bodyPr vert="horz" wrap="square" lIns="78191" tIns="39096" rIns="78191" bIns="39096" numCol="1" anchor="t" anchorCtr="0" compatLnSpc="1">
            <a:prstTxWarp prst="textNoShape">
              <a:avLst/>
            </a:prstTxWarp>
          </a:bodyPr>
          <a:lstStyle/>
          <a:p>
            <a:endParaRPr lang="en-US" sz="800"/>
          </a:p>
        </p:txBody>
      </p:sp>
      <p:sp>
        <p:nvSpPr>
          <p:cNvPr id="28" name="Freeform 100">
            <a:extLst>
              <a:ext uri="{FF2B5EF4-FFF2-40B4-BE49-F238E27FC236}">
                <a16:creationId xmlns:a16="http://schemas.microsoft.com/office/drawing/2014/main" id="{2EE41F6C-E5FA-8906-075E-A249252C6309}"/>
              </a:ext>
            </a:extLst>
          </p:cNvPr>
          <p:cNvSpPr>
            <a:spLocks noChangeAspect="1"/>
          </p:cNvSpPr>
          <p:nvPr/>
        </p:nvSpPr>
        <p:spPr bwMode="auto">
          <a:xfrm>
            <a:off x="8879198" y="3158253"/>
            <a:ext cx="181415" cy="180818"/>
          </a:xfrm>
          <a:custGeom>
            <a:avLst/>
            <a:gdLst>
              <a:gd name="T0" fmla="*/ 117 w 304"/>
              <a:gd name="T1" fmla="*/ 151 h 303"/>
              <a:gd name="T2" fmla="*/ 0 w 304"/>
              <a:gd name="T3" fmla="*/ 35 h 303"/>
              <a:gd name="T4" fmla="*/ 35 w 304"/>
              <a:gd name="T5" fmla="*/ 0 h 303"/>
              <a:gd name="T6" fmla="*/ 152 w 304"/>
              <a:gd name="T7" fmla="*/ 116 h 303"/>
              <a:gd name="T8" fmla="*/ 269 w 304"/>
              <a:gd name="T9" fmla="*/ 0 h 303"/>
              <a:gd name="T10" fmla="*/ 304 w 304"/>
              <a:gd name="T11" fmla="*/ 35 h 303"/>
              <a:gd name="T12" fmla="*/ 187 w 304"/>
              <a:gd name="T13" fmla="*/ 151 h 303"/>
              <a:gd name="T14" fmla="*/ 304 w 304"/>
              <a:gd name="T15" fmla="*/ 268 h 303"/>
              <a:gd name="T16" fmla="*/ 269 w 304"/>
              <a:gd name="T17" fmla="*/ 303 h 303"/>
              <a:gd name="T18" fmla="*/ 152 w 304"/>
              <a:gd name="T19" fmla="*/ 186 h 303"/>
              <a:gd name="T20" fmla="*/ 35 w 304"/>
              <a:gd name="T21" fmla="*/ 303 h 303"/>
              <a:gd name="T22" fmla="*/ 0 w 304"/>
              <a:gd name="T23" fmla="*/ 268 h 303"/>
              <a:gd name="T24" fmla="*/ 117 w 304"/>
              <a:gd name="T25"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4" h="303">
                <a:moveTo>
                  <a:pt x="117" y="151"/>
                </a:moveTo>
                <a:lnTo>
                  <a:pt x="0" y="35"/>
                </a:lnTo>
                <a:lnTo>
                  <a:pt x="35" y="0"/>
                </a:lnTo>
                <a:lnTo>
                  <a:pt x="152" y="116"/>
                </a:lnTo>
                <a:lnTo>
                  <a:pt x="269" y="0"/>
                </a:lnTo>
                <a:lnTo>
                  <a:pt x="304" y="35"/>
                </a:lnTo>
                <a:lnTo>
                  <a:pt x="187" y="151"/>
                </a:lnTo>
                <a:lnTo>
                  <a:pt x="304" y="268"/>
                </a:lnTo>
                <a:lnTo>
                  <a:pt x="269" y="303"/>
                </a:lnTo>
                <a:lnTo>
                  <a:pt x="152" y="186"/>
                </a:lnTo>
                <a:lnTo>
                  <a:pt x="35" y="303"/>
                </a:lnTo>
                <a:lnTo>
                  <a:pt x="0" y="268"/>
                </a:lnTo>
                <a:lnTo>
                  <a:pt x="117" y="151"/>
                </a:lnTo>
                <a:close/>
              </a:path>
            </a:pathLst>
          </a:custGeom>
          <a:solidFill>
            <a:srgbClr val="525A72"/>
          </a:solidFill>
          <a:ln w="28575">
            <a:solidFill>
              <a:srgbClr val="525A72"/>
            </a:solidFill>
          </a:ln>
        </p:spPr>
        <p:txBody>
          <a:bodyPr vert="horz" wrap="square" lIns="78191" tIns="39096" rIns="78191" bIns="39096" numCol="1" anchor="t" anchorCtr="0" compatLnSpc="1">
            <a:prstTxWarp prst="textNoShape">
              <a:avLst/>
            </a:prstTxWarp>
          </a:bodyPr>
          <a:lstStyle/>
          <a:p>
            <a:endParaRPr lang="en-US" sz="800"/>
          </a:p>
        </p:txBody>
      </p:sp>
      <p:cxnSp>
        <p:nvCxnSpPr>
          <p:cNvPr id="30" name="Straight Arrow Connector 29">
            <a:extLst>
              <a:ext uri="{FF2B5EF4-FFF2-40B4-BE49-F238E27FC236}">
                <a16:creationId xmlns:a16="http://schemas.microsoft.com/office/drawing/2014/main" id="{C8455906-D52E-FFE6-F769-0425D7C0F48F}"/>
              </a:ext>
            </a:extLst>
          </p:cNvPr>
          <p:cNvCxnSpPr>
            <a:cxnSpLocks/>
          </p:cNvCxnSpPr>
          <p:nvPr/>
        </p:nvCxnSpPr>
        <p:spPr>
          <a:xfrm flipH="1">
            <a:off x="9170670" y="2973240"/>
            <a:ext cx="344805" cy="185013"/>
          </a:xfrm>
          <a:prstGeom prst="straightConnector1">
            <a:avLst/>
          </a:prstGeom>
          <a:ln w="12700" cap="sq">
            <a:solidFill>
              <a:schemeClr val="accent6"/>
            </a:solidFill>
            <a:tailEnd type="triangle"/>
          </a:ln>
        </p:spPr>
        <p:style>
          <a:lnRef idx="1">
            <a:schemeClr val="accent1"/>
          </a:lnRef>
          <a:fillRef idx="0">
            <a:schemeClr val="accent1"/>
          </a:fillRef>
          <a:effectRef idx="0">
            <a:schemeClr val="dk1"/>
          </a:effectRef>
          <a:fontRef idx="minor">
            <a:schemeClr val="lt1"/>
          </a:fontRef>
        </p:style>
      </p:cxnSp>
      <p:grpSp>
        <p:nvGrpSpPr>
          <p:cNvPr id="7" name="Group 6">
            <a:extLst>
              <a:ext uri="{FF2B5EF4-FFF2-40B4-BE49-F238E27FC236}">
                <a16:creationId xmlns:a16="http://schemas.microsoft.com/office/drawing/2014/main" id="{50F5B56D-1681-B4CE-5260-DFE7F952DE6E}"/>
              </a:ext>
            </a:extLst>
          </p:cNvPr>
          <p:cNvGrpSpPr/>
          <p:nvPr/>
        </p:nvGrpSpPr>
        <p:grpSpPr>
          <a:xfrm>
            <a:off x="8801780" y="159786"/>
            <a:ext cx="2947308" cy="217488"/>
            <a:chOff x="8559953" y="967274"/>
            <a:chExt cx="2947308" cy="217488"/>
          </a:xfrm>
        </p:grpSpPr>
        <p:sp>
          <p:nvSpPr>
            <p:cNvPr id="27" name="Rectangle 26">
              <a:extLst>
                <a:ext uri="{FF2B5EF4-FFF2-40B4-BE49-F238E27FC236}">
                  <a16:creationId xmlns:a16="http://schemas.microsoft.com/office/drawing/2014/main" id="{9CB2D28E-95C7-01A8-AD12-2BC304EF96A0}"/>
                </a:ext>
              </a:extLst>
            </p:cNvPr>
            <p:cNvSpPr/>
            <p:nvPr/>
          </p:nvSpPr>
          <p:spPr>
            <a:xfrm>
              <a:off x="9043607" y="96727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5</a:t>
              </a:r>
              <a:r>
                <a:rPr kumimoji="0" lang="lv-LV" sz="800" b="1" i="0" u="none" strike="noStrike" kern="0" cap="none" spc="0" normalizeH="0" baseline="0" dirty="0">
                  <a:ln>
                    <a:noFill/>
                  </a:ln>
                  <a:effectLst/>
                  <a:uLnTx/>
                  <a:uFillTx/>
                  <a:ea typeface="Georgia"/>
                  <a:cs typeface="Georgia"/>
                  <a:sym typeface="Georgia"/>
                </a:rPr>
                <a:t>.</a:t>
              </a:r>
              <a:r>
                <a:rPr kumimoji="0" lang="en-US" sz="800" b="1" i="0" u="none" strike="noStrike" kern="0" cap="none" spc="0" normalizeH="0" baseline="0" dirty="0">
                  <a:ln>
                    <a:noFill/>
                  </a:ln>
                  <a:effectLst/>
                  <a:uLnTx/>
                  <a:uFillTx/>
                  <a:ea typeface="Georgia"/>
                  <a:cs typeface="Georgia"/>
                  <a:sym typeface="Georgia"/>
                </a:rPr>
                <a:t>3</a:t>
              </a:r>
              <a:endParaRPr kumimoji="0" lang="lv-LV" sz="800" b="1" i="0" u="none" strike="noStrike" kern="0" cap="none" spc="0" normalizeH="0" baseline="0" dirty="0">
                <a:ln>
                  <a:noFill/>
                </a:ln>
                <a:effectLst/>
                <a:uLnTx/>
                <a:uFillTx/>
                <a:ea typeface="Georgia"/>
                <a:cs typeface="Georgia"/>
                <a:sym typeface="Georgia"/>
              </a:endParaRPr>
            </a:p>
          </p:txBody>
        </p:sp>
        <p:sp>
          <p:nvSpPr>
            <p:cNvPr id="29" name="Rectangle 28">
              <a:extLst>
                <a:ext uri="{FF2B5EF4-FFF2-40B4-BE49-F238E27FC236}">
                  <a16:creationId xmlns:a16="http://schemas.microsoft.com/office/drawing/2014/main" id="{49FEA25E-8725-044B-673F-3DE3835203CC}"/>
                </a:ext>
              </a:extLst>
            </p:cNvPr>
            <p:cNvSpPr/>
            <p:nvPr/>
          </p:nvSpPr>
          <p:spPr>
            <a:xfrm>
              <a:off x="11291261" y="9672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4</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A5C08DF3-2BCB-1596-1BB8-CAD473C37B1F}"/>
                </a:ext>
              </a:extLst>
            </p:cNvPr>
            <p:cNvSpPr/>
            <p:nvPr/>
          </p:nvSpPr>
          <p:spPr>
            <a:xfrm>
              <a:off x="9285434" y="967274"/>
              <a:ext cx="198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Apdraudējuma riska novērtēšana</a:t>
              </a:r>
              <a:endParaRPr kumimoji="0" lang="en-US" sz="800" b="1" i="0" u="none" strike="noStrike" kern="0" cap="none" spc="0" normalizeH="0" baseline="0" dirty="0">
                <a:ln>
                  <a:noFill/>
                </a:ln>
                <a:effectLst/>
                <a:uLnTx/>
                <a:uFillTx/>
                <a:ea typeface="Georgia"/>
                <a:cs typeface="Georgia"/>
                <a:sym typeface="Georgia"/>
              </a:endParaRPr>
            </a:p>
          </p:txBody>
        </p:sp>
        <p:sp>
          <p:nvSpPr>
            <p:cNvPr id="32" name="Rectangle 31">
              <a:extLst>
                <a:ext uri="{FF2B5EF4-FFF2-40B4-BE49-F238E27FC236}">
                  <a16:creationId xmlns:a16="http://schemas.microsoft.com/office/drawing/2014/main" id="{DBD61338-1821-D145-61E9-A7C4EFF7CCD4}"/>
                </a:ext>
              </a:extLst>
            </p:cNvPr>
            <p:cNvSpPr/>
            <p:nvPr/>
          </p:nvSpPr>
          <p:spPr>
            <a:xfrm>
              <a:off x="8801780" y="9672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2</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33" name="Rectangle 32">
              <a:extLst>
                <a:ext uri="{FF2B5EF4-FFF2-40B4-BE49-F238E27FC236}">
                  <a16:creationId xmlns:a16="http://schemas.microsoft.com/office/drawing/2014/main" id="{CBFC26DC-3462-9447-056C-D35473ACD9AE}"/>
                </a:ext>
              </a:extLst>
            </p:cNvPr>
            <p:cNvSpPr/>
            <p:nvPr/>
          </p:nvSpPr>
          <p:spPr>
            <a:xfrm>
              <a:off x="8559953" y="9672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42410929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4A36E35-FEC6-DAAA-FCB3-AE0D60B30B08}"/>
              </a:ext>
            </a:extLst>
          </p:cNvPr>
          <p:cNvSpPr/>
          <p:nvPr/>
        </p:nvSpPr>
        <p:spPr>
          <a:xfrm>
            <a:off x="441325" y="1819275"/>
            <a:ext cx="11306175"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600"/>
              </a:spcAft>
              <a:buClrTx/>
              <a:buSzPct val="100000"/>
              <a:buFontTx/>
              <a:buNone/>
              <a:tabLst/>
              <a:defRPr/>
            </a:pPr>
            <a:r>
              <a:rPr kumimoji="0" lang="lv-LV" sz="1600" b="1" i="0" u="none" strike="noStrike" kern="1200" cap="none" spc="0" normalizeH="0" baseline="0" noProof="0">
                <a:ln>
                  <a:noFill/>
                </a:ln>
                <a:solidFill>
                  <a:srgbClr val="FFFFFF"/>
                </a:solidFill>
                <a:effectLst/>
                <a:uLnTx/>
                <a:uFillTx/>
                <a:latin typeface="Arial"/>
                <a:ea typeface="+mn-ea"/>
                <a:cs typeface="+mn-cs"/>
              </a:rPr>
              <a:t>Riska izvērtējumā tiek apskatīts:</a:t>
            </a:r>
          </a:p>
        </p:txBody>
      </p:sp>
      <p:sp>
        <p:nvSpPr>
          <p:cNvPr id="22" name="Rectangle 21">
            <a:extLst>
              <a:ext uri="{FF2B5EF4-FFF2-40B4-BE49-F238E27FC236}">
                <a16:creationId xmlns:a16="http://schemas.microsoft.com/office/drawing/2014/main" id="{DF531753-82CA-0C59-9A0C-8C97137AB0D4}"/>
              </a:ext>
            </a:extLst>
          </p:cNvPr>
          <p:cNvSpPr/>
          <p:nvPr/>
        </p:nvSpPr>
        <p:spPr>
          <a:xfrm>
            <a:off x="441326" y="2498007"/>
            <a:ext cx="576000" cy="824254"/>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R="0" lvl="0" algn="l" defTabSz="914400" rtl="0" eaLnBrk="1" fontAlgn="auto" latinLnBrk="0" hangingPunct="1">
              <a:lnSpc>
                <a:spcPct val="100000"/>
              </a:lnSpc>
              <a:spcBef>
                <a:spcPts val="0"/>
              </a:spcBef>
              <a:buClrTx/>
              <a:buSzTx/>
              <a:tabLst/>
              <a:defRPr/>
            </a:pPr>
            <a:endParaRPr kumimoji="0" lang="lv-LV" b="1" i="0" u="none" strike="noStrike" kern="1200" cap="none" spc="0" normalizeH="0" baseline="0" noProof="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9849AE5A-AFDB-AE22-12E9-AED3B2385293}"/>
              </a:ext>
            </a:extLst>
          </p:cNvPr>
          <p:cNvSpPr/>
          <p:nvPr/>
        </p:nvSpPr>
        <p:spPr>
          <a:xfrm>
            <a:off x="1120996" y="2498007"/>
            <a:ext cx="4896000" cy="82425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1" algn="l" defTabSz="914400" rtl="0" eaLnBrk="1" fontAlgn="auto" latinLnBrk="0" hangingPunct="1">
              <a:lnSpc>
                <a:spcPct val="100000"/>
              </a:lnSpc>
              <a:spcBef>
                <a:spcPts val="0"/>
              </a:spcBef>
              <a:buClrTx/>
              <a:buSzPct val="100000"/>
              <a:tabLst/>
              <a:defRPr/>
            </a:pPr>
            <a:r>
              <a:rPr kumimoji="0" lang="lv-LV" sz="1400" b="0" i="0" u="none" strike="noStrike" kern="1200" cap="none" spc="0" normalizeH="0" baseline="0" noProof="0">
                <a:ln>
                  <a:noFill/>
                </a:ln>
                <a:solidFill>
                  <a:srgbClr val="000000"/>
                </a:solidFill>
                <a:effectLst/>
                <a:uLnTx/>
                <a:uFillTx/>
                <a:latin typeface="Arial"/>
                <a:ea typeface="+mn-ea"/>
                <a:cs typeface="+mn-cs"/>
              </a:rPr>
              <a:t>Sociāli-ekonomisko zaudējumu un ieguvumu izvērtējums, nosakot esošos un nākotnes iespējamos radītos zaudējumus</a:t>
            </a:r>
          </a:p>
        </p:txBody>
      </p:sp>
      <p:sp>
        <p:nvSpPr>
          <p:cNvPr id="44" name="Rectangle 43">
            <a:extLst>
              <a:ext uri="{FF2B5EF4-FFF2-40B4-BE49-F238E27FC236}">
                <a16:creationId xmlns:a16="http://schemas.microsoft.com/office/drawing/2014/main" id="{E3136BF3-47E4-791A-0445-705FE69943B0}"/>
              </a:ext>
            </a:extLst>
          </p:cNvPr>
          <p:cNvSpPr/>
          <p:nvPr/>
        </p:nvSpPr>
        <p:spPr>
          <a:xfrm>
            <a:off x="441326" y="3458378"/>
            <a:ext cx="576000" cy="824254"/>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R="0" lvl="0" algn="l" defTabSz="914400" rtl="0" eaLnBrk="1" fontAlgn="auto" latinLnBrk="0" hangingPunct="1">
              <a:lnSpc>
                <a:spcPct val="100000"/>
              </a:lnSpc>
              <a:spcBef>
                <a:spcPts val="0"/>
              </a:spcBef>
              <a:buClrTx/>
              <a:buSzTx/>
              <a:tabLst/>
              <a:defRPr/>
            </a:pPr>
            <a:endParaRPr kumimoji="0" lang="lv-LV" b="1" i="0" u="none" strike="noStrike" kern="1200" cap="none" spc="0" normalizeH="0" baseline="0" noProof="0">
              <a:ln>
                <a:noFill/>
              </a:ln>
              <a:solidFill>
                <a:srgbClr val="FFFFFF"/>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C2D48C86-FDB1-D180-2569-37C0DF7A6428}"/>
              </a:ext>
            </a:extLst>
          </p:cNvPr>
          <p:cNvSpPr/>
          <p:nvPr/>
        </p:nvSpPr>
        <p:spPr>
          <a:xfrm>
            <a:off x="1120996" y="3458378"/>
            <a:ext cx="4896000" cy="82425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1" algn="l" defTabSz="914400" rtl="0" eaLnBrk="1" fontAlgn="auto" latinLnBrk="0" hangingPunct="1">
              <a:lnSpc>
                <a:spcPct val="100000"/>
              </a:lnSpc>
              <a:spcBef>
                <a:spcPts val="0"/>
              </a:spcBef>
              <a:buClrTx/>
              <a:buSzPct val="100000"/>
              <a:tabLst/>
              <a:defRPr/>
            </a:pPr>
            <a:r>
              <a:rPr kumimoji="0" lang="lv-LV" sz="1400" b="0" i="0" u="none" strike="noStrike" kern="1200" cap="none" spc="0" normalizeH="0" baseline="0" noProof="0">
                <a:ln>
                  <a:noFill/>
                </a:ln>
                <a:solidFill>
                  <a:srgbClr val="000000"/>
                </a:solidFill>
                <a:effectLst/>
                <a:uLnTx/>
                <a:uFillTx/>
                <a:latin typeface="Arial"/>
                <a:ea typeface="+mn-ea"/>
                <a:cs typeface="+mn-cs"/>
              </a:rPr>
              <a:t>Sociālā ievainojamība, apzinot riska apdraudētos cilvēkus gan pēc ģeogrāfiskā novietojuma, gan sociālajiem faktoriem</a:t>
            </a:r>
          </a:p>
        </p:txBody>
      </p:sp>
      <p:graphicFrame>
        <p:nvGraphicFramePr>
          <p:cNvPr id="52" name="Table 9">
            <a:extLst>
              <a:ext uri="{FF2B5EF4-FFF2-40B4-BE49-F238E27FC236}">
                <a16:creationId xmlns:a16="http://schemas.microsoft.com/office/drawing/2014/main" id="{DC0DC518-8733-B5A9-27D1-BBD23C5919E5}"/>
              </a:ext>
            </a:extLst>
          </p:cNvPr>
          <p:cNvGraphicFramePr>
            <a:graphicFrameLocks noGrp="1"/>
          </p:cNvGraphicFramePr>
          <p:nvPr>
            <p:extLst>
              <p:ext uri="{D42A27DB-BD31-4B8C-83A1-F6EECF244321}">
                <p14:modId xmlns:p14="http://schemas.microsoft.com/office/powerpoint/2010/main" val="1760106843"/>
              </p:ext>
            </p:extLst>
          </p:nvPr>
        </p:nvGraphicFramePr>
        <p:xfrm>
          <a:off x="442912" y="4588200"/>
          <a:ext cx="11306178" cy="1584000"/>
        </p:xfrm>
        <a:graphic>
          <a:graphicData uri="http://schemas.openxmlformats.org/drawingml/2006/table">
            <a:tbl>
              <a:tblPr firstRow="1" bandRow="1"/>
              <a:tblGrid>
                <a:gridCol w="1884363">
                  <a:extLst>
                    <a:ext uri="{9D8B030D-6E8A-4147-A177-3AD203B41FA5}">
                      <a16:colId xmlns:a16="http://schemas.microsoft.com/office/drawing/2014/main" val="916294903"/>
                    </a:ext>
                  </a:extLst>
                </a:gridCol>
                <a:gridCol w="1884363">
                  <a:extLst>
                    <a:ext uri="{9D8B030D-6E8A-4147-A177-3AD203B41FA5}">
                      <a16:colId xmlns:a16="http://schemas.microsoft.com/office/drawing/2014/main" val="3162420805"/>
                    </a:ext>
                  </a:extLst>
                </a:gridCol>
                <a:gridCol w="1884363">
                  <a:extLst>
                    <a:ext uri="{9D8B030D-6E8A-4147-A177-3AD203B41FA5}">
                      <a16:colId xmlns:a16="http://schemas.microsoft.com/office/drawing/2014/main" val="3668737413"/>
                    </a:ext>
                  </a:extLst>
                </a:gridCol>
                <a:gridCol w="1884363">
                  <a:extLst>
                    <a:ext uri="{9D8B030D-6E8A-4147-A177-3AD203B41FA5}">
                      <a16:colId xmlns:a16="http://schemas.microsoft.com/office/drawing/2014/main" val="3850332062"/>
                    </a:ext>
                  </a:extLst>
                </a:gridCol>
                <a:gridCol w="1884363">
                  <a:extLst>
                    <a:ext uri="{9D8B030D-6E8A-4147-A177-3AD203B41FA5}">
                      <a16:colId xmlns:a16="http://schemas.microsoft.com/office/drawing/2014/main" val="799964269"/>
                    </a:ext>
                  </a:extLst>
                </a:gridCol>
                <a:gridCol w="1884363">
                  <a:extLst>
                    <a:ext uri="{9D8B030D-6E8A-4147-A177-3AD203B41FA5}">
                      <a16:colId xmlns:a16="http://schemas.microsoft.com/office/drawing/2014/main" val="3222481653"/>
                    </a:ext>
                  </a:extLst>
                </a:gridCol>
              </a:tblGrid>
              <a:tr h="792000">
                <a:tc>
                  <a:txBody>
                    <a:bodyPr/>
                    <a:lstStyle/>
                    <a:p>
                      <a:pPr algn="ctr"/>
                      <a:r>
                        <a:rPr lang="en-GB" sz="1400" b="1">
                          <a:solidFill>
                            <a:schemeClr val="bg1"/>
                          </a:solidFill>
                        </a:rPr>
                        <a:t>Risks</a:t>
                      </a:r>
                    </a:p>
                  </a:txBody>
                  <a:tcPr marL="72000" marR="72000" marT="0" marB="0" anchor="ctr">
                    <a:lnL w="12700" cmpd="sng">
                      <a:noFill/>
                      <a:prstDash val="solid"/>
                    </a:lnL>
                    <a:lnR w="3175" cap="flat" cmpd="sng" algn="ctr">
                      <a:solidFill>
                        <a:schemeClr val="bg1">
                          <a:lumMod val="75000"/>
                        </a:schemeClr>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tc>
                  <a:txBody>
                    <a:bodyPr/>
                    <a:lstStyle/>
                    <a:p>
                      <a:pPr algn="ctr"/>
                      <a:r>
                        <a:rPr lang="en-GB" sz="1400" b="1">
                          <a:solidFill>
                            <a:schemeClr val="bg1"/>
                          </a:solidFill>
                        </a:rPr>
                        <a:t>Riska līmenis </a:t>
                      </a:r>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tc>
                  <a:txBody>
                    <a:bodyPr/>
                    <a:lstStyle/>
                    <a:p>
                      <a:pPr algn="ctr"/>
                      <a:r>
                        <a:rPr lang="en-GB" sz="1400" b="1">
                          <a:solidFill>
                            <a:schemeClr val="bg1"/>
                          </a:solidFill>
                        </a:rPr>
                        <a:t>Ietekmētā grupas lielums </a:t>
                      </a:r>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tc>
                  <a:txBody>
                    <a:bodyPr/>
                    <a:lstStyle/>
                    <a:p>
                      <a:pPr algn="ctr"/>
                      <a:r>
                        <a:rPr lang="en-GB" sz="1400" b="1">
                          <a:solidFill>
                            <a:schemeClr val="bg1"/>
                          </a:solidFill>
                        </a:rPr>
                        <a:t>Sistēmas pielāgošanās spēja </a:t>
                      </a:r>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tc>
                  <a:txBody>
                    <a:bodyPr/>
                    <a:lstStyle/>
                    <a:p>
                      <a:pPr algn="ctr"/>
                      <a:r>
                        <a:rPr lang="en-GB" sz="1400" b="1">
                          <a:solidFill>
                            <a:schemeClr val="bg1"/>
                          </a:solidFill>
                        </a:rPr>
                        <a:t>Ekonomisko zaudējumu novērtējums </a:t>
                      </a:r>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Ievainojamības līmenis </a:t>
                      </a:r>
                    </a:p>
                  </a:txBody>
                  <a:tcPr marL="72000" marR="72000" marT="0" marB="0" anchor="ctr">
                    <a:lnL w="3175" cap="flat" cmpd="sng" algn="ctr">
                      <a:solidFill>
                        <a:schemeClr val="bg1">
                          <a:lumMod val="75000"/>
                        </a:schemeClr>
                      </a:solidFill>
                      <a:prstDash val="solid"/>
                      <a:round/>
                      <a:headEnd type="none" w="med" len="med"/>
                      <a:tailEnd type="none" w="med" len="me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extLst>
                  <a:ext uri="{0D108BD9-81ED-4DB2-BD59-A6C34878D82A}">
                    <a16:rowId xmlns:a16="http://schemas.microsoft.com/office/drawing/2014/main" val="3754681607"/>
                  </a:ext>
                </a:extLst>
              </a:tr>
              <a:tr h="792000">
                <a:tc>
                  <a:txBody>
                    <a:bodyPr/>
                    <a:lstStyle/>
                    <a:p>
                      <a:pPr algn="ctr"/>
                      <a:r>
                        <a:rPr lang="lv-LV" sz="1400"/>
                        <a:t>Pavasara pali un ledus sastrēgumi </a:t>
                      </a:r>
                      <a:endParaRPr lang="en-GB" sz="1400"/>
                    </a:p>
                  </a:txBody>
                  <a:tcPr marL="72000" marR="72000" marT="0" marB="0" anchor="ctr">
                    <a:lnL w="12700" cmpd="sng">
                      <a:noFill/>
                      <a:prstDash val="solid"/>
                    </a:lnL>
                    <a:lnR w="3175" cap="flat" cmpd="sng" algn="ctr">
                      <a:solidFill>
                        <a:schemeClr val="bg1">
                          <a:lumMod val="75000"/>
                        </a:schemeClr>
                      </a:solidFill>
                      <a:prstDash val="solid"/>
                      <a:round/>
                      <a:headEnd type="none" w="med" len="med"/>
                      <a:tailEnd type="none" w="med" len="med"/>
                    </a:lnR>
                    <a:lnT w="12700" cmpd="sng">
                      <a:noFill/>
                      <a:prstDash val="soli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t>6 (risks ar nozīmīgām sekām un vidēju varbūtību) </a:t>
                      </a:r>
                      <a:endParaRPr lang="en-GB" sz="1400"/>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mpd="sng">
                      <a:noFill/>
                      <a:prstDash val="soli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t>5 (ļoti liela) </a:t>
                      </a:r>
                      <a:endParaRPr lang="en-GB" sz="1400"/>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mpd="sng">
                      <a:noFill/>
                      <a:prstDash val="soli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t>3.75 (augsta) </a:t>
                      </a:r>
                      <a:endParaRPr lang="en-GB" sz="1400"/>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mpd="sng">
                      <a:noFill/>
                      <a:prstDash val="soli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t>3 (vidējs) </a:t>
                      </a:r>
                      <a:endParaRPr lang="en-GB" sz="1400"/>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mpd="sng">
                      <a:noFill/>
                      <a:prstDash val="soli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400" dirty="0"/>
                        <a:t>2.5 (vidējs)</a:t>
                      </a:r>
                      <a:endParaRPr lang="en-GB" sz="1400" dirty="0"/>
                    </a:p>
                  </a:txBody>
                  <a:tcPr marL="72000" marR="72000" marT="0" marB="0" anchor="ctr">
                    <a:lnL w="3175" cap="flat" cmpd="sng" algn="ctr">
                      <a:solidFill>
                        <a:schemeClr val="bg1">
                          <a:lumMod val="75000"/>
                        </a:schemeClr>
                      </a:solidFill>
                      <a:prstDash val="solid"/>
                      <a:round/>
                      <a:headEnd type="none" w="med" len="med"/>
                      <a:tailEnd type="none" w="med" len="med"/>
                    </a:lnL>
                    <a:lnR w="12700" cmpd="sng">
                      <a:noFill/>
                      <a:prstDash val="solid"/>
                    </a:lnR>
                    <a:lnT w="12700" cmpd="sng">
                      <a:noFill/>
                      <a:prstDash val="soli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23494771"/>
                  </a:ext>
                </a:extLst>
              </a:tr>
            </a:tbl>
          </a:graphicData>
        </a:graphic>
      </p:graphicFrame>
      <p:sp>
        <p:nvSpPr>
          <p:cNvPr id="19" name="Title 1">
            <a:extLst>
              <a:ext uri="{FF2B5EF4-FFF2-40B4-BE49-F238E27FC236}">
                <a16:creationId xmlns:a16="http://schemas.microsoft.com/office/drawing/2014/main" id="{D4CCCA12-6848-7E0B-CD7A-E85D849E9DCF}"/>
              </a:ext>
            </a:extLst>
          </p:cNvPr>
          <p:cNvSpPr>
            <a:spLocks noGrp="1"/>
          </p:cNvSpPr>
          <p:nvPr>
            <p:ph type="title"/>
          </p:nvPr>
        </p:nvSpPr>
        <p:spPr>
          <a:xfrm>
            <a:off x="442913" y="432001"/>
            <a:ext cx="11306175" cy="1387274"/>
          </a:xfrm>
        </p:spPr>
        <p:txBody>
          <a:bodyPr vert="horz"/>
          <a:lstStyle/>
          <a:p>
            <a:r>
              <a:rPr lang="lv-LV"/>
              <a:t>Riska novērtēšanas piemērs</a:t>
            </a:r>
            <a:br>
              <a:rPr lang="lv-LV"/>
            </a:br>
            <a:r>
              <a:rPr lang="lv-LV">
                <a:solidFill>
                  <a:srgbClr val="9D2235"/>
                </a:solidFill>
              </a:rPr>
              <a:t>Riska </a:t>
            </a:r>
            <a:r>
              <a:rPr lang="lv-LV" err="1">
                <a:solidFill>
                  <a:srgbClr val="9D2235"/>
                </a:solidFill>
              </a:rPr>
              <a:t>izvērtējums</a:t>
            </a:r>
            <a:r>
              <a:rPr lang="lv-LV">
                <a:solidFill>
                  <a:srgbClr val="9D2235"/>
                </a:solidFill>
              </a:rPr>
              <a:t> paliem un ledus sanesumiem</a:t>
            </a:r>
          </a:p>
        </p:txBody>
      </p:sp>
      <p:sp>
        <p:nvSpPr>
          <p:cNvPr id="8" name="Rectangle 7">
            <a:extLst>
              <a:ext uri="{FF2B5EF4-FFF2-40B4-BE49-F238E27FC236}">
                <a16:creationId xmlns:a16="http://schemas.microsoft.com/office/drawing/2014/main" id="{8E20C617-7FD8-5460-C5C2-73D5795DFCB5}"/>
              </a:ext>
            </a:extLst>
          </p:cNvPr>
          <p:cNvSpPr/>
          <p:nvPr/>
        </p:nvSpPr>
        <p:spPr>
          <a:xfrm>
            <a:off x="11171500"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7F7B170A-57FA-9760-97AC-C33B1258B777}"/>
              </a:ext>
            </a:extLst>
          </p:cNvPr>
          <p:cNvSpPr/>
          <p:nvPr/>
        </p:nvSpPr>
        <p:spPr>
          <a:xfrm>
            <a:off x="111006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24" name="L-Shape 23">
            <a:extLst>
              <a:ext uri="{FF2B5EF4-FFF2-40B4-BE49-F238E27FC236}">
                <a16:creationId xmlns:a16="http://schemas.microsoft.com/office/drawing/2014/main" id="{BE32B8E0-C73B-EC8B-3244-6E444A7A29E7}"/>
              </a:ext>
            </a:extLst>
          </p:cNvPr>
          <p:cNvSpPr/>
          <p:nvPr/>
        </p:nvSpPr>
        <p:spPr>
          <a:xfrm rot="13500000">
            <a:off x="580626" y="2789589"/>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R="0" lvl="0" algn="ctr" defTabSz="914400" rtl="0" eaLnBrk="1" fontAlgn="auto" latinLnBrk="0" hangingPunct="1">
              <a:lnSpc>
                <a:spcPct val="100000"/>
              </a:lnSpc>
              <a:spcBef>
                <a:spcPts val="0"/>
              </a:spcBef>
              <a:buClrTx/>
              <a:buSzTx/>
              <a:tabLst/>
              <a:defRPr/>
            </a:pPr>
            <a:endParaRPr kumimoji="0" lang="cs-CZ" b="0" i="0" u="none" strike="noStrike" kern="1200" cap="none" spc="0" normalizeH="0" baseline="0" noProof="0">
              <a:ln>
                <a:noFill/>
              </a:ln>
              <a:solidFill>
                <a:srgbClr val="FFFFFF"/>
              </a:solidFill>
              <a:effectLst/>
              <a:uLnTx/>
              <a:uFillTx/>
              <a:latin typeface="Arial"/>
              <a:ea typeface="+mn-ea"/>
              <a:cs typeface="+mn-cs"/>
            </a:endParaRPr>
          </a:p>
        </p:txBody>
      </p:sp>
      <p:sp>
        <p:nvSpPr>
          <p:cNvPr id="45" name="L-Shape 44">
            <a:extLst>
              <a:ext uri="{FF2B5EF4-FFF2-40B4-BE49-F238E27FC236}">
                <a16:creationId xmlns:a16="http://schemas.microsoft.com/office/drawing/2014/main" id="{DDB3C51C-DE4C-0BD0-8B98-487B3AAC62E9}"/>
              </a:ext>
            </a:extLst>
          </p:cNvPr>
          <p:cNvSpPr/>
          <p:nvPr/>
        </p:nvSpPr>
        <p:spPr>
          <a:xfrm rot="13500000">
            <a:off x="580626" y="3749960"/>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R="0" lvl="0" algn="ctr" defTabSz="914400" rtl="0" eaLnBrk="1" fontAlgn="auto" latinLnBrk="0" hangingPunct="1">
              <a:lnSpc>
                <a:spcPct val="100000"/>
              </a:lnSpc>
              <a:spcBef>
                <a:spcPts val="0"/>
              </a:spcBef>
              <a:buClrTx/>
              <a:buSzTx/>
              <a:tabLst/>
              <a:defRPr/>
            </a:pPr>
            <a:endParaRPr kumimoji="0" lang="cs-CZ" b="0" i="0" u="none" strike="noStrike" kern="1200" cap="none" spc="0" normalizeH="0" baseline="0" noProof="0">
              <a:ln>
                <a:noFill/>
              </a:ln>
              <a:solidFill>
                <a:srgbClr val="FFFFFF"/>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4CAE8FC2-2090-676A-56D8-3DEDDEA0C71C}"/>
              </a:ext>
            </a:extLst>
          </p:cNvPr>
          <p:cNvSpPr/>
          <p:nvPr/>
        </p:nvSpPr>
        <p:spPr>
          <a:xfrm>
            <a:off x="6171830" y="2498007"/>
            <a:ext cx="576000" cy="824254"/>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R="0" lvl="0" algn="l" defTabSz="914400" rtl="0" eaLnBrk="1" fontAlgn="auto" latinLnBrk="0" hangingPunct="1">
              <a:lnSpc>
                <a:spcPct val="100000"/>
              </a:lnSpc>
              <a:spcBef>
                <a:spcPts val="0"/>
              </a:spcBef>
              <a:buClrTx/>
              <a:buSzTx/>
              <a:tabLst/>
              <a:defRPr/>
            </a:pPr>
            <a:endParaRPr kumimoji="0" lang="lv-LV" b="1" i="0" u="none" strike="noStrike" kern="1200" cap="none" spc="0" normalizeH="0" baseline="0" noProof="0">
              <a:ln>
                <a:noFill/>
              </a:ln>
              <a:solidFill>
                <a:srgbClr val="FFFFFF"/>
              </a:solidFill>
              <a:effectLst/>
              <a:uLnTx/>
              <a:uFillTx/>
              <a:latin typeface="Arial"/>
              <a:ea typeface="+mn-ea"/>
              <a:cs typeface="+mn-cs"/>
            </a:endParaRPr>
          </a:p>
        </p:txBody>
      </p:sp>
      <p:sp>
        <p:nvSpPr>
          <p:cNvPr id="42" name="Rectangle 41">
            <a:extLst>
              <a:ext uri="{FF2B5EF4-FFF2-40B4-BE49-F238E27FC236}">
                <a16:creationId xmlns:a16="http://schemas.microsoft.com/office/drawing/2014/main" id="{B1183DE2-8149-1DBE-5A46-646F89EDC390}"/>
              </a:ext>
            </a:extLst>
          </p:cNvPr>
          <p:cNvSpPr/>
          <p:nvPr/>
        </p:nvSpPr>
        <p:spPr>
          <a:xfrm>
            <a:off x="6851500" y="2498007"/>
            <a:ext cx="4896000" cy="82425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1" algn="l" defTabSz="914400" rtl="0" eaLnBrk="1" fontAlgn="auto" latinLnBrk="0" hangingPunct="1">
              <a:lnSpc>
                <a:spcPct val="100000"/>
              </a:lnSpc>
              <a:spcBef>
                <a:spcPts val="0"/>
              </a:spcBef>
              <a:buClrTx/>
              <a:buSzPct val="100000"/>
              <a:tabLst/>
              <a:defRPr/>
            </a:pPr>
            <a:r>
              <a:rPr kumimoji="0" lang="lv-LV" sz="1400" b="0" i="0" u="none" strike="noStrike" kern="1200" cap="none" spc="0" normalizeH="0" baseline="0" noProof="0">
                <a:ln>
                  <a:noFill/>
                </a:ln>
                <a:solidFill>
                  <a:srgbClr val="000000"/>
                </a:solidFill>
                <a:effectLst/>
                <a:uLnTx/>
                <a:uFillTx/>
                <a:latin typeface="Arial"/>
                <a:ea typeface="+mn-ea"/>
                <a:cs typeface="+mn-cs"/>
              </a:rPr>
              <a:t>Sistēmas adaptācijas spējas izvērtējums, ekspertiem konkrētam riskam atbilstoši novērtējot dažādus sistēmas adaptācijas spējas kritērijus</a:t>
            </a:r>
          </a:p>
        </p:txBody>
      </p:sp>
      <p:sp>
        <p:nvSpPr>
          <p:cNvPr id="48" name="Rectangle 47">
            <a:extLst>
              <a:ext uri="{FF2B5EF4-FFF2-40B4-BE49-F238E27FC236}">
                <a16:creationId xmlns:a16="http://schemas.microsoft.com/office/drawing/2014/main" id="{94F2EEDD-E3D2-624F-DB7C-08098CACDBBD}"/>
              </a:ext>
            </a:extLst>
          </p:cNvPr>
          <p:cNvSpPr/>
          <p:nvPr/>
        </p:nvSpPr>
        <p:spPr>
          <a:xfrm>
            <a:off x="6171830" y="3458378"/>
            <a:ext cx="576000" cy="824254"/>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R="0" lvl="0" algn="l" defTabSz="914400" rtl="0" eaLnBrk="1" fontAlgn="auto" latinLnBrk="0" hangingPunct="1">
              <a:lnSpc>
                <a:spcPct val="100000"/>
              </a:lnSpc>
              <a:spcBef>
                <a:spcPts val="0"/>
              </a:spcBef>
              <a:buClrTx/>
              <a:buSzTx/>
              <a:tabLst/>
              <a:defRPr/>
            </a:pPr>
            <a:endParaRPr kumimoji="0" lang="lv-LV" b="1" i="0" u="none" strike="noStrike" kern="1200" cap="none" spc="0" normalizeH="0" baseline="0" noProof="0">
              <a:ln>
                <a:noFill/>
              </a:ln>
              <a:solidFill>
                <a:srgbClr val="FFFFFF"/>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5C884375-A9E2-F46A-44BB-34B6B7FE97A7}"/>
              </a:ext>
            </a:extLst>
          </p:cNvPr>
          <p:cNvSpPr/>
          <p:nvPr/>
        </p:nvSpPr>
        <p:spPr>
          <a:xfrm>
            <a:off x="6851500" y="3458378"/>
            <a:ext cx="4896000" cy="82425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1" algn="l" defTabSz="914400" rtl="0" eaLnBrk="1" fontAlgn="auto" latinLnBrk="0" hangingPunct="1">
              <a:lnSpc>
                <a:spcPct val="100000"/>
              </a:lnSpc>
              <a:spcBef>
                <a:spcPts val="0"/>
              </a:spcBef>
              <a:buClrTx/>
              <a:buSzPct val="100000"/>
              <a:tabLst/>
              <a:defRPr/>
            </a:pPr>
            <a:r>
              <a:rPr kumimoji="0" lang="lv-LV" sz="1400" b="0" i="0" u="none" strike="noStrike" kern="1200" cap="none" spc="0" normalizeH="0" baseline="0" noProof="0">
                <a:ln>
                  <a:noFill/>
                </a:ln>
                <a:solidFill>
                  <a:srgbClr val="000000"/>
                </a:solidFill>
                <a:effectLst/>
                <a:uLnTx/>
                <a:uFillTx/>
                <a:latin typeface="Arial"/>
                <a:ea typeface="+mn-ea"/>
                <a:cs typeface="+mn-cs"/>
              </a:rPr>
              <a:t>Ievainojamības novērtējums, ņemot vērā visu iepriekš analizēto kategoriju rezultātus</a:t>
            </a:r>
          </a:p>
        </p:txBody>
      </p:sp>
      <p:sp>
        <p:nvSpPr>
          <p:cNvPr id="41" name="L-Shape 40">
            <a:extLst>
              <a:ext uri="{FF2B5EF4-FFF2-40B4-BE49-F238E27FC236}">
                <a16:creationId xmlns:a16="http://schemas.microsoft.com/office/drawing/2014/main" id="{2A95C19B-895C-0A78-8CB7-C7669616119D}"/>
              </a:ext>
            </a:extLst>
          </p:cNvPr>
          <p:cNvSpPr/>
          <p:nvPr/>
        </p:nvSpPr>
        <p:spPr>
          <a:xfrm rot="13500000">
            <a:off x="6311130" y="2789589"/>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R="0" lvl="0" algn="ctr" defTabSz="914400" rtl="0" eaLnBrk="1" fontAlgn="auto" latinLnBrk="0" hangingPunct="1">
              <a:lnSpc>
                <a:spcPct val="100000"/>
              </a:lnSpc>
              <a:spcBef>
                <a:spcPts val="0"/>
              </a:spcBef>
              <a:buClrTx/>
              <a:buSzTx/>
              <a:tabLst/>
              <a:defRPr/>
            </a:pPr>
            <a:endParaRPr kumimoji="0" lang="cs-CZ" b="0" i="0" u="none" strike="noStrike" kern="1200" cap="none" spc="0" normalizeH="0" baseline="0" noProof="0">
              <a:ln>
                <a:noFill/>
              </a:ln>
              <a:solidFill>
                <a:srgbClr val="FFFFFF"/>
              </a:solidFill>
              <a:effectLst/>
              <a:uLnTx/>
              <a:uFillTx/>
              <a:latin typeface="Arial"/>
              <a:ea typeface="+mn-ea"/>
              <a:cs typeface="+mn-cs"/>
            </a:endParaRPr>
          </a:p>
        </p:txBody>
      </p:sp>
      <p:sp>
        <p:nvSpPr>
          <p:cNvPr id="49" name="L-Shape 48">
            <a:extLst>
              <a:ext uri="{FF2B5EF4-FFF2-40B4-BE49-F238E27FC236}">
                <a16:creationId xmlns:a16="http://schemas.microsoft.com/office/drawing/2014/main" id="{0030E075-B34A-27FD-F5F1-B1ED36A1A269}"/>
              </a:ext>
            </a:extLst>
          </p:cNvPr>
          <p:cNvSpPr/>
          <p:nvPr/>
        </p:nvSpPr>
        <p:spPr>
          <a:xfrm rot="13500000">
            <a:off x="6311130" y="3749960"/>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R="0" lvl="0" algn="ctr" defTabSz="914400" rtl="0" eaLnBrk="1" fontAlgn="auto" latinLnBrk="0" hangingPunct="1">
              <a:lnSpc>
                <a:spcPct val="100000"/>
              </a:lnSpc>
              <a:spcBef>
                <a:spcPts val="0"/>
              </a:spcBef>
              <a:buClrTx/>
              <a:buSzTx/>
              <a:tabLst/>
              <a:defRPr/>
            </a:pPr>
            <a:endParaRPr kumimoji="0" lang="cs-CZ" b="0" i="0" u="none" strike="noStrike" kern="1200" cap="none" spc="0" normalizeH="0" baseline="0" noProof="0">
              <a:ln>
                <a:noFill/>
              </a:ln>
              <a:solidFill>
                <a:srgbClr val="FFFFFF"/>
              </a:solidFill>
              <a:effectLst/>
              <a:uLnTx/>
              <a:uFillTx/>
              <a:latin typeface="Arial"/>
              <a:ea typeface="+mn-ea"/>
              <a:cs typeface="+mn-cs"/>
            </a:endParaRPr>
          </a:p>
        </p:txBody>
      </p:sp>
      <p:sp>
        <p:nvSpPr>
          <p:cNvPr id="4" name="Google Shape;1982;p97">
            <a:extLst>
              <a:ext uri="{FF2B5EF4-FFF2-40B4-BE49-F238E27FC236}">
                <a16:creationId xmlns:a16="http://schemas.microsoft.com/office/drawing/2014/main" id="{16BFA024-CBA7-E598-C35A-4A08E048A46D}"/>
              </a:ext>
            </a:extLst>
          </p:cNvPr>
          <p:cNvSpPr/>
          <p:nvPr/>
        </p:nvSpPr>
        <p:spPr>
          <a:xfrm>
            <a:off x="11279500" y="1927275"/>
            <a:ext cx="360000" cy="360000"/>
          </a:xfrm>
          <a:custGeom>
            <a:avLst/>
            <a:gdLst/>
            <a:ahLst/>
            <a:cxnLst/>
            <a:rect l="l" t="t" r="r" b="b"/>
            <a:pathLst>
              <a:path w="576" h="576" extrusionOk="0">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grpSp>
        <p:nvGrpSpPr>
          <p:cNvPr id="7" name="Group 6">
            <a:extLst>
              <a:ext uri="{FF2B5EF4-FFF2-40B4-BE49-F238E27FC236}">
                <a16:creationId xmlns:a16="http://schemas.microsoft.com/office/drawing/2014/main" id="{9825DF03-E0C5-EF1E-63D1-720A6C76DACB}"/>
              </a:ext>
            </a:extLst>
          </p:cNvPr>
          <p:cNvGrpSpPr/>
          <p:nvPr/>
        </p:nvGrpSpPr>
        <p:grpSpPr>
          <a:xfrm>
            <a:off x="8801780" y="159786"/>
            <a:ext cx="2947308" cy="217488"/>
            <a:chOff x="8559953" y="967274"/>
            <a:chExt cx="2947308" cy="217488"/>
          </a:xfrm>
        </p:grpSpPr>
        <p:sp>
          <p:nvSpPr>
            <p:cNvPr id="13" name="Rectangle 12">
              <a:extLst>
                <a:ext uri="{FF2B5EF4-FFF2-40B4-BE49-F238E27FC236}">
                  <a16:creationId xmlns:a16="http://schemas.microsoft.com/office/drawing/2014/main" id="{08EEBC9E-643D-2433-12A2-94E3E8813C99}"/>
                </a:ext>
              </a:extLst>
            </p:cNvPr>
            <p:cNvSpPr/>
            <p:nvPr/>
          </p:nvSpPr>
          <p:spPr>
            <a:xfrm>
              <a:off x="9043607" y="96727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5</a:t>
              </a:r>
              <a:r>
                <a:rPr kumimoji="0" lang="lv-LV" sz="800" b="1" i="0" u="none" strike="noStrike" kern="0" cap="none" spc="0" normalizeH="0" baseline="0" dirty="0">
                  <a:ln>
                    <a:noFill/>
                  </a:ln>
                  <a:effectLst/>
                  <a:uLnTx/>
                  <a:uFillTx/>
                  <a:ea typeface="Georgia"/>
                  <a:cs typeface="Georgia"/>
                  <a:sym typeface="Georgia"/>
                </a:rPr>
                <a:t>.</a:t>
              </a:r>
              <a:r>
                <a:rPr kumimoji="0" lang="en-US" sz="800" b="1" i="0" u="none" strike="noStrike" kern="0" cap="none" spc="0" normalizeH="0" baseline="0" dirty="0">
                  <a:ln>
                    <a:noFill/>
                  </a:ln>
                  <a:effectLst/>
                  <a:uLnTx/>
                  <a:uFillTx/>
                  <a:ea typeface="Georgia"/>
                  <a:cs typeface="Georgia"/>
                  <a:sym typeface="Georgia"/>
                </a:rPr>
                <a:t>3</a:t>
              </a:r>
              <a:endParaRPr kumimoji="0" lang="lv-LV" sz="800" b="1" i="0" u="none" strike="noStrike" kern="0" cap="none" spc="0" normalizeH="0" baseline="0" dirty="0">
                <a:ln>
                  <a:noFill/>
                </a:ln>
                <a:effectLst/>
                <a:uLnTx/>
                <a:uFillTx/>
                <a:ea typeface="Georgia"/>
                <a:cs typeface="Georgia"/>
                <a:sym typeface="Georgia"/>
              </a:endParaRPr>
            </a:p>
          </p:txBody>
        </p:sp>
        <p:sp>
          <p:nvSpPr>
            <p:cNvPr id="27" name="Rectangle 26">
              <a:extLst>
                <a:ext uri="{FF2B5EF4-FFF2-40B4-BE49-F238E27FC236}">
                  <a16:creationId xmlns:a16="http://schemas.microsoft.com/office/drawing/2014/main" id="{0666E103-738C-AC5B-34B5-CF46C3CE8F01}"/>
                </a:ext>
              </a:extLst>
            </p:cNvPr>
            <p:cNvSpPr/>
            <p:nvPr/>
          </p:nvSpPr>
          <p:spPr>
            <a:xfrm>
              <a:off x="11291261" y="9672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4</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28" name="Rectangle 27">
              <a:extLst>
                <a:ext uri="{FF2B5EF4-FFF2-40B4-BE49-F238E27FC236}">
                  <a16:creationId xmlns:a16="http://schemas.microsoft.com/office/drawing/2014/main" id="{D280E2D9-EBE3-1BF1-4243-535FBF66B515}"/>
                </a:ext>
              </a:extLst>
            </p:cNvPr>
            <p:cNvSpPr/>
            <p:nvPr/>
          </p:nvSpPr>
          <p:spPr>
            <a:xfrm>
              <a:off x="9285434" y="967274"/>
              <a:ext cx="198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Apdraudējuma riska novērtēšana</a:t>
              </a:r>
              <a:endParaRPr kumimoji="0" lang="en-US" sz="800" b="1" i="0" u="none" strike="noStrike" kern="0" cap="none" spc="0" normalizeH="0" baseline="0" dirty="0">
                <a:ln>
                  <a:noFill/>
                </a:ln>
                <a:effectLst/>
                <a:uLnTx/>
                <a:uFillTx/>
                <a:ea typeface="Georgia"/>
                <a:cs typeface="Georgia"/>
                <a:sym typeface="Georgia"/>
              </a:endParaRPr>
            </a:p>
          </p:txBody>
        </p:sp>
        <p:sp>
          <p:nvSpPr>
            <p:cNvPr id="29" name="Rectangle 28">
              <a:extLst>
                <a:ext uri="{FF2B5EF4-FFF2-40B4-BE49-F238E27FC236}">
                  <a16:creationId xmlns:a16="http://schemas.microsoft.com/office/drawing/2014/main" id="{77CDD486-AA70-0F4F-B3AB-127C2142204F}"/>
                </a:ext>
              </a:extLst>
            </p:cNvPr>
            <p:cNvSpPr/>
            <p:nvPr/>
          </p:nvSpPr>
          <p:spPr>
            <a:xfrm>
              <a:off x="8801780" y="9672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2</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30" name="Rectangle 29">
              <a:extLst>
                <a:ext uri="{FF2B5EF4-FFF2-40B4-BE49-F238E27FC236}">
                  <a16:creationId xmlns:a16="http://schemas.microsoft.com/office/drawing/2014/main" id="{FCCD1772-5977-CA24-5BE9-F07A90AD9749}"/>
                </a:ext>
              </a:extLst>
            </p:cNvPr>
            <p:cNvSpPr/>
            <p:nvPr/>
          </p:nvSpPr>
          <p:spPr>
            <a:xfrm>
              <a:off x="8559953" y="9672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1538181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9">
            <a:extLst>
              <a:ext uri="{FF2B5EF4-FFF2-40B4-BE49-F238E27FC236}">
                <a16:creationId xmlns:a16="http://schemas.microsoft.com/office/drawing/2014/main" id="{DF159C24-5B76-98E4-77EB-B735B41F7E0D}"/>
              </a:ext>
            </a:extLst>
          </p:cNvPr>
          <p:cNvGraphicFramePr>
            <a:graphicFrameLocks noGrp="1"/>
          </p:cNvGraphicFramePr>
          <p:nvPr/>
        </p:nvGraphicFramePr>
        <p:xfrm>
          <a:off x="442912" y="2670374"/>
          <a:ext cx="11306175" cy="3501828"/>
        </p:xfrm>
        <a:graphic>
          <a:graphicData uri="http://schemas.openxmlformats.org/drawingml/2006/table">
            <a:tbl>
              <a:tblPr firstRow="1" bandRow="1"/>
              <a:tblGrid>
                <a:gridCol w="705168">
                  <a:extLst>
                    <a:ext uri="{9D8B030D-6E8A-4147-A177-3AD203B41FA5}">
                      <a16:colId xmlns:a16="http://schemas.microsoft.com/office/drawing/2014/main" val="916294903"/>
                    </a:ext>
                  </a:extLst>
                </a:gridCol>
                <a:gridCol w="3817302">
                  <a:extLst>
                    <a:ext uri="{9D8B030D-6E8A-4147-A177-3AD203B41FA5}">
                      <a16:colId xmlns:a16="http://schemas.microsoft.com/office/drawing/2014/main" val="3668737413"/>
                    </a:ext>
                  </a:extLst>
                </a:gridCol>
                <a:gridCol w="2261235">
                  <a:extLst>
                    <a:ext uri="{9D8B030D-6E8A-4147-A177-3AD203B41FA5}">
                      <a16:colId xmlns:a16="http://schemas.microsoft.com/office/drawing/2014/main" val="3850332062"/>
                    </a:ext>
                  </a:extLst>
                </a:gridCol>
                <a:gridCol w="2261235">
                  <a:extLst>
                    <a:ext uri="{9D8B030D-6E8A-4147-A177-3AD203B41FA5}">
                      <a16:colId xmlns:a16="http://schemas.microsoft.com/office/drawing/2014/main" val="799964269"/>
                    </a:ext>
                  </a:extLst>
                </a:gridCol>
                <a:gridCol w="2261235">
                  <a:extLst>
                    <a:ext uri="{9D8B030D-6E8A-4147-A177-3AD203B41FA5}">
                      <a16:colId xmlns:a16="http://schemas.microsoft.com/office/drawing/2014/main" val="3222481653"/>
                    </a:ext>
                  </a:extLst>
                </a:gridCol>
              </a:tblGrid>
              <a:tr h="583638">
                <a:tc>
                  <a:txBody>
                    <a:bodyPr/>
                    <a:lstStyle/>
                    <a:p>
                      <a:pPr algn="ctr"/>
                      <a:r>
                        <a:rPr lang="en-GB" sz="1400" b="1">
                          <a:solidFill>
                            <a:schemeClr val="bg1"/>
                          </a:solidFill>
                        </a:rPr>
                        <a:t>Nr.p.k.</a:t>
                      </a:r>
                    </a:p>
                  </a:txBody>
                  <a:tcPr marL="72000" marR="7200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tc>
                  <a:txBody>
                    <a:bodyPr/>
                    <a:lstStyle/>
                    <a:p>
                      <a:r>
                        <a:rPr lang="en-GB" sz="1400" b="1">
                          <a:solidFill>
                            <a:schemeClr val="bg1"/>
                          </a:solidFill>
                        </a:rPr>
                        <a:t>Pielāgošanās pasākumi </a:t>
                      </a:r>
                    </a:p>
                  </a:txBody>
                  <a:tcPr marL="72000" marR="7200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tc>
                  <a:txBody>
                    <a:bodyPr/>
                    <a:lstStyle/>
                    <a:p>
                      <a:pPr algn="ctr"/>
                      <a:r>
                        <a:rPr lang="en-GB" sz="1400" b="1">
                          <a:solidFill>
                            <a:schemeClr val="bg1"/>
                          </a:solidFill>
                        </a:rPr>
                        <a:t>Novēršana</a:t>
                      </a:r>
                    </a:p>
                  </a:txBody>
                  <a:tcPr marL="72000" marR="7200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tc>
                  <a:txBody>
                    <a:bodyPr/>
                    <a:lstStyle/>
                    <a:p>
                      <a:pPr algn="ctr"/>
                      <a:r>
                        <a:rPr lang="en-GB" sz="1400" b="1">
                          <a:solidFill>
                            <a:schemeClr val="bg1"/>
                          </a:solidFill>
                        </a:rPr>
                        <a:t>Ārkārtas situācijas plānošana un pārvaldība </a:t>
                      </a:r>
                    </a:p>
                  </a:txBody>
                  <a:tcPr marL="72000" marR="7200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Pēckatastrofas palīdzība un apdrošināšana</a:t>
                      </a:r>
                    </a:p>
                  </a:txBody>
                  <a:tcPr marL="72000" marR="7200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extLst>
                  <a:ext uri="{0D108BD9-81ED-4DB2-BD59-A6C34878D82A}">
                    <a16:rowId xmlns:a16="http://schemas.microsoft.com/office/drawing/2014/main" val="3754681607"/>
                  </a:ext>
                </a:extLst>
              </a:tr>
              <a:tr h="583638">
                <a:tc>
                  <a:txBody>
                    <a:bodyPr/>
                    <a:lstStyle/>
                    <a:p>
                      <a:pPr algn="ctr"/>
                      <a:r>
                        <a:rPr lang="en-GB" sz="1400"/>
                        <a:t>1</a:t>
                      </a:r>
                    </a:p>
                  </a:txBody>
                  <a:tcPr marL="72000" marR="72000" marT="0" marB="0" anchor="ctr">
                    <a:lnL w="12700" cmpd="sng">
                      <a:noFill/>
                      <a:prstDash val="solid"/>
                    </a:lnL>
                    <a:lnR w="12700" cmpd="sng">
                      <a:noFill/>
                      <a:prstDash val="solid"/>
                    </a:lnR>
                    <a:lnT w="12700" cmpd="sng">
                      <a:noFill/>
                      <a:prstDash val="soli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1400"/>
                        <a:t>Vienotas katastrofu zaudējumu datu bāzes izveidošana </a:t>
                      </a:r>
                    </a:p>
                  </a:txBody>
                  <a:tcPr marL="72000" marR="72000" marT="0" marB="0" anchor="ctr">
                    <a:lnL w="12700" cmpd="sng">
                      <a:noFill/>
                      <a:prstDash val="solid"/>
                    </a:lnL>
                    <a:lnR w="12700" cmpd="sng">
                      <a:noFill/>
                      <a:prstDash val="solid"/>
                    </a:lnR>
                    <a:lnT w="12700" cmpd="sng">
                      <a:noFill/>
                      <a:prstDash val="soli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GB" sz="2000"/>
                    </a:p>
                  </a:txBody>
                  <a:tcPr marL="72000" marR="72000" marT="0" marB="0" anchor="ctr">
                    <a:lnL w="12700" cmpd="sng">
                      <a:noFill/>
                      <a:prstDash val="solid"/>
                    </a:lnL>
                    <a:lnR w="3175" cap="flat" cmpd="sng" algn="ctr">
                      <a:solidFill>
                        <a:schemeClr val="bg1">
                          <a:lumMod val="75000"/>
                        </a:schemeClr>
                      </a:solidFill>
                      <a:prstDash val="solid"/>
                      <a:round/>
                      <a:headEnd type="none" w="med" len="med"/>
                      <a:tailEnd type="none" w="med" len="med"/>
                    </a:lnR>
                    <a:lnT w="12700" cmpd="sng">
                      <a:noFill/>
                      <a:prstDash val="soli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2000"/>
                        <a:t>x</a:t>
                      </a:r>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mpd="sng">
                      <a:noFill/>
                      <a:prstDash val="soli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2000"/>
                        <a:t>x</a:t>
                      </a:r>
                    </a:p>
                  </a:txBody>
                  <a:tcPr marL="72000" marR="72000" marT="0" marB="0" anchor="ctr">
                    <a:lnL w="3175" cap="flat" cmpd="sng" algn="ctr">
                      <a:solidFill>
                        <a:schemeClr val="bg1">
                          <a:lumMod val="75000"/>
                        </a:schemeClr>
                      </a:solidFill>
                      <a:prstDash val="solid"/>
                      <a:round/>
                      <a:headEnd type="none" w="med" len="med"/>
                      <a:tailEnd type="none" w="med" len="med"/>
                    </a:lnL>
                    <a:lnR w="12700" cmpd="sng">
                      <a:noFill/>
                      <a:prstDash val="solid"/>
                    </a:lnR>
                    <a:lnT w="12700" cmpd="sng">
                      <a:noFill/>
                      <a:prstDash val="soli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23494771"/>
                  </a:ext>
                </a:extLst>
              </a:tr>
              <a:tr h="583638">
                <a:tc>
                  <a:txBody>
                    <a:bodyPr/>
                    <a:lstStyle/>
                    <a:p>
                      <a:pPr algn="ctr"/>
                      <a:r>
                        <a:rPr lang="en-GB" sz="1400"/>
                        <a:t>2</a:t>
                      </a:r>
                    </a:p>
                  </a:txBody>
                  <a:tcPr marL="72000" marR="72000" marT="0" marB="0" anchor="ctr">
                    <a:lnL w="12700" cmpd="sng">
                      <a:noFill/>
                      <a:prstDash val="solid"/>
                    </a:lnL>
                    <a:lnR w="12700" cmpd="sng">
                      <a:noFill/>
                      <a:prstDash val="soli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1400"/>
                        <a:t>Agrīnā brīdināšana</a:t>
                      </a:r>
                    </a:p>
                  </a:txBody>
                  <a:tcPr marL="72000" marR="72000" marT="0" marB="0" anchor="ctr">
                    <a:lnL w="12700" cmpd="sng">
                      <a:noFill/>
                      <a:prstDash val="solid"/>
                    </a:lnL>
                    <a:lnR w="12700" cmpd="sng">
                      <a:noFill/>
                      <a:prstDash val="soli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GB" sz="2000"/>
                    </a:p>
                  </a:txBody>
                  <a:tcPr marL="72000" marR="72000" marT="0" marB="0" anchor="ctr">
                    <a:lnL w="12700" cmpd="sng">
                      <a:noFill/>
                      <a:prstDash val="soli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2000"/>
                        <a:t>x</a:t>
                      </a:r>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2000"/>
                    </a:p>
                  </a:txBody>
                  <a:tcPr marL="72000" marR="72000" marT="0" marB="0" anchor="ctr">
                    <a:lnL w="3175" cap="flat" cmpd="sng" algn="ctr">
                      <a:solidFill>
                        <a:schemeClr val="bg1">
                          <a:lumMod val="75000"/>
                        </a:schemeClr>
                      </a:solidFill>
                      <a:prstDash val="solid"/>
                      <a:round/>
                      <a:headEnd type="none" w="med" len="med"/>
                      <a:tailEnd type="none" w="med" len="med"/>
                    </a:lnL>
                    <a:lnR w="12700" cmpd="sng">
                      <a:noFill/>
                      <a:prstDash val="soli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64789972"/>
                  </a:ext>
                </a:extLst>
              </a:tr>
              <a:tr h="583638">
                <a:tc>
                  <a:txBody>
                    <a:bodyPr/>
                    <a:lstStyle/>
                    <a:p>
                      <a:pPr algn="ctr"/>
                      <a:r>
                        <a:rPr lang="en-GB" sz="1400"/>
                        <a:t>3</a:t>
                      </a:r>
                    </a:p>
                  </a:txBody>
                  <a:tcPr marL="72000" marR="72000" marT="0" marB="0" anchor="ctr">
                    <a:lnL w="12700" cmpd="sng">
                      <a:noFill/>
                      <a:prstDash val="solid"/>
                    </a:lnL>
                    <a:lnR w="12700" cmpd="sng">
                      <a:noFill/>
                      <a:prstDash val="soli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1400"/>
                        <a:t>Monitoringa un prognozēšanas sistēmas uzlabošana </a:t>
                      </a:r>
                    </a:p>
                  </a:txBody>
                  <a:tcPr marL="72000" marR="72000" marT="0" marB="0" anchor="ctr">
                    <a:lnL w="12700" cmpd="sng">
                      <a:noFill/>
                      <a:prstDash val="solid"/>
                    </a:lnL>
                    <a:lnR w="12700" cmpd="sng">
                      <a:noFill/>
                      <a:prstDash val="soli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2000"/>
                        <a:t>x</a:t>
                      </a:r>
                    </a:p>
                  </a:txBody>
                  <a:tcPr marL="72000" marR="72000" marT="0" marB="0" anchor="ctr">
                    <a:lnL w="12700" cmpd="sng">
                      <a:noFill/>
                      <a:prstDash val="soli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2000"/>
                        <a:t>x</a:t>
                      </a:r>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2000"/>
                    </a:p>
                  </a:txBody>
                  <a:tcPr marL="72000" marR="72000" marT="0" marB="0" anchor="ctr">
                    <a:lnL w="3175" cap="flat" cmpd="sng" algn="ctr">
                      <a:solidFill>
                        <a:schemeClr val="bg1">
                          <a:lumMod val="75000"/>
                        </a:schemeClr>
                      </a:solidFill>
                      <a:prstDash val="solid"/>
                      <a:round/>
                      <a:headEnd type="none" w="med" len="med"/>
                      <a:tailEnd type="none" w="med" len="med"/>
                    </a:lnL>
                    <a:lnR w="12700" cmpd="sng">
                      <a:noFill/>
                      <a:prstDash val="soli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5415029"/>
                  </a:ext>
                </a:extLst>
              </a:tr>
              <a:tr h="583638">
                <a:tc>
                  <a:txBody>
                    <a:bodyPr/>
                    <a:lstStyle/>
                    <a:p>
                      <a:pPr algn="ctr"/>
                      <a:r>
                        <a:rPr lang="en-GB" sz="1400"/>
                        <a:t>4</a:t>
                      </a:r>
                    </a:p>
                  </a:txBody>
                  <a:tcPr marL="72000" marR="72000" marT="0" marB="0" anchor="ctr">
                    <a:lnL w="12700" cmpd="sng">
                      <a:noFill/>
                      <a:prstDash val="solid"/>
                    </a:lnL>
                    <a:lnR w="12700" cmpd="sng">
                      <a:noFill/>
                      <a:prstDash val="soli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1400"/>
                        <a:t>Teritoriālplānojuma un atbilstošās likumdošanas adaptācija </a:t>
                      </a:r>
                    </a:p>
                  </a:txBody>
                  <a:tcPr marL="72000" marR="72000" marT="0" marB="0" anchor="ctr">
                    <a:lnL w="12700" cmpd="sng">
                      <a:noFill/>
                      <a:prstDash val="solid"/>
                    </a:lnL>
                    <a:lnR w="12700" cmpd="sng">
                      <a:noFill/>
                      <a:prstDash val="soli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2000"/>
                        <a:t>x</a:t>
                      </a:r>
                    </a:p>
                  </a:txBody>
                  <a:tcPr marL="72000" marR="72000" marT="0" marB="0" anchor="ctr">
                    <a:lnL w="12700" cmpd="sng">
                      <a:noFill/>
                      <a:prstDash val="soli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2000"/>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2000"/>
                    </a:p>
                  </a:txBody>
                  <a:tcPr marL="72000" marR="72000" marT="0" marB="0" anchor="ctr">
                    <a:lnL w="3175" cap="flat" cmpd="sng" algn="ctr">
                      <a:solidFill>
                        <a:schemeClr val="bg1">
                          <a:lumMod val="75000"/>
                        </a:schemeClr>
                      </a:solidFill>
                      <a:prstDash val="solid"/>
                      <a:round/>
                      <a:headEnd type="none" w="med" len="med"/>
                      <a:tailEnd type="none" w="med" len="med"/>
                    </a:lnL>
                    <a:lnR w="12700" cmpd="sng">
                      <a:noFill/>
                      <a:prstDash val="soli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26493419"/>
                  </a:ext>
                </a:extLst>
              </a:tr>
              <a:tr h="583638">
                <a:tc>
                  <a:txBody>
                    <a:bodyPr/>
                    <a:lstStyle/>
                    <a:p>
                      <a:pPr algn="ctr"/>
                      <a:r>
                        <a:rPr lang="en-GB" sz="1400"/>
                        <a:t>5</a:t>
                      </a:r>
                    </a:p>
                  </a:txBody>
                  <a:tcPr marL="72000" marR="72000" marT="0" marB="0" anchor="ctr">
                    <a:lnL w="12700" cmpd="sng">
                      <a:noFill/>
                      <a:prstDash val="solid"/>
                    </a:lnL>
                    <a:lnR w="12700" cmpd="sng">
                      <a:noFill/>
                      <a:prstDash val="solid"/>
                    </a:lnR>
                    <a:lnT w="317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85000"/>
                      </a:schemeClr>
                    </a:solidFill>
                  </a:tcPr>
                </a:tc>
                <a:tc>
                  <a:txBody>
                    <a:bodyPr/>
                    <a:lstStyle/>
                    <a:p>
                      <a:r>
                        <a:rPr lang="en-GB" sz="1400"/>
                        <a:t>Izglītība (tiek plānots Cilvēkdrošības </a:t>
                      </a:r>
                    </a:p>
                    <a:p>
                      <a:r>
                        <a:rPr lang="en-GB" sz="1400"/>
                        <a:t>mācību kurss)</a:t>
                      </a:r>
                    </a:p>
                  </a:txBody>
                  <a:tcPr marL="72000" marR="72000" marT="0" marB="0" anchor="ctr">
                    <a:lnL w="12700" cmpd="sng">
                      <a:noFill/>
                      <a:prstDash val="solid"/>
                    </a:lnL>
                    <a:lnR w="12700" cmpd="sng">
                      <a:noFill/>
                      <a:prstDash val="solid"/>
                    </a:lnR>
                    <a:lnT w="317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95000"/>
                      </a:schemeClr>
                    </a:solidFill>
                  </a:tcPr>
                </a:tc>
                <a:tc>
                  <a:txBody>
                    <a:bodyPr/>
                    <a:lstStyle/>
                    <a:p>
                      <a:pPr algn="ctr"/>
                      <a:r>
                        <a:rPr lang="en-GB" sz="2000"/>
                        <a:t>x</a:t>
                      </a:r>
                    </a:p>
                  </a:txBody>
                  <a:tcPr marL="72000" marR="72000" marT="0" marB="0" anchor="ctr">
                    <a:lnL w="12700" cmpd="sng">
                      <a:noFill/>
                      <a:prstDash val="soli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algn="ctr"/>
                      <a:r>
                        <a:rPr lang="en-GB" sz="2000"/>
                        <a:t>x</a:t>
                      </a:r>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algn="ctr"/>
                      <a:endParaRPr lang="en-GB" sz="2000" dirty="0"/>
                    </a:p>
                  </a:txBody>
                  <a:tcPr marL="72000" marR="72000" marT="0" marB="0" anchor="ctr">
                    <a:lnL w="3175" cap="flat" cmpd="sng" algn="ctr">
                      <a:solidFill>
                        <a:schemeClr val="bg1">
                          <a:lumMod val="75000"/>
                        </a:schemeClr>
                      </a:solidFill>
                      <a:prstDash val="solid"/>
                      <a:round/>
                      <a:headEnd type="none" w="med" len="med"/>
                      <a:tailEnd type="none" w="med" len="med"/>
                    </a:lnL>
                    <a:lnR w="12700" cmpd="sng">
                      <a:noFill/>
                      <a:prstDash val="solid"/>
                    </a:lnR>
                    <a:lnT w="317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133298057"/>
                  </a:ext>
                </a:extLst>
              </a:tr>
            </a:tbl>
          </a:graphicData>
        </a:graphic>
      </p:graphicFrame>
      <p:sp>
        <p:nvSpPr>
          <p:cNvPr id="19" name="Title 1">
            <a:extLst>
              <a:ext uri="{FF2B5EF4-FFF2-40B4-BE49-F238E27FC236}">
                <a16:creationId xmlns:a16="http://schemas.microsoft.com/office/drawing/2014/main" id="{D4CCCA12-6848-7E0B-CD7A-E85D849E9DCF}"/>
              </a:ext>
            </a:extLst>
          </p:cNvPr>
          <p:cNvSpPr>
            <a:spLocks noGrp="1"/>
          </p:cNvSpPr>
          <p:nvPr>
            <p:ph type="title"/>
          </p:nvPr>
        </p:nvSpPr>
        <p:spPr>
          <a:xfrm>
            <a:off x="442913" y="432001"/>
            <a:ext cx="11306175" cy="1387274"/>
          </a:xfrm>
        </p:spPr>
        <p:txBody>
          <a:bodyPr vert="horz"/>
          <a:lstStyle/>
          <a:p>
            <a:r>
              <a:rPr lang="lv-LV"/>
              <a:t>Riska novērtēšanas piemērs</a:t>
            </a:r>
            <a:br>
              <a:rPr lang="lv-LV"/>
            </a:br>
            <a:r>
              <a:rPr lang="lv-LV">
                <a:solidFill>
                  <a:srgbClr val="9D2235"/>
                </a:solidFill>
              </a:rPr>
              <a:t>Identificētie pielāgošanās pasākumi</a:t>
            </a:r>
          </a:p>
        </p:txBody>
      </p:sp>
      <p:sp>
        <p:nvSpPr>
          <p:cNvPr id="3" name="Rectangle 2">
            <a:extLst>
              <a:ext uri="{FF2B5EF4-FFF2-40B4-BE49-F238E27FC236}">
                <a16:creationId xmlns:a16="http://schemas.microsoft.com/office/drawing/2014/main" id="{8EDD6679-F05D-F4C2-89E4-E5199BC5DD12}"/>
              </a:ext>
            </a:extLst>
          </p:cNvPr>
          <p:cNvSpPr/>
          <p:nvPr/>
        </p:nvSpPr>
        <p:spPr>
          <a:xfrm>
            <a:off x="441325" y="1819275"/>
            <a:ext cx="11306175"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buClrTx/>
              <a:buSzPct val="100000"/>
              <a:buFontTx/>
              <a:buNone/>
              <a:tabLst/>
              <a:defRPr/>
            </a:pPr>
            <a:r>
              <a:rPr kumimoji="0" lang="lv-LV" sz="1600" b="1" i="0" u="none" strike="noStrike" kern="1200" cap="none" spc="0" normalizeH="0" baseline="0" noProof="0">
                <a:ln>
                  <a:noFill/>
                </a:ln>
                <a:solidFill>
                  <a:schemeClr val="tx1"/>
                </a:solidFill>
                <a:effectLst/>
                <a:uLnTx/>
                <a:uFillTx/>
                <a:latin typeface="Arial"/>
                <a:ea typeface="+mn-ea"/>
                <a:cs typeface="+mn-cs"/>
              </a:rPr>
              <a:t>Ņemot vērā dažādu risku analīzi, tai skaitā palu un ledus sanesumu riska novērtējumu, noteikti civilās </a:t>
            </a:r>
          </a:p>
          <a:p>
            <a:pPr marL="0" marR="0" lvl="0" indent="0" algn="l" defTabSz="914400" rtl="0" eaLnBrk="1" fontAlgn="auto" latinLnBrk="0" hangingPunct="1">
              <a:lnSpc>
                <a:spcPct val="100000"/>
              </a:lnSpc>
              <a:spcBef>
                <a:spcPts val="0"/>
              </a:spcBef>
              <a:buClrTx/>
              <a:buSzPct val="100000"/>
              <a:buFontTx/>
              <a:buNone/>
              <a:tabLst/>
              <a:defRPr/>
            </a:pPr>
            <a:r>
              <a:rPr kumimoji="0" lang="lv-LV" sz="1600" b="1" i="0" u="none" strike="noStrike" kern="1200" cap="none" spc="0" normalizeH="0" baseline="0" noProof="0">
                <a:ln>
                  <a:noFill/>
                </a:ln>
                <a:solidFill>
                  <a:schemeClr val="tx1"/>
                </a:solidFill>
                <a:effectLst/>
                <a:uLnTx/>
                <a:uFillTx/>
                <a:latin typeface="Arial"/>
                <a:ea typeface="+mn-ea"/>
                <a:cs typeface="+mn-cs"/>
              </a:rPr>
              <a:t>aizsardzības un ārkārtas palīdzības jomas pielāgošanās pasākumi klimata pārmaiņām </a:t>
            </a:r>
          </a:p>
        </p:txBody>
      </p:sp>
      <p:sp>
        <p:nvSpPr>
          <p:cNvPr id="6" name="Rectangle 5">
            <a:extLst>
              <a:ext uri="{FF2B5EF4-FFF2-40B4-BE49-F238E27FC236}">
                <a16:creationId xmlns:a16="http://schemas.microsoft.com/office/drawing/2014/main" id="{A26823BA-06A9-946E-ACDB-5E5A8F5EFD90}"/>
              </a:ext>
            </a:extLst>
          </p:cNvPr>
          <p:cNvSpPr/>
          <p:nvPr/>
        </p:nvSpPr>
        <p:spPr>
          <a:xfrm>
            <a:off x="11171500" y="1819275"/>
            <a:ext cx="576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1361EC4B-CD7E-F282-F0E6-7AD798000AD8}"/>
              </a:ext>
            </a:extLst>
          </p:cNvPr>
          <p:cNvSpPr/>
          <p:nvPr/>
        </p:nvSpPr>
        <p:spPr>
          <a:xfrm>
            <a:off x="111006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13" name="Slide Number Placeholder 4">
            <a:extLst>
              <a:ext uri="{FF2B5EF4-FFF2-40B4-BE49-F238E27FC236}">
                <a16:creationId xmlns:a16="http://schemas.microsoft.com/office/drawing/2014/main" id="{53E8F7B7-90C3-AA6B-03BF-96059A738C44}"/>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4</a:t>
            </a:fld>
            <a:endParaRPr lang="en-GB"/>
          </a:p>
        </p:txBody>
      </p:sp>
      <p:sp>
        <p:nvSpPr>
          <p:cNvPr id="4" name="Google Shape;1024;p85">
            <a:extLst>
              <a:ext uri="{FF2B5EF4-FFF2-40B4-BE49-F238E27FC236}">
                <a16:creationId xmlns:a16="http://schemas.microsoft.com/office/drawing/2014/main" id="{31BAF82A-8EA5-7824-5EAB-468FFDBF9A8C}"/>
              </a:ext>
            </a:extLst>
          </p:cNvPr>
          <p:cNvSpPr/>
          <p:nvPr/>
        </p:nvSpPr>
        <p:spPr>
          <a:xfrm>
            <a:off x="11279500" y="1927275"/>
            <a:ext cx="360000" cy="360000"/>
          </a:xfrm>
          <a:custGeom>
            <a:avLst/>
            <a:gdLst/>
            <a:ahLst/>
            <a:cxnLst/>
            <a:rect l="l" t="t" r="r" b="b"/>
            <a:pathLst>
              <a:path w="453744" h="453590" extrusionOk="0">
                <a:moveTo>
                  <a:pt x="0" y="0"/>
                </a:moveTo>
                <a:lnTo>
                  <a:pt x="0" y="453590"/>
                </a:lnTo>
                <a:lnTo>
                  <a:pt x="453744" y="453590"/>
                </a:lnTo>
                <a:lnTo>
                  <a:pt x="453744" y="0"/>
                </a:lnTo>
                <a:close/>
                <a:moveTo>
                  <a:pt x="434397" y="434218"/>
                </a:moveTo>
                <a:lnTo>
                  <a:pt x="19347" y="434218"/>
                </a:lnTo>
                <a:lnTo>
                  <a:pt x="19347" y="19341"/>
                </a:lnTo>
                <a:lnTo>
                  <a:pt x="434397" y="19341"/>
                </a:lnTo>
                <a:close/>
                <a:moveTo>
                  <a:pt x="393970" y="297480"/>
                </a:moveTo>
                <a:lnTo>
                  <a:pt x="393970" y="95506"/>
                </a:lnTo>
                <a:cubicBezTo>
                  <a:pt x="393970" y="73992"/>
                  <a:pt x="379790" y="50840"/>
                  <a:pt x="348658" y="50840"/>
                </a:cubicBezTo>
                <a:cubicBezTo>
                  <a:pt x="317526" y="50840"/>
                  <a:pt x="303378" y="73992"/>
                  <a:pt x="303378" y="95506"/>
                </a:cubicBezTo>
                <a:lnTo>
                  <a:pt x="303378" y="297480"/>
                </a:lnTo>
                <a:cubicBezTo>
                  <a:pt x="280282" y="321951"/>
                  <a:pt x="280597" y="360289"/>
                  <a:pt x="304135" y="384355"/>
                </a:cubicBezTo>
                <a:cubicBezTo>
                  <a:pt x="315762" y="396220"/>
                  <a:pt x="331643" y="402936"/>
                  <a:pt x="348249" y="403002"/>
                </a:cubicBezTo>
                <a:lnTo>
                  <a:pt x="348753" y="403002"/>
                </a:lnTo>
                <a:cubicBezTo>
                  <a:pt x="383256" y="403012"/>
                  <a:pt x="411237" y="375053"/>
                  <a:pt x="411237" y="340555"/>
                </a:cubicBezTo>
                <a:cubicBezTo>
                  <a:pt x="411269" y="324519"/>
                  <a:pt x="405093" y="309096"/>
                  <a:pt x="394033" y="297480"/>
                </a:cubicBezTo>
                <a:close/>
                <a:moveTo>
                  <a:pt x="378404" y="308945"/>
                </a:moveTo>
                <a:lnTo>
                  <a:pt x="379475" y="309764"/>
                </a:lnTo>
                <a:lnTo>
                  <a:pt x="380704" y="311024"/>
                </a:lnTo>
                <a:cubicBezTo>
                  <a:pt x="396837" y="328777"/>
                  <a:pt x="395545" y="356251"/>
                  <a:pt x="377774" y="372385"/>
                </a:cubicBezTo>
                <a:cubicBezTo>
                  <a:pt x="360002" y="388519"/>
                  <a:pt x="332525" y="387205"/>
                  <a:pt x="316392" y="369452"/>
                </a:cubicBezTo>
                <a:cubicBezTo>
                  <a:pt x="300259" y="351696"/>
                  <a:pt x="301551" y="324226"/>
                  <a:pt x="319323" y="308092"/>
                </a:cubicBezTo>
                <a:cubicBezTo>
                  <a:pt x="319323" y="308082"/>
                  <a:pt x="319354" y="308073"/>
                  <a:pt x="319354" y="308063"/>
                </a:cubicBezTo>
                <a:cubicBezTo>
                  <a:pt x="321308" y="306353"/>
                  <a:pt x="322474" y="303893"/>
                  <a:pt x="322505" y="301291"/>
                </a:cubicBezTo>
                <a:lnTo>
                  <a:pt x="322505" y="95506"/>
                </a:lnTo>
                <a:cubicBezTo>
                  <a:pt x="322505" y="77835"/>
                  <a:pt x="336086" y="69802"/>
                  <a:pt x="348690" y="69802"/>
                </a:cubicBezTo>
                <a:cubicBezTo>
                  <a:pt x="361294" y="69802"/>
                  <a:pt x="374906" y="77835"/>
                  <a:pt x="374906" y="95506"/>
                </a:cubicBezTo>
                <a:lnTo>
                  <a:pt x="374906" y="301291"/>
                </a:lnTo>
                <a:cubicBezTo>
                  <a:pt x="374812" y="304255"/>
                  <a:pt x="376103" y="307093"/>
                  <a:pt x="378404" y="308977"/>
                </a:cubicBezTo>
                <a:close/>
                <a:moveTo>
                  <a:pt x="371755" y="354178"/>
                </a:moveTo>
                <a:cubicBezTo>
                  <a:pt x="368037" y="360340"/>
                  <a:pt x="362050" y="364775"/>
                  <a:pt x="355055" y="366495"/>
                </a:cubicBezTo>
                <a:cubicBezTo>
                  <a:pt x="352912" y="367033"/>
                  <a:pt x="350675" y="367310"/>
                  <a:pt x="348469" y="367314"/>
                </a:cubicBezTo>
                <a:cubicBezTo>
                  <a:pt x="333502" y="367364"/>
                  <a:pt x="321339" y="355275"/>
                  <a:pt x="321276" y="340312"/>
                </a:cubicBezTo>
                <a:cubicBezTo>
                  <a:pt x="321245" y="330711"/>
                  <a:pt x="326318" y="321807"/>
                  <a:pt x="334573" y="316915"/>
                </a:cubicBezTo>
                <a:lnTo>
                  <a:pt x="336086" y="316001"/>
                </a:lnTo>
                <a:lnTo>
                  <a:pt x="338544" y="314521"/>
                </a:lnTo>
                <a:lnTo>
                  <a:pt x="338544" y="110090"/>
                </a:lnTo>
                <a:lnTo>
                  <a:pt x="358553" y="110090"/>
                </a:lnTo>
                <a:lnTo>
                  <a:pt x="358553" y="314521"/>
                </a:lnTo>
                <a:lnTo>
                  <a:pt x="360979" y="316001"/>
                </a:lnTo>
                <a:lnTo>
                  <a:pt x="362523" y="316915"/>
                </a:lnTo>
                <a:cubicBezTo>
                  <a:pt x="375316" y="324654"/>
                  <a:pt x="379444" y="341264"/>
                  <a:pt x="371755" y="354084"/>
                </a:cubicBezTo>
                <a:close/>
                <a:moveTo>
                  <a:pt x="130515" y="117933"/>
                </a:moveTo>
                <a:lnTo>
                  <a:pt x="133476" y="118154"/>
                </a:lnTo>
                <a:lnTo>
                  <a:pt x="133476" y="121083"/>
                </a:lnTo>
                <a:cubicBezTo>
                  <a:pt x="133445" y="123206"/>
                  <a:pt x="133161" y="125320"/>
                  <a:pt x="132657" y="127383"/>
                </a:cubicBezTo>
                <a:cubicBezTo>
                  <a:pt x="132531" y="127818"/>
                  <a:pt x="132468" y="128259"/>
                  <a:pt x="132405" y="128706"/>
                </a:cubicBezTo>
                <a:cubicBezTo>
                  <a:pt x="131019" y="136672"/>
                  <a:pt x="130672" y="144777"/>
                  <a:pt x="131302" y="152835"/>
                </a:cubicBezTo>
                <a:lnTo>
                  <a:pt x="131302" y="152835"/>
                </a:lnTo>
                <a:cubicBezTo>
                  <a:pt x="135777" y="164461"/>
                  <a:pt x="141701" y="175486"/>
                  <a:pt x="148916" y="185657"/>
                </a:cubicBezTo>
                <a:lnTo>
                  <a:pt x="148916" y="185657"/>
                </a:lnTo>
                <a:cubicBezTo>
                  <a:pt x="155754" y="195107"/>
                  <a:pt x="166909" y="203076"/>
                  <a:pt x="179828" y="212368"/>
                </a:cubicBezTo>
                <a:lnTo>
                  <a:pt x="187863" y="218164"/>
                </a:lnTo>
                <a:cubicBezTo>
                  <a:pt x="199112" y="225346"/>
                  <a:pt x="220098" y="240623"/>
                  <a:pt x="228101" y="250892"/>
                </a:cubicBezTo>
                <a:lnTo>
                  <a:pt x="230023" y="253349"/>
                </a:lnTo>
                <a:lnTo>
                  <a:pt x="227597" y="255302"/>
                </a:lnTo>
                <a:cubicBezTo>
                  <a:pt x="222618" y="259271"/>
                  <a:pt x="217009" y="263775"/>
                  <a:pt x="217009" y="272123"/>
                </a:cubicBezTo>
                <a:cubicBezTo>
                  <a:pt x="217009" y="287179"/>
                  <a:pt x="231693" y="297322"/>
                  <a:pt x="244644" y="306299"/>
                </a:cubicBezTo>
                <a:lnTo>
                  <a:pt x="245621" y="306992"/>
                </a:lnTo>
                <a:cubicBezTo>
                  <a:pt x="250694" y="309900"/>
                  <a:pt x="255483" y="313242"/>
                  <a:pt x="259989" y="316978"/>
                </a:cubicBezTo>
                <a:lnTo>
                  <a:pt x="260430" y="317576"/>
                </a:lnTo>
                <a:cubicBezTo>
                  <a:pt x="262227" y="321104"/>
                  <a:pt x="261911" y="331719"/>
                  <a:pt x="260745" y="335184"/>
                </a:cubicBezTo>
                <a:cubicBezTo>
                  <a:pt x="257311" y="346949"/>
                  <a:pt x="253120" y="358472"/>
                  <a:pt x="248141" y="369676"/>
                </a:cubicBezTo>
                <a:lnTo>
                  <a:pt x="247480" y="371157"/>
                </a:lnTo>
                <a:lnTo>
                  <a:pt x="245936" y="371471"/>
                </a:lnTo>
                <a:cubicBezTo>
                  <a:pt x="163285" y="389228"/>
                  <a:pt x="81863" y="336636"/>
                  <a:pt x="64123" y="254011"/>
                </a:cubicBezTo>
                <a:cubicBezTo>
                  <a:pt x="52905" y="201816"/>
                  <a:pt x="69700" y="147546"/>
                  <a:pt x="108458" y="110815"/>
                </a:cubicBezTo>
                <a:lnTo>
                  <a:pt x="110947" y="108452"/>
                </a:lnTo>
                <a:lnTo>
                  <a:pt x="113089" y="111098"/>
                </a:lnTo>
                <a:cubicBezTo>
                  <a:pt x="116461" y="115162"/>
                  <a:pt x="122322" y="117492"/>
                  <a:pt x="130515" y="117933"/>
                </a:cubicBezTo>
                <a:close/>
                <a:moveTo>
                  <a:pt x="240548" y="71094"/>
                </a:moveTo>
                <a:cubicBezTo>
                  <a:pt x="249087" y="72770"/>
                  <a:pt x="257500" y="75022"/>
                  <a:pt x="265756" y="77835"/>
                </a:cubicBezTo>
                <a:cubicBezTo>
                  <a:pt x="267205" y="78370"/>
                  <a:pt x="268686" y="78906"/>
                  <a:pt x="270136" y="79504"/>
                </a:cubicBezTo>
                <a:cubicBezTo>
                  <a:pt x="277540" y="82421"/>
                  <a:pt x="284693" y="85918"/>
                  <a:pt x="291531" y="89962"/>
                </a:cubicBezTo>
                <a:cubicBezTo>
                  <a:pt x="291688" y="88041"/>
                  <a:pt x="291940" y="86151"/>
                  <a:pt x="292255" y="84261"/>
                </a:cubicBezTo>
                <a:cubicBezTo>
                  <a:pt x="292728" y="81211"/>
                  <a:pt x="293453" y="78200"/>
                  <a:pt x="294367" y="75252"/>
                </a:cubicBezTo>
                <a:cubicBezTo>
                  <a:pt x="294808" y="73929"/>
                  <a:pt x="295249" y="72606"/>
                  <a:pt x="295753" y="71315"/>
                </a:cubicBezTo>
                <a:lnTo>
                  <a:pt x="295753" y="71315"/>
                </a:lnTo>
                <a:cubicBezTo>
                  <a:pt x="212630" y="26110"/>
                  <a:pt x="108615" y="56815"/>
                  <a:pt x="63398" y="139898"/>
                </a:cubicBezTo>
                <a:cubicBezTo>
                  <a:pt x="18181" y="222984"/>
                  <a:pt x="48872" y="326982"/>
                  <a:pt x="131995" y="372186"/>
                </a:cubicBezTo>
                <a:cubicBezTo>
                  <a:pt x="159283" y="387026"/>
                  <a:pt x="190069" y="394170"/>
                  <a:pt x="221106" y="392860"/>
                </a:cubicBezTo>
                <a:cubicBezTo>
                  <a:pt x="241304" y="392041"/>
                  <a:pt x="261218" y="387593"/>
                  <a:pt x="279841" y="379724"/>
                </a:cubicBezTo>
                <a:lnTo>
                  <a:pt x="273539" y="362620"/>
                </a:lnTo>
                <a:cubicBezTo>
                  <a:pt x="272656" y="362998"/>
                  <a:pt x="271805" y="363408"/>
                  <a:pt x="270892" y="363754"/>
                </a:cubicBezTo>
                <a:lnTo>
                  <a:pt x="263298" y="366904"/>
                </a:lnTo>
                <a:lnTo>
                  <a:pt x="266890" y="359565"/>
                </a:lnTo>
                <a:cubicBezTo>
                  <a:pt x="269379" y="354430"/>
                  <a:pt x="271522" y="349517"/>
                  <a:pt x="273192" y="345926"/>
                </a:cubicBezTo>
                <a:lnTo>
                  <a:pt x="274326" y="343311"/>
                </a:lnTo>
                <a:cubicBezTo>
                  <a:pt x="274925" y="341840"/>
                  <a:pt x="275618" y="340420"/>
                  <a:pt x="276438" y="339059"/>
                </a:cubicBezTo>
                <a:lnTo>
                  <a:pt x="276438" y="339059"/>
                </a:lnTo>
                <a:cubicBezTo>
                  <a:pt x="278139" y="331839"/>
                  <a:pt x="278549" y="324371"/>
                  <a:pt x="277635" y="317009"/>
                </a:cubicBezTo>
                <a:cubicBezTo>
                  <a:pt x="277446" y="315239"/>
                  <a:pt x="277005" y="313500"/>
                  <a:pt x="276343" y="311843"/>
                </a:cubicBezTo>
                <a:cubicBezTo>
                  <a:pt x="274358" y="305953"/>
                  <a:pt x="266386" y="300504"/>
                  <a:pt x="256113" y="293983"/>
                </a:cubicBezTo>
                <a:cubicBezTo>
                  <a:pt x="254538" y="292786"/>
                  <a:pt x="252962" y="291715"/>
                  <a:pt x="251576" y="290644"/>
                </a:cubicBezTo>
                <a:cubicBezTo>
                  <a:pt x="242312" y="283935"/>
                  <a:pt x="234308" y="278045"/>
                  <a:pt x="234308" y="272060"/>
                </a:cubicBezTo>
                <a:cubicBezTo>
                  <a:pt x="234308" y="269225"/>
                  <a:pt x="237901" y="266768"/>
                  <a:pt x="240989" y="265161"/>
                </a:cubicBezTo>
                <a:cubicBezTo>
                  <a:pt x="241682" y="264582"/>
                  <a:pt x="242407" y="264043"/>
                  <a:pt x="243163" y="263555"/>
                </a:cubicBezTo>
                <a:cubicBezTo>
                  <a:pt x="243761" y="263189"/>
                  <a:pt x="244360" y="262780"/>
                  <a:pt x="244896" y="262326"/>
                </a:cubicBezTo>
                <a:lnTo>
                  <a:pt x="248047" y="259995"/>
                </a:lnTo>
                <a:lnTo>
                  <a:pt x="248047" y="259995"/>
                </a:lnTo>
                <a:lnTo>
                  <a:pt x="247291" y="255459"/>
                </a:lnTo>
                <a:cubicBezTo>
                  <a:pt x="245337" y="238954"/>
                  <a:pt x="227061" y="225000"/>
                  <a:pt x="197158" y="203990"/>
                </a:cubicBezTo>
                <a:cubicBezTo>
                  <a:pt x="182506" y="194540"/>
                  <a:pt x="167949" y="184555"/>
                  <a:pt x="161111" y="175483"/>
                </a:cubicBezTo>
                <a:cubicBezTo>
                  <a:pt x="155376" y="168584"/>
                  <a:pt x="147750" y="155229"/>
                  <a:pt x="146616" y="148393"/>
                </a:cubicBezTo>
                <a:cubicBezTo>
                  <a:pt x="145419" y="144928"/>
                  <a:pt x="146616" y="138313"/>
                  <a:pt x="147687" y="131321"/>
                </a:cubicBezTo>
                <a:cubicBezTo>
                  <a:pt x="149862" y="117083"/>
                  <a:pt x="149515" y="111193"/>
                  <a:pt x="146175" y="107035"/>
                </a:cubicBezTo>
                <a:lnTo>
                  <a:pt x="132626" y="92041"/>
                </a:lnTo>
                <a:lnTo>
                  <a:pt x="135777" y="90088"/>
                </a:lnTo>
                <a:cubicBezTo>
                  <a:pt x="156416" y="77857"/>
                  <a:pt x="179639" y="70650"/>
                  <a:pt x="203586" y="69046"/>
                </a:cubicBezTo>
                <a:lnTo>
                  <a:pt x="206958" y="68826"/>
                </a:lnTo>
                <a:lnTo>
                  <a:pt x="206958" y="75126"/>
                </a:lnTo>
                <a:cubicBezTo>
                  <a:pt x="206958" y="76354"/>
                  <a:pt x="206737" y="77488"/>
                  <a:pt x="206643" y="78559"/>
                </a:cubicBezTo>
                <a:cubicBezTo>
                  <a:pt x="205981" y="86308"/>
                  <a:pt x="206076" y="90813"/>
                  <a:pt x="207683" y="94057"/>
                </a:cubicBezTo>
                <a:cubicBezTo>
                  <a:pt x="209794" y="98127"/>
                  <a:pt x="212693" y="101721"/>
                  <a:pt x="216253" y="104609"/>
                </a:cubicBezTo>
                <a:cubicBezTo>
                  <a:pt x="217892" y="106184"/>
                  <a:pt x="218806" y="106216"/>
                  <a:pt x="222020" y="106216"/>
                </a:cubicBezTo>
                <a:cubicBezTo>
                  <a:pt x="223816" y="106216"/>
                  <a:pt x="225171" y="104956"/>
                  <a:pt x="227282" y="102877"/>
                </a:cubicBezTo>
                <a:cubicBezTo>
                  <a:pt x="227471" y="102637"/>
                  <a:pt x="227628" y="102373"/>
                  <a:pt x="227754" y="102089"/>
                </a:cubicBezTo>
                <a:cubicBezTo>
                  <a:pt x="228164" y="101195"/>
                  <a:pt x="228731" y="100376"/>
                  <a:pt x="229425" y="99664"/>
                </a:cubicBezTo>
                <a:cubicBezTo>
                  <a:pt x="229708" y="99257"/>
                  <a:pt x="229960" y="98839"/>
                  <a:pt x="230181" y="98404"/>
                </a:cubicBezTo>
                <a:cubicBezTo>
                  <a:pt x="231157" y="96640"/>
                  <a:pt x="232355" y="94466"/>
                  <a:pt x="234876" y="94466"/>
                </a:cubicBezTo>
                <a:lnTo>
                  <a:pt x="236168" y="94466"/>
                </a:lnTo>
                <a:lnTo>
                  <a:pt x="237081" y="95380"/>
                </a:lnTo>
                <a:cubicBezTo>
                  <a:pt x="239413" y="97497"/>
                  <a:pt x="241398" y="99935"/>
                  <a:pt x="243037" y="102625"/>
                </a:cubicBezTo>
                <a:lnTo>
                  <a:pt x="243919" y="103916"/>
                </a:lnTo>
                <a:cubicBezTo>
                  <a:pt x="244675" y="105381"/>
                  <a:pt x="245747" y="106654"/>
                  <a:pt x="247070" y="107633"/>
                </a:cubicBezTo>
                <a:cubicBezTo>
                  <a:pt x="248425" y="108232"/>
                  <a:pt x="249811" y="108745"/>
                  <a:pt x="251230" y="109177"/>
                </a:cubicBezTo>
                <a:cubicBezTo>
                  <a:pt x="253341" y="109870"/>
                  <a:pt x="255830" y="110689"/>
                  <a:pt x="258634" y="111823"/>
                </a:cubicBezTo>
                <a:cubicBezTo>
                  <a:pt x="272719" y="116516"/>
                  <a:pt x="273444" y="117587"/>
                  <a:pt x="273444" y="120075"/>
                </a:cubicBezTo>
                <a:lnTo>
                  <a:pt x="273444" y="121398"/>
                </a:lnTo>
                <a:lnTo>
                  <a:pt x="272530" y="122312"/>
                </a:lnTo>
                <a:cubicBezTo>
                  <a:pt x="270388" y="124618"/>
                  <a:pt x="267961" y="126621"/>
                  <a:pt x="265283" y="128265"/>
                </a:cubicBezTo>
                <a:cubicBezTo>
                  <a:pt x="263329" y="129544"/>
                  <a:pt x="261565" y="131047"/>
                  <a:pt x="259958" y="132738"/>
                </a:cubicBezTo>
                <a:lnTo>
                  <a:pt x="259958" y="132738"/>
                </a:lnTo>
                <a:cubicBezTo>
                  <a:pt x="256397" y="139715"/>
                  <a:pt x="253309" y="146935"/>
                  <a:pt x="250757" y="154347"/>
                </a:cubicBezTo>
                <a:lnTo>
                  <a:pt x="249875" y="156804"/>
                </a:lnTo>
                <a:cubicBezTo>
                  <a:pt x="245747" y="168269"/>
                  <a:pt x="241461" y="180113"/>
                  <a:pt x="234687" y="184712"/>
                </a:cubicBezTo>
                <a:cubicBezTo>
                  <a:pt x="232292" y="186886"/>
                  <a:pt x="226147" y="185373"/>
                  <a:pt x="222555" y="184208"/>
                </a:cubicBezTo>
                <a:cubicBezTo>
                  <a:pt x="221799" y="184107"/>
                  <a:pt x="221043" y="183959"/>
                  <a:pt x="220287" y="183767"/>
                </a:cubicBezTo>
                <a:cubicBezTo>
                  <a:pt x="219121" y="183487"/>
                  <a:pt x="217955" y="183295"/>
                  <a:pt x="216757" y="183200"/>
                </a:cubicBezTo>
                <a:lnTo>
                  <a:pt x="216190" y="183200"/>
                </a:lnTo>
                <a:cubicBezTo>
                  <a:pt x="215024" y="182850"/>
                  <a:pt x="213827" y="182850"/>
                  <a:pt x="212661" y="183200"/>
                </a:cubicBezTo>
                <a:cubicBezTo>
                  <a:pt x="211464" y="183720"/>
                  <a:pt x="210392" y="184482"/>
                  <a:pt x="209510" y="185436"/>
                </a:cubicBezTo>
                <a:cubicBezTo>
                  <a:pt x="208092" y="187200"/>
                  <a:pt x="207556" y="189535"/>
                  <a:pt x="208124" y="191736"/>
                </a:cubicBezTo>
                <a:cubicBezTo>
                  <a:pt x="212063" y="203549"/>
                  <a:pt x="235033" y="220086"/>
                  <a:pt x="248047" y="225126"/>
                </a:cubicBezTo>
                <a:cubicBezTo>
                  <a:pt x="251418" y="226795"/>
                  <a:pt x="258067" y="226039"/>
                  <a:pt x="265756" y="225126"/>
                </a:cubicBezTo>
                <a:lnTo>
                  <a:pt x="267961" y="224905"/>
                </a:lnTo>
                <a:lnTo>
                  <a:pt x="269726" y="224685"/>
                </a:lnTo>
                <a:cubicBezTo>
                  <a:pt x="274673" y="223979"/>
                  <a:pt x="279683" y="223897"/>
                  <a:pt x="284630" y="224433"/>
                </a:cubicBezTo>
                <a:cubicBezTo>
                  <a:pt x="285544" y="224540"/>
                  <a:pt x="286426" y="224719"/>
                  <a:pt x="287308" y="224968"/>
                </a:cubicBezTo>
                <a:cubicBezTo>
                  <a:pt x="288569" y="225208"/>
                  <a:pt x="289672" y="225891"/>
                  <a:pt x="290459" y="226890"/>
                </a:cubicBezTo>
                <a:lnTo>
                  <a:pt x="291531" y="227236"/>
                </a:lnTo>
                <a:lnTo>
                  <a:pt x="291531" y="210164"/>
                </a:lnTo>
                <a:lnTo>
                  <a:pt x="291531" y="210164"/>
                </a:lnTo>
                <a:cubicBezTo>
                  <a:pt x="284157" y="207896"/>
                  <a:pt x="275776" y="208715"/>
                  <a:pt x="266323" y="209659"/>
                </a:cubicBezTo>
                <a:lnTo>
                  <a:pt x="265503" y="209659"/>
                </a:lnTo>
                <a:cubicBezTo>
                  <a:pt x="264747" y="209659"/>
                  <a:pt x="263865" y="209659"/>
                  <a:pt x="262920" y="209659"/>
                </a:cubicBezTo>
                <a:cubicBezTo>
                  <a:pt x="261218" y="209659"/>
                  <a:pt x="259391" y="210037"/>
                  <a:pt x="257878" y="210226"/>
                </a:cubicBezTo>
                <a:cubicBezTo>
                  <a:pt x="255767" y="210478"/>
                  <a:pt x="254916" y="210573"/>
                  <a:pt x="254475" y="210573"/>
                </a:cubicBezTo>
                <a:lnTo>
                  <a:pt x="253593" y="210573"/>
                </a:lnTo>
                <a:cubicBezTo>
                  <a:pt x="251860" y="209880"/>
                  <a:pt x="250442" y="209218"/>
                  <a:pt x="248835" y="208557"/>
                </a:cubicBezTo>
                <a:cubicBezTo>
                  <a:pt x="245243" y="206947"/>
                  <a:pt x="241839" y="204938"/>
                  <a:pt x="238688" y="202572"/>
                </a:cubicBezTo>
                <a:lnTo>
                  <a:pt x="235790" y="200399"/>
                </a:lnTo>
                <a:lnTo>
                  <a:pt x="236294" y="199895"/>
                </a:lnTo>
                <a:lnTo>
                  <a:pt x="238342" y="197847"/>
                </a:lnTo>
                <a:cubicBezTo>
                  <a:pt x="239193" y="196946"/>
                  <a:pt x="240295" y="196294"/>
                  <a:pt x="241493" y="195957"/>
                </a:cubicBezTo>
                <a:cubicBezTo>
                  <a:pt x="243982" y="194389"/>
                  <a:pt x="246251" y="192480"/>
                  <a:pt x="248236" y="190287"/>
                </a:cubicBezTo>
                <a:lnTo>
                  <a:pt x="248236" y="190287"/>
                </a:lnTo>
                <a:cubicBezTo>
                  <a:pt x="250694" y="187582"/>
                  <a:pt x="252805" y="184573"/>
                  <a:pt x="254538" y="181342"/>
                </a:cubicBezTo>
                <a:lnTo>
                  <a:pt x="254538" y="181342"/>
                </a:lnTo>
                <a:cubicBezTo>
                  <a:pt x="258414" y="174009"/>
                  <a:pt x="261596" y="166320"/>
                  <a:pt x="263991" y="158379"/>
                </a:cubicBezTo>
                <a:cubicBezTo>
                  <a:pt x="264779" y="156457"/>
                  <a:pt x="265472" y="154473"/>
                  <a:pt x="266165" y="152488"/>
                </a:cubicBezTo>
                <a:cubicBezTo>
                  <a:pt x="267268" y="148935"/>
                  <a:pt x="268686" y="145489"/>
                  <a:pt x="270419" y="142188"/>
                </a:cubicBezTo>
                <a:cubicBezTo>
                  <a:pt x="270766" y="140972"/>
                  <a:pt x="271617" y="139958"/>
                  <a:pt x="272751" y="139384"/>
                </a:cubicBezTo>
                <a:cubicBezTo>
                  <a:pt x="272971" y="139249"/>
                  <a:pt x="273160" y="139104"/>
                  <a:pt x="273349" y="138943"/>
                </a:cubicBezTo>
                <a:lnTo>
                  <a:pt x="273948" y="138503"/>
                </a:lnTo>
                <a:cubicBezTo>
                  <a:pt x="275744" y="137557"/>
                  <a:pt x="289703" y="130218"/>
                  <a:pt x="287435" y="117083"/>
                </a:cubicBezTo>
                <a:cubicBezTo>
                  <a:pt x="286206" y="108421"/>
                  <a:pt x="279399" y="103822"/>
                  <a:pt x="272215" y="100798"/>
                </a:cubicBezTo>
                <a:cubicBezTo>
                  <a:pt x="269316" y="99538"/>
                  <a:pt x="266323" y="98561"/>
                  <a:pt x="263644" y="97648"/>
                </a:cubicBezTo>
                <a:lnTo>
                  <a:pt x="260998" y="96797"/>
                </a:lnTo>
                <a:lnTo>
                  <a:pt x="260493" y="96262"/>
                </a:lnTo>
                <a:lnTo>
                  <a:pt x="259579" y="95979"/>
                </a:lnTo>
                <a:cubicBezTo>
                  <a:pt x="258319" y="95635"/>
                  <a:pt x="257153" y="94999"/>
                  <a:pt x="256208" y="94120"/>
                </a:cubicBezTo>
                <a:lnTo>
                  <a:pt x="255263" y="93207"/>
                </a:lnTo>
                <a:lnTo>
                  <a:pt x="255263" y="92608"/>
                </a:lnTo>
                <a:cubicBezTo>
                  <a:pt x="254885" y="92170"/>
                  <a:pt x="254601" y="91669"/>
                  <a:pt x="254412" y="91128"/>
                </a:cubicBezTo>
                <a:cubicBezTo>
                  <a:pt x="252175" y="88116"/>
                  <a:pt x="249591" y="85395"/>
                  <a:pt x="246692" y="83032"/>
                </a:cubicBezTo>
                <a:cubicBezTo>
                  <a:pt x="243321" y="80389"/>
                  <a:pt x="239161" y="78969"/>
                  <a:pt x="234876" y="79000"/>
                </a:cubicBezTo>
                <a:cubicBezTo>
                  <a:pt x="232040" y="79079"/>
                  <a:pt x="229267" y="80011"/>
                  <a:pt x="226967" y="81678"/>
                </a:cubicBezTo>
                <a:lnTo>
                  <a:pt x="222051" y="84828"/>
                </a:lnTo>
                <a:lnTo>
                  <a:pt x="222240" y="74716"/>
                </a:lnTo>
                <a:cubicBezTo>
                  <a:pt x="222366" y="74360"/>
                  <a:pt x="222429" y="73989"/>
                  <a:pt x="222461" y="73614"/>
                </a:cubicBezTo>
                <a:cubicBezTo>
                  <a:pt x="222492" y="73069"/>
                  <a:pt x="222492" y="72521"/>
                  <a:pt x="222461" y="71976"/>
                </a:cubicBezTo>
                <a:lnTo>
                  <a:pt x="222461" y="68479"/>
                </a:lnTo>
                <a:lnTo>
                  <a:pt x="225959" y="68763"/>
                </a:lnTo>
                <a:cubicBezTo>
                  <a:pt x="230937" y="69645"/>
                  <a:pt x="240610" y="71188"/>
                  <a:pt x="240610" y="71188"/>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nvGrpSpPr>
          <p:cNvPr id="7" name="Group 6">
            <a:extLst>
              <a:ext uri="{FF2B5EF4-FFF2-40B4-BE49-F238E27FC236}">
                <a16:creationId xmlns:a16="http://schemas.microsoft.com/office/drawing/2014/main" id="{AC5E1E30-9DE4-0D81-2CAC-694ED433C3D3}"/>
              </a:ext>
            </a:extLst>
          </p:cNvPr>
          <p:cNvGrpSpPr/>
          <p:nvPr/>
        </p:nvGrpSpPr>
        <p:grpSpPr>
          <a:xfrm>
            <a:off x="8801780" y="159786"/>
            <a:ext cx="2947308" cy="217488"/>
            <a:chOff x="8559953" y="967274"/>
            <a:chExt cx="2947308" cy="217488"/>
          </a:xfrm>
        </p:grpSpPr>
        <p:sp>
          <p:nvSpPr>
            <p:cNvPr id="24" name="Rectangle 23">
              <a:extLst>
                <a:ext uri="{FF2B5EF4-FFF2-40B4-BE49-F238E27FC236}">
                  <a16:creationId xmlns:a16="http://schemas.microsoft.com/office/drawing/2014/main" id="{6546485E-865D-F9D8-B508-49BB7BA94999}"/>
                </a:ext>
              </a:extLst>
            </p:cNvPr>
            <p:cNvSpPr/>
            <p:nvPr/>
          </p:nvSpPr>
          <p:spPr>
            <a:xfrm>
              <a:off x="9043607" y="96727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5</a:t>
              </a:r>
              <a:r>
                <a:rPr kumimoji="0" lang="lv-LV" sz="800" b="1" i="0" u="none" strike="noStrike" kern="0" cap="none" spc="0" normalizeH="0" baseline="0" dirty="0">
                  <a:ln>
                    <a:noFill/>
                  </a:ln>
                  <a:effectLst/>
                  <a:uLnTx/>
                  <a:uFillTx/>
                  <a:ea typeface="Georgia"/>
                  <a:cs typeface="Georgia"/>
                  <a:sym typeface="Georgia"/>
                </a:rPr>
                <a:t>.</a:t>
              </a:r>
              <a:r>
                <a:rPr kumimoji="0" lang="en-US" sz="800" b="1" i="0" u="none" strike="noStrike" kern="0" cap="none" spc="0" normalizeH="0" baseline="0" dirty="0">
                  <a:ln>
                    <a:noFill/>
                  </a:ln>
                  <a:effectLst/>
                  <a:uLnTx/>
                  <a:uFillTx/>
                  <a:ea typeface="Georgia"/>
                  <a:cs typeface="Georgia"/>
                  <a:sym typeface="Georgia"/>
                </a:rPr>
                <a:t>3</a:t>
              </a:r>
              <a:endParaRPr kumimoji="0" lang="lv-LV" sz="800" b="1" i="0" u="none" strike="noStrike" kern="0" cap="none" spc="0" normalizeH="0" baseline="0" dirty="0">
                <a:ln>
                  <a:noFill/>
                </a:ln>
                <a:effectLst/>
                <a:uLnTx/>
                <a:uFillTx/>
                <a:ea typeface="Georgia"/>
                <a:cs typeface="Georgia"/>
                <a:sym typeface="Georgia"/>
              </a:endParaRPr>
            </a:p>
          </p:txBody>
        </p:sp>
        <p:sp>
          <p:nvSpPr>
            <p:cNvPr id="25" name="Rectangle 24">
              <a:extLst>
                <a:ext uri="{FF2B5EF4-FFF2-40B4-BE49-F238E27FC236}">
                  <a16:creationId xmlns:a16="http://schemas.microsoft.com/office/drawing/2014/main" id="{3951BD2E-8282-B2F9-A183-684D140D3C36}"/>
                </a:ext>
              </a:extLst>
            </p:cNvPr>
            <p:cNvSpPr/>
            <p:nvPr/>
          </p:nvSpPr>
          <p:spPr>
            <a:xfrm>
              <a:off x="11291261" y="9672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4</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27" name="Rectangle 26">
              <a:extLst>
                <a:ext uri="{FF2B5EF4-FFF2-40B4-BE49-F238E27FC236}">
                  <a16:creationId xmlns:a16="http://schemas.microsoft.com/office/drawing/2014/main" id="{BE8E0A97-BD5D-AF1E-B2FE-54F3BCB70478}"/>
                </a:ext>
              </a:extLst>
            </p:cNvPr>
            <p:cNvSpPr/>
            <p:nvPr/>
          </p:nvSpPr>
          <p:spPr>
            <a:xfrm>
              <a:off x="9285434" y="967274"/>
              <a:ext cx="198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Apdraudējuma riska novērtēšana</a:t>
              </a:r>
              <a:endParaRPr kumimoji="0" lang="en-US" sz="800" b="1" i="0" u="none" strike="noStrike" kern="0" cap="none" spc="0" normalizeH="0" baseline="0" dirty="0">
                <a:ln>
                  <a:noFill/>
                </a:ln>
                <a:effectLst/>
                <a:uLnTx/>
                <a:uFillTx/>
                <a:ea typeface="Georgia"/>
                <a:cs typeface="Georgia"/>
                <a:sym typeface="Georgia"/>
              </a:endParaRPr>
            </a:p>
          </p:txBody>
        </p:sp>
        <p:sp>
          <p:nvSpPr>
            <p:cNvPr id="28" name="Rectangle 27">
              <a:extLst>
                <a:ext uri="{FF2B5EF4-FFF2-40B4-BE49-F238E27FC236}">
                  <a16:creationId xmlns:a16="http://schemas.microsoft.com/office/drawing/2014/main" id="{15180CA7-F7BF-9087-CE48-D1E4A40CB085}"/>
                </a:ext>
              </a:extLst>
            </p:cNvPr>
            <p:cNvSpPr/>
            <p:nvPr/>
          </p:nvSpPr>
          <p:spPr>
            <a:xfrm>
              <a:off x="8801780" y="9672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2</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29" name="Rectangle 28">
              <a:extLst>
                <a:ext uri="{FF2B5EF4-FFF2-40B4-BE49-F238E27FC236}">
                  <a16:creationId xmlns:a16="http://schemas.microsoft.com/office/drawing/2014/main" id="{D733F727-58D6-0858-3D78-07121E8487F0}"/>
                </a:ext>
              </a:extLst>
            </p:cNvPr>
            <p:cNvSpPr/>
            <p:nvPr/>
          </p:nvSpPr>
          <p:spPr>
            <a:xfrm>
              <a:off x="8559953" y="9672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1812959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white clouds in the sky">
            <a:extLst>
              <a:ext uri="{FF2B5EF4-FFF2-40B4-BE49-F238E27FC236}">
                <a16:creationId xmlns:a16="http://schemas.microsoft.com/office/drawing/2014/main" id="{DFCE0E3C-012B-4F30-8D46-589FB7BDFA9D}"/>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5173884" y="-2"/>
            <a:ext cx="7018116" cy="6858001"/>
          </a:xfrm>
          <a:prstGeom prst="rect">
            <a:avLst/>
          </a:prstGeom>
          <a:noFill/>
          <a:extLst>
            <a:ext uri="{909E8E84-426E-40DD-AFC4-6F175D3DCCD1}">
              <a14:hiddenFill xmlns:a14="http://schemas.microsoft.com/office/drawing/2010/main">
                <a:solidFill>
                  <a:srgbClr val="FFFFFF"/>
                </a:solidFill>
              </a14:hiddenFill>
            </a:ext>
          </a:extLst>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p:nvPr>
        </p:nvSpPr>
        <p:spPr>
          <a:xfrm>
            <a:off x="442913" y="1893539"/>
            <a:ext cx="7418387" cy="2428875"/>
          </a:xfrm>
        </p:spPr>
        <p:txBody>
          <a:bodyPr vert="horz">
            <a:normAutofit/>
          </a:bodyPr>
          <a:lstStyle/>
          <a:p>
            <a:pPr>
              <a:lnSpc>
                <a:spcPct val="90000"/>
              </a:lnSpc>
            </a:pPr>
            <a:r>
              <a:rPr lang="lv-LV" sz="4000" dirty="0"/>
              <a:t>5</a:t>
            </a:r>
            <a:r>
              <a:rPr lang="lv-LV" sz="4000" dirty="0">
                <a:latin typeface="+mj-lt"/>
              </a:rPr>
              <a:t>.</a:t>
            </a:r>
            <a:r>
              <a:rPr lang="lv-LV" sz="4000" dirty="0"/>
              <a:t>4</a:t>
            </a:r>
            <a:r>
              <a:rPr lang="lv-LV" sz="4000" dirty="0">
                <a:latin typeface="+mj-lt"/>
              </a:rPr>
              <a:t>. Drošības pasākumi</a:t>
            </a:r>
            <a:endParaRPr lang="en-GB" sz="4000" dirty="0">
              <a:latin typeface="+mj-lt"/>
              <a:cs typeface="Arial"/>
            </a:endParaRPr>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3396317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dirty="0"/>
              <a:t>Bīstamās vielas</a:t>
            </a:r>
            <a:br>
              <a:rPr lang="lv-LV" dirty="0"/>
            </a:br>
            <a:r>
              <a:rPr lang="lv-LV" dirty="0">
                <a:solidFill>
                  <a:srgbClr val="A8192D"/>
                </a:solidFill>
              </a:rPr>
              <a:t>Definīcija un veidi</a:t>
            </a:r>
            <a:endParaRPr lang="en-GB" dirty="0">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6</a:t>
            </a:fld>
            <a:endParaRPr lang="en-GB"/>
          </a:p>
        </p:txBody>
      </p:sp>
      <p:sp>
        <p:nvSpPr>
          <p:cNvPr id="8" name="TextBox 7">
            <a:extLst>
              <a:ext uri="{FF2B5EF4-FFF2-40B4-BE49-F238E27FC236}">
                <a16:creationId xmlns:a16="http://schemas.microsoft.com/office/drawing/2014/main" id="{DE7F03A5-FB71-BA86-7AD9-5C073759F0EB}"/>
              </a:ext>
            </a:extLst>
          </p:cNvPr>
          <p:cNvSpPr txBox="1"/>
          <p:nvPr/>
        </p:nvSpPr>
        <p:spPr>
          <a:xfrm>
            <a:off x="442913" y="1826404"/>
            <a:ext cx="11306175" cy="646331"/>
          </a:xfrm>
          <a:prstGeom prst="rect">
            <a:avLst/>
          </a:prstGeom>
          <a:noFill/>
        </p:spPr>
        <p:txBody>
          <a:bodyPr wrap="square" lIns="0" tIns="0" rIns="0" bIns="0">
            <a:spAutoFit/>
          </a:bodyPr>
          <a:lstStyle/>
          <a:p>
            <a:r>
              <a:rPr lang="lv-LV" sz="1400" b="1" i="0" dirty="0">
                <a:solidFill>
                  <a:srgbClr val="000000"/>
                </a:solidFill>
                <a:effectLst/>
              </a:rPr>
              <a:t>Bīstamas vielas kopumā ir ķīmiskas vielas vai metāli, kas to fizisko īpašību dēļ rada tiešu apdraudējumu un var izraisīt bīstamas traumas vai nāvi dažādu iemeslu dēļ. Dažas no tām var radīt traumu jau tikai saskares rezultātā, savukārt citas var radīt kaitējumu, ķīmiski reaģējot ar citām vielām.</a:t>
            </a:r>
            <a:endParaRPr lang="lv-LV" sz="1400" b="1" dirty="0"/>
          </a:p>
        </p:txBody>
      </p:sp>
      <p:sp>
        <p:nvSpPr>
          <p:cNvPr id="14" name="Rectangle 13">
            <a:extLst>
              <a:ext uri="{FF2B5EF4-FFF2-40B4-BE49-F238E27FC236}">
                <a16:creationId xmlns:a16="http://schemas.microsoft.com/office/drawing/2014/main" id="{78BC7547-1A94-A4A4-EDB8-38E78A54AF5F}"/>
              </a:ext>
            </a:extLst>
          </p:cNvPr>
          <p:cNvSpPr/>
          <p:nvPr/>
        </p:nvSpPr>
        <p:spPr>
          <a:xfrm>
            <a:off x="442913" y="2731475"/>
            <a:ext cx="10659287"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Bīstamo vielu veidi:</a:t>
            </a:r>
          </a:p>
        </p:txBody>
      </p:sp>
      <p:sp>
        <p:nvSpPr>
          <p:cNvPr id="15" name="Rectangle 14">
            <a:extLst>
              <a:ext uri="{FF2B5EF4-FFF2-40B4-BE49-F238E27FC236}">
                <a16:creationId xmlns:a16="http://schemas.microsoft.com/office/drawing/2014/main" id="{FADC4258-F435-7245-772C-7AF0F4346E38}"/>
              </a:ext>
            </a:extLst>
          </p:cNvPr>
          <p:cNvSpPr/>
          <p:nvPr/>
        </p:nvSpPr>
        <p:spPr>
          <a:xfrm>
            <a:off x="11173088" y="27314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5" name="Rectangle 24">
            <a:extLst>
              <a:ext uri="{FF2B5EF4-FFF2-40B4-BE49-F238E27FC236}">
                <a16:creationId xmlns:a16="http://schemas.microsoft.com/office/drawing/2014/main" id="{5F1E038C-892D-2998-FFFC-6910E29DCA5F}"/>
              </a:ext>
            </a:extLst>
          </p:cNvPr>
          <p:cNvSpPr/>
          <p:nvPr/>
        </p:nvSpPr>
        <p:spPr>
          <a:xfrm>
            <a:off x="11102200" y="27314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0" name="Rectangle 19">
            <a:extLst>
              <a:ext uri="{FF2B5EF4-FFF2-40B4-BE49-F238E27FC236}">
                <a16:creationId xmlns:a16="http://schemas.microsoft.com/office/drawing/2014/main" id="{1A4FC512-FE76-23D5-152E-68363A659C21}"/>
              </a:ext>
            </a:extLst>
          </p:cNvPr>
          <p:cNvSpPr/>
          <p:nvPr/>
        </p:nvSpPr>
        <p:spPr>
          <a:xfrm>
            <a:off x="1107653" y="3458865"/>
            <a:ext cx="4896907" cy="864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1">
                <a:solidFill>
                  <a:schemeClr val="tx1"/>
                </a:solidFill>
              </a:rPr>
              <a:t>V</a:t>
            </a:r>
            <a:r>
              <a:rPr lang="lv-LV" sz="1400" b="1" i="0">
                <a:solidFill>
                  <a:schemeClr val="tx1"/>
                </a:solidFill>
                <a:effectLst/>
              </a:rPr>
              <a:t>ielas ar tiešu traumējošu iedarbību</a:t>
            </a:r>
            <a:r>
              <a:rPr lang="lv-LV" sz="1400" b="0" i="0">
                <a:solidFill>
                  <a:schemeClr val="tx1"/>
                </a:solidFill>
                <a:effectLst/>
              </a:rPr>
              <a:t>, kuras var radīt kaitējumu gan ar iepriekšēju ķīmisko reakciju, gan bez tās.</a:t>
            </a:r>
          </a:p>
        </p:txBody>
      </p:sp>
      <p:sp>
        <p:nvSpPr>
          <p:cNvPr id="21" name="Rectangle 20">
            <a:extLst>
              <a:ext uri="{FF2B5EF4-FFF2-40B4-BE49-F238E27FC236}">
                <a16:creationId xmlns:a16="http://schemas.microsoft.com/office/drawing/2014/main" id="{27F07302-06F5-BF65-2CE9-AB329BD9A7EA}"/>
              </a:ext>
            </a:extLst>
          </p:cNvPr>
          <p:cNvSpPr/>
          <p:nvPr/>
        </p:nvSpPr>
        <p:spPr>
          <a:xfrm>
            <a:off x="442913" y="3458865"/>
            <a:ext cx="576263" cy="864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4" name="L-Shape 23">
            <a:extLst>
              <a:ext uri="{FF2B5EF4-FFF2-40B4-BE49-F238E27FC236}">
                <a16:creationId xmlns:a16="http://schemas.microsoft.com/office/drawing/2014/main" id="{9CAED3A0-4161-30B2-D61F-3ED20FF9F5CD}"/>
              </a:ext>
            </a:extLst>
          </p:cNvPr>
          <p:cNvSpPr/>
          <p:nvPr/>
        </p:nvSpPr>
        <p:spPr>
          <a:xfrm rot="13500000">
            <a:off x="559307" y="375447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0" name="Rectangle 29">
            <a:extLst>
              <a:ext uri="{FF2B5EF4-FFF2-40B4-BE49-F238E27FC236}">
                <a16:creationId xmlns:a16="http://schemas.microsoft.com/office/drawing/2014/main" id="{9C95B0E4-E7D3-E6A8-BAB8-AFEDDAC86B33}"/>
              </a:ext>
            </a:extLst>
          </p:cNvPr>
          <p:cNvSpPr/>
          <p:nvPr/>
        </p:nvSpPr>
        <p:spPr>
          <a:xfrm>
            <a:off x="6851245" y="3458865"/>
            <a:ext cx="4896907" cy="864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1" i="0">
                <a:solidFill>
                  <a:schemeClr val="tx1"/>
                </a:solidFill>
                <a:effectLst/>
              </a:rPr>
              <a:t>Oksidētāji, </a:t>
            </a:r>
            <a:r>
              <a:rPr lang="lv-LV" sz="1400" i="0">
                <a:solidFill>
                  <a:schemeClr val="tx1"/>
                </a:solidFill>
                <a:effectLst/>
              </a:rPr>
              <a:t>kas rada skābekli — vai nu dabiskā ceļā, vai arī karsēšanas rezultātā —, palielinot ugunsgrēka vai eksplozijas risku</a:t>
            </a:r>
            <a:r>
              <a:rPr lang="lv-LV" sz="1400">
                <a:solidFill>
                  <a:schemeClr val="tx1"/>
                </a:solidFill>
              </a:rPr>
              <a:t>.</a:t>
            </a:r>
            <a:endParaRPr lang="lv-LV" sz="1400" i="0">
              <a:solidFill>
                <a:schemeClr val="tx1"/>
              </a:solidFill>
              <a:effectLst/>
            </a:endParaRPr>
          </a:p>
        </p:txBody>
      </p:sp>
      <p:sp>
        <p:nvSpPr>
          <p:cNvPr id="31" name="Rectangle 30">
            <a:extLst>
              <a:ext uri="{FF2B5EF4-FFF2-40B4-BE49-F238E27FC236}">
                <a16:creationId xmlns:a16="http://schemas.microsoft.com/office/drawing/2014/main" id="{F0A0CBA0-243B-E230-470E-532DCB811F6B}"/>
              </a:ext>
            </a:extLst>
          </p:cNvPr>
          <p:cNvSpPr/>
          <p:nvPr/>
        </p:nvSpPr>
        <p:spPr>
          <a:xfrm>
            <a:off x="6186505" y="3458865"/>
            <a:ext cx="576263" cy="864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2" name="L-Shape 31">
            <a:extLst>
              <a:ext uri="{FF2B5EF4-FFF2-40B4-BE49-F238E27FC236}">
                <a16:creationId xmlns:a16="http://schemas.microsoft.com/office/drawing/2014/main" id="{33FF9D07-A206-777E-8A91-D1F69920DA4D}"/>
              </a:ext>
            </a:extLst>
          </p:cNvPr>
          <p:cNvSpPr/>
          <p:nvPr/>
        </p:nvSpPr>
        <p:spPr>
          <a:xfrm rot="13500000">
            <a:off x="6302899" y="375447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Rectangle 26">
            <a:extLst>
              <a:ext uri="{FF2B5EF4-FFF2-40B4-BE49-F238E27FC236}">
                <a16:creationId xmlns:a16="http://schemas.microsoft.com/office/drawing/2014/main" id="{ED5BDCDF-2329-B508-326A-389310DBA7BB}"/>
              </a:ext>
            </a:extLst>
          </p:cNvPr>
          <p:cNvSpPr/>
          <p:nvPr/>
        </p:nvSpPr>
        <p:spPr>
          <a:xfrm>
            <a:off x="1107653" y="4474255"/>
            <a:ext cx="4896907" cy="864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1" i="0" err="1">
                <a:solidFill>
                  <a:schemeClr val="tx1"/>
                </a:solidFill>
                <a:effectLst/>
              </a:rPr>
              <a:t>Ūdensjutīgi</a:t>
            </a:r>
            <a:r>
              <a:rPr lang="lv-LV" sz="1400" b="1" i="0">
                <a:solidFill>
                  <a:schemeClr val="tx1"/>
                </a:solidFill>
                <a:effectLst/>
              </a:rPr>
              <a:t> materiāli, </a:t>
            </a:r>
            <a:r>
              <a:rPr lang="lv-LV" sz="1400" i="0">
                <a:solidFill>
                  <a:schemeClr val="tx1"/>
                </a:solidFill>
                <a:effectLst/>
              </a:rPr>
              <a:t>kas reaģē ar ūdeni vai tvaiku, radot karstumu vai uzliesmojošas </a:t>
            </a:r>
            <a:r>
              <a:rPr lang="lv-LV" sz="1400" i="0" err="1">
                <a:solidFill>
                  <a:schemeClr val="tx1"/>
                </a:solidFill>
                <a:effectLst/>
              </a:rPr>
              <a:t>sprādzienbīstamas</a:t>
            </a:r>
            <a:r>
              <a:rPr lang="lv-LV" sz="1400" i="0">
                <a:solidFill>
                  <a:schemeClr val="tx1"/>
                </a:solidFill>
                <a:effectLst/>
              </a:rPr>
              <a:t> gāzes.</a:t>
            </a:r>
          </a:p>
        </p:txBody>
      </p:sp>
      <p:sp>
        <p:nvSpPr>
          <p:cNvPr id="28" name="Rectangle 27">
            <a:extLst>
              <a:ext uri="{FF2B5EF4-FFF2-40B4-BE49-F238E27FC236}">
                <a16:creationId xmlns:a16="http://schemas.microsoft.com/office/drawing/2014/main" id="{3378974A-E43F-7212-09D2-8A84CFF84D90}"/>
              </a:ext>
            </a:extLst>
          </p:cNvPr>
          <p:cNvSpPr/>
          <p:nvPr/>
        </p:nvSpPr>
        <p:spPr>
          <a:xfrm>
            <a:off x="442913" y="4474255"/>
            <a:ext cx="576263" cy="864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9" name="L-Shape 28">
            <a:extLst>
              <a:ext uri="{FF2B5EF4-FFF2-40B4-BE49-F238E27FC236}">
                <a16:creationId xmlns:a16="http://schemas.microsoft.com/office/drawing/2014/main" id="{7C231B27-A3C8-1205-8D23-7EBB48263471}"/>
              </a:ext>
            </a:extLst>
          </p:cNvPr>
          <p:cNvSpPr/>
          <p:nvPr/>
        </p:nvSpPr>
        <p:spPr>
          <a:xfrm rot="13500000">
            <a:off x="559307" y="476986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3" name="Rectangle 32">
            <a:extLst>
              <a:ext uri="{FF2B5EF4-FFF2-40B4-BE49-F238E27FC236}">
                <a16:creationId xmlns:a16="http://schemas.microsoft.com/office/drawing/2014/main" id="{68DEE72B-5AFB-FA2E-1D10-4A6665ACBF90}"/>
              </a:ext>
            </a:extLst>
          </p:cNvPr>
          <p:cNvSpPr/>
          <p:nvPr/>
        </p:nvSpPr>
        <p:spPr>
          <a:xfrm>
            <a:off x="6851245" y="4474255"/>
            <a:ext cx="4896907" cy="864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1">
                <a:solidFill>
                  <a:schemeClr val="tx1"/>
                </a:solidFill>
              </a:rPr>
              <a:t>T</a:t>
            </a:r>
            <a:r>
              <a:rPr lang="lv-LV" sz="1400" b="1" i="0">
                <a:solidFill>
                  <a:schemeClr val="tx1"/>
                </a:solidFill>
                <a:effectLst/>
              </a:rPr>
              <a:t>oksiskas vielas, </a:t>
            </a:r>
            <a:r>
              <a:rPr lang="lv-LV" sz="1400" i="0">
                <a:solidFill>
                  <a:schemeClr val="tx1"/>
                </a:solidFill>
                <a:effectLst/>
              </a:rPr>
              <a:t>kas saindē sistēmu, tās ieelpojot, norijot vai absorbējot caur ādu.</a:t>
            </a:r>
          </a:p>
        </p:txBody>
      </p:sp>
      <p:sp>
        <p:nvSpPr>
          <p:cNvPr id="34" name="Rectangle 33">
            <a:extLst>
              <a:ext uri="{FF2B5EF4-FFF2-40B4-BE49-F238E27FC236}">
                <a16:creationId xmlns:a16="http://schemas.microsoft.com/office/drawing/2014/main" id="{7B336D91-396F-F555-6DB4-F70137EB2446}"/>
              </a:ext>
            </a:extLst>
          </p:cNvPr>
          <p:cNvSpPr/>
          <p:nvPr/>
        </p:nvSpPr>
        <p:spPr>
          <a:xfrm>
            <a:off x="6186505" y="4474255"/>
            <a:ext cx="576263" cy="864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5" name="L-Shape 34">
            <a:extLst>
              <a:ext uri="{FF2B5EF4-FFF2-40B4-BE49-F238E27FC236}">
                <a16:creationId xmlns:a16="http://schemas.microsoft.com/office/drawing/2014/main" id="{6487C46E-7967-0C3C-015E-BDE8198DBA27}"/>
              </a:ext>
            </a:extLst>
          </p:cNvPr>
          <p:cNvSpPr/>
          <p:nvPr/>
        </p:nvSpPr>
        <p:spPr>
          <a:xfrm rot="13500000">
            <a:off x="6302899" y="476986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6" name="Rectangle 35">
            <a:extLst>
              <a:ext uri="{FF2B5EF4-FFF2-40B4-BE49-F238E27FC236}">
                <a16:creationId xmlns:a16="http://schemas.microsoft.com/office/drawing/2014/main" id="{2810B717-31B0-B060-6660-86D177727CC2}"/>
              </a:ext>
            </a:extLst>
          </p:cNvPr>
          <p:cNvSpPr/>
          <p:nvPr/>
        </p:nvSpPr>
        <p:spPr>
          <a:xfrm>
            <a:off x="442913" y="5605757"/>
            <a:ext cx="11306175" cy="567329"/>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b="1"/>
              <a:t>Dažas vielas var klasificēt vairākās no šīm kategorijām, tāpēc tās rada pat vēl lielāku risku.</a:t>
            </a:r>
          </a:p>
        </p:txBody>
      </p:sp>
      <p:cxnSp>
        <p:nvCxnSpPr>
          <p:cNvPr id="40" name="Straight Connector 39">
            <a:extLst>
              <a:ext uri="{FF2B5EF4-FFF2-40B4-BE49-F238E27FC236}">
                <a16:creationId xmlns:a16="http://schemas.microsoft.com/office/drawing/2014/main" id="{21C2BFA5-D7A0-430D-E7C3-9BD36E15FB66}"/>
              </a:ext>
            </a:extLst>
          </p:cNvPr>
          <p:cNvCxnSpPr>
            <a:cxnSpLocks/>
          </p:cNvCxnSpPr>
          <p:nvPr/>
        </p:nvCxnSpPr>
        <p:spPr>
          <a:xfrm>
            <a:off x="1108075" y="4397334"/>
            <a:ext cx="489585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1" name="Straight Connector 40">
            <a:extLst>
              <a:ext uri="{FF2B5EF4-FFF2-40B4-BE49-F238E27FC236}">
                <a16:creationId xmlns:a16="http://schemas.microsoft.com/office/drawing/2014/main" id="{BEFEE1B9-78E9-2442-B27A-C07ACDB38F00}"/>
              </a:ext>
            </a:extLst>
          </p:cNvPr>
          <p:cNvCxnSpPr>
            <a:cxnSpLocks/>
          </p:cNvCxnSpPr>
          <p:nvPr/>
        </p:nvCxnSpPr>
        <p:spPr>
          <a:xfrm>
            <a:off x="6852302" y="4397334"/>
            <a:ext cx="489585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42" name="Google Shape;974;p84">
            <a:extLst>
              <a:ext uri="{FF2B5EF4-FFF2-40B4-BE49-F238E27FC236}">
                <a16:creationId xmlns:a16="http://schemas.microsoft.com/office/drawing/2014/main" id="{3D4FDC14-BEFC-8C54-6015-0699EF6DB8FF}"/>
              </a:ext>
            </a:extLst>
          </p:cNvPr>
          <p:cNvGrpSpPr/>
          <p:nvPr/>
        </p:nvGrpSpPr>
        <p:grpSpPr>
          <a:xfrm>
            <a:off x="11317088" y="2875475"/>
            <a:ext cx="288000" cy="288000"/>
            <a:chOff x="7458182" y="1867103"/>
            <a:chExt cx="457200" cy="457200"/>
          </a:xfrm>
          <a:solidFill>
            <a:schemeClr val="bg1"/>
          </a:solidFill>
        </p:grpSpPr>
        <p:sp>
          <p:nvSpPr>
            <p:cNvPr id="43" name="Google Shape;975;p84">
              <a:extLst>
                <a:ext uri="{FF2B5EF4-FFF2-40B4-BE49-F238E27FC236}">
                  <a16:creationId xmlns:a16="http://schemas.microsoft.com/office/drawing/2014/main" id="{63C331AC-33E5-46B8-CA71-F2EED59108E9}"/>
                </a:ext>
              </a:extLst>
            </p:cNvPr>
            <p:cNvSpPr/>
            <p:nvPr/>
          </p:nvSpPr>
          <p:spPr>
            <a:xfrm>
              <a:off x="7458182" y="1867103"/>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sp>
          <p:nvSpPr>
            <p:cNvPr id="44" name="Google Shape;976;p84">
              <a:extLst>
                <a:ext uri="{FF2B5EF4-FFF2-40B4-BE49-F238E27FC236}">
                  <a16:creationId xmlns:a16="http://schemas.microsoft.com/office/drawing/2014/main" id="{FBB8CF37-F930-5218-5485-3E6EF671959C}"/>
                </a:ext>
              </a:extLst>
            </p:cNvPr>
            <p:cNvSpPr/>
            <p:nvPr/>
          </p:nvSpPr>
          <p:spPr>
            <a:xfrm>
              <a:off x="7563782" y="1923395"/>
              <a:ext cx="245618" cy="342773"/>
            </a:xfrm>
            <a:custGeom>
              <a:avLst/>
              <a:gdLst/>
              <a:ahLst/>
              <a:cxnLst/>
              <a:rect l="l" t="t" r="r" b="b"/>
              <a:pathLst>
                <a:path w="245618" h="342773" extrusionOk="0">
                  <a:moveTo>
                    <a:pt x="245618" y="44577"/>
                  </a:moveTo>
                  <a:lnTo>
                    <a:pt x="245618" y="25051"/>
                  </a:lnTo>
                  <a:lnTo>
                    <a:pt x="203168" y="25051"/>
                  </a:lnTo>
                  <a:lnTo>
                    <a:pt x="203168" y="0"/>
                  </a:lnTo>
                  <a:lnTo>
                    <a:pt x="147574" y="0"/>
                  </a:lnTo>
                  <a:lnTo>
                    <a:pt x="147574" y="25051"/>
                  </a:lnTo>
                  <a:lnTo>
                    <a:pt x="318" y="25051"/>
                  </a:lnTo>
                  <a:lnTo>
                    <a:pt x="318" y="44577"/>
                  </a:lnTo>
                  <a:lnTo>
                    <a:pt x="6445" y="44577"/>
                  </a:lnTo>
                  <a:lnTo>
                    <a:pt x="7525" y="117888"/>
                  </a:lnTo>
                  <a:lnTo>
                    <a:pt x="0" y="117888"/>
                  </a:lnTo>
                  <a:lnTo>
                    <a:pt x="0" y="137382"/>
                  </a:lnTo>
                  <a:lnTo>
                    <a:pt x="7811" y="137382"/>
                  </a:lnTo>
                  <a:lnTo>
                    <a:pt x="8985" y="225298"/>
                  </a:lnTo>
                  <a:lnTo>
                    <a:pt x="0" y="225298"/>
                  </a:lnTo>
                  <a:lnTo>
                    <a:pt x="0" y="244888"/>
                  </a:lnTo>
                  <a:lnTo>
                    <a:pt x="9525" y="244888"/>
                  </a:lnTo>
                  <a:lnTo>
                    <a:pt x="10668" y="323183"/>
                  </a:lnTo>
                  <a:lnTo>
                    <a:pt x="0" y="323183"/>
                  </a:lnTo>
                  <a:lnTo>
                    <a:pt x="0" y="342773"/>
                  </a:lnTo>
                  <a:lnTo>
                    <a:pt x="245491" y="342773"/>
                  </a:lnTo>
                  <a:lnTo>
                    <a:pt x="245491" y="323183"/>
                  </a:lnTo>
                  <a:lnTo>
                    <a:pt x="238347" y="323183"/>
                  </a:lnTo>
                  <a:lnTo>
                    <a:pt x="238665" y="244888"/>
                  </a:lnTo>
                  <a:lnTo>
                    <a:pt x="245491" y="244888"/>
                  </a:lnTo>
                  <a:lnTo>
                    <a:pt x="245491" y="225298"/>
                  </a:lnTo>
                  <a:lnTo>
                    <a:pt x="238760" y="225298"/>
                  </a:lnTo>
                  <a:lnTo>
                    <a:pt x="239141" y="137382"/>
                  </a:lnTo>
                  <a:lnTo>
                    <a:pt x="245491" y="137382"/>
                  </a:lnTo>
                  <a:lnTo>
                    <a:pt x="245491" y="117888"/>
                  </a:lnTo>
                  <a:lnTo>
                    <a:pt x="239141" y="117888"/>
                  </a:lnTo>
                  <a:lnTo>
                    <a:pt x="239459" y="44577"/>
                  </a:lnTo>
                  <a:close/>
                  <a:moveTo>
                    <a:pt x="161195" y="13716"/>
                  </a:moveTo>
                  <a:lnTo>
                    <a:pt x="189960" y="13716"/>
                  </a:lnTo>
                  <a:lnTo>
                    <a:pt x="189960" y="25019"/>
                  </a:lnTo>
                  <a:lnTo>
                    <a:pt x="161195" y="25019"/>
                  </a:lnTo>
                  <a:close/>
                  <a:moveTo>
                    <a:pt x="26035" y="44577"/>
                  </a:moveTo>
                  <a:lnTo>
                    <a:pt x="219901" y="44577"/>
                  </a:lnTo>
                  <a:lnTo>
                    <a:pt x="219901" y="117888"/>
                  </a:lnTo>
                  <a:lnTo>
                    <a:pt x="26765" y="117888"/>
                  </a:lnTo>
                  <a:close/>
                  <a:moveTo>
                    <a:pt x="26956" y="137382"/>
                  </a:moveTo>
                  <a:lnTo>
                    <a:pt x="220091" y="137382"/>
                  </a:lnTo>
                  <a:lnTo>
                    <a:pt x="220250" y="225235"/>
                  </a:lnTo>
                  <a:lnTo>
                    <a:pt x="27781" y="225235"/>
                  </a:lnTo>
                  <a:close/>
                  <a:moveTo>
                    <a:pt x="28734" y="322707"/>
                  </a:moveTo>
                  <a:lnTo>
                    <a:pt x="28035" y="244888"/>
                  </a:lnTo>
                  <a:lnTo>
                    <a:pt x="220345" y="244888"/>
                  </a:lnTo>
                  <a:lnTo>
                    <a:pt x="220345" y="322771"/>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grpSp>
      <p:grpSp>
        <p:nvGrpSpPr>
          <p:cNvPr id="23" name="Group 22">
            <a:extLst>
              <a:ext uri="{FF2B5EF4-FFF2-40B4-BE49-F238E27FC236}">
                <a16:creationId xmlns:a16="http://schemas.microsoft.com/office/drawing/2014/main" id="{09A7A300-B1D6-3AF4-30CD-F365B8F81B7D}"/>
              </a:ext>
            </a:extLst>
          </p:cNvPr>
          <p:cNvGrpSpPr/>
          <p:nvPr/>
        </p:nvGrpSpPr>
        <p:grpSpPr>
          <a:xfrm>
            <a:off x="8801454" y="159786"/>
            <a:ext cx="2947634" cy="217488"/>
            <a:chOff x="8559627" y="684914"/>
            <a:chExt cx="2947634" cy="217488"/>
          </a:xfrm>
        </p:grpSpPr>
        <p:sp>
          <p:nvSpPr>
            <p:cNvPr id="26" name="Rectangle 25">
              <a:extLst>
                <a:ext uri="{FF2B5EF4-FFF2-40B4-BE49-F238E27FC236}">
                  <a16:creationId xmlns:a16="http://schemas.microsoft.com/office/drawing/2014/main" id="{F7525E27-70B9-C402-0410-657E65060D35}"/>
                </a:ext>
              </a:extLst>
            </p:cNvPr>
            <p:cNvSpPr/>
            <p:nvPr/>
          </p:nvSpPr>
          <p:spPr>
            <a:xfrm>
              <a:off x="9285434" y="68491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5</a:t>
              </a:r>
              <a:r>
                <a:rPr kumimoji="0" lang="lv-LV" sz="800" b="1" i="0" u="none" strike="noStrike" kern="0" cap="none" spc="0" normalizeH="0" baseline="0" dirty="0">
                  <a:ln>
                    <a:noFill/>
                  </a:ln>
                  <a:effectLst/>
                  <a:uLnTx/>
                  <a:uFillTx/>
                  <a:ea typeface="Georgia"/>
                  <a:cs typeface="Georgia"/>
                  <a:sym typeface="Georgia"/>
                </a:rPr>
                <a:t>.</a:t>
              </a:r>
              <a:r>
                <a:rPr kumimoji="0" lang="en-US" sz="800" b="1" i="0" u="none" strike="noStrike" kern="0" cap="none" spc="0" normalizeH="0" baseline="0" dirty="0">
                  <a:ln>
                    <a:noFill/>
                  </a:ln>
                  <a:effectLst/>
                  <a:uLnTx/>
                  <a:uFillTx/>
                  <a:ea typeface="Georgia"/>
                  <a:cs typeface="Georgia"/>
                  <a:sym typeface="Georgia"/>
                </a:rPr>
                <a:t>4</a:t>
              </a:r>
              <a:endParaRPr kumimoji="0" lang="lv-LV" sz="800" b="1" i="0" u="none" strike="noStrike" kern="0" cap="none" spc="0" normalizeH="0" baseline="0" dirty="0">
                <a:ln>
                  <a:noFill/>
                </a:ln>
                <a:effectLst/>
                <a:uLnTx/>
                <a:uFillTx/>
                <a:ea typeface="Georgia"/>
                <a:cs typeface="Georgia"/>
                <a:sym typeface="Georgia"/>
              </a:endParaRPr>
            </a:p>
          </p:txBody>
        </p:sp>
        <p:sp>
          <p:nvSpPr>
            <p:cNvPr id="37" name="Rectangle 36">
              <a:extLst>
                <a:ext uri="{FF2B5EF4-FFF2-40B4-BE49-F238E27FC236}">
                  <a16:creationId xmlns:a16="http://schemas.microsoft.com/office/drawing/2014/main" id="{28BA6E74-778E-C1F7-5091-1F3A9752419B}"/>
                </a:ext>
              </a:extLst>
            </p:cNvPr>
            <p:cNvSpPr/>
            <p:nvPr/>
          </p:nvSpPr>
          <p:spPr>
            <a:xfrm>
              <a:off x="9527261" y="684914"/>
              <a:ext cx="198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err="1">
                  <a:ln>
                    <a:noFill/>
                  </a:ln>
                  <a:effectLst/>
                  <a:uLnTx/>
                  <a:uFillTx/>
                  <a:ea typeface="Georgia"/>
                  <a:cs typeface="Georgia"/>
                  <a:sym typeface="Georgia"/>
                </a:rPr>
                <a:t>Drošības</a:t>
              </a:r>
              <a:r>
                <a:rPr kumimoji="0" lang="en-US" sz="800" b="1" i="0" u="none" strike="noStrike" kern="0" cap="none" spc="0" normalizeH="0" baseline="0" dirty="0">
                  <a:ln>
                    <a:noFill/>
                  </a:ln>
                  <a:effectLst/>
                  <a:uLnTx/>
                  <a:uFillTx/>
                  <a:ea typeface="Georgia"/>
                  <a:cs typeface="Georgia"/>
                  <a:sym typeface="Georgia"/>
                </a:rPr>
                <a:t> </a:t>
              </a:r>
              <a:r>
                <a:rPr kumimoji="0" lang="en-US" sz="800" b="1" i="0" u="none" strike="noStrike" kern="0" cap="none" spc="0" normalizeH="0" baseline="0" dirty="0" err="1">
                  <a:ln>
                    <a:noFill/>
                  </a:ln>
                  <a:effectLst/>
                  <a:uLnTx/>
                  <a:uFillTx/>
                  <a:ea typeface="Georgia"/>
                  <a:cs typeface="Georgia"/>
                  <a:sym typeface="Georgia"/>
                </a:rPr>
                <a:t>pasākumi</a:t>
              </a:r>
              <a:endParaRPr kumimoji="0" lang="en-US" sz="800" b="1" i="0" u="none" strike="noStrike" kern="0" cap="none" spc="0" normalizeH="0" baseline="0" dirty="0">
                <a:ln>
                  <a:noFill/>
                </a:ln>
                <a:effectLst/>
                <a:uLnTx/>
                <a:uFillTx/>
                <a:ea typeface="Georgia"/>
                <a:cs typeface="Georgia"/>
                <a:sym typeface="Georgia"/>
              </a:endParaRPr>
            </a:p>
          </p:txBody>
        </p:sp>
        <p:sp>
          <p:nvSpPr>
            <p:cNvPr id="38" name="Rectangle 37">
              <a:extLst>
                <a:ext uri="{FF2B5EF4-FFF2-40B4-BE49-F238E27FC236}">
                  <a16:creationId xmlns:a16="http://schemas.microsoft.com/office/drawing/2014/main" id="{DEB47534-1853-3226-C32D-D3F5A52F30CC}"/>
                </a:ext>
              </a:extLst>
            </p:cNvPr>
            <p:cNvSpPr/>
            <p:nvPr/>
          </p:nvSpPr>
          <p:spPr>
            <a:xfrm>
              <a:off x="9043607"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3</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39" name="Rectangle 38">
              <a:extLst>
                <a:ext uri="{FF2B5EF4-FFF2-40B4-BE49-F238E27FC236}">
                  <a16:creationId xmlns:a16="http://schemas.microsoft.com/office/drawing/2014/main" id="{A924B73D-5717-C1BA-3512-387CC3FE28CA}"/>
                </a:ext>
              </a:extLst>
            </p:cNvPr>
            <p:cNvSpPr/>
            <p:nvPr/>
          </p:nvSpPr>
          <p:spPr>
            <a:xfrm>
              <a:off x="8801780"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2</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45" name="Rectangle 44">
              <a:extLst>
                <a:ext uri="{FF2B5EF4-FFF2-40B4-BE49-F238E27FC236}">
                  <a16:creationId xmlns:a16="http://schemas.microsoft.com/office/drawing/2014/main" id="{8AD40FBC-DAAB-64A8-3A5A-60087D8446D1}"/>
                </a:ext>
              </a:extLst>
            </p:cNvPr>
            <p:cNvSpPr/>
            <p:nvPr/>
          </p:nvSpPr>
          <p:spPr>
            <a:xfrm>
              <a:off x="8559627"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1162204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613892E-28C2-9B35-D270-AE96176FC8A5}"/>
              </a:ext>
            </a:extLst>
          </p:cNvPr>
          <p:cNvGraphicFramePr>
            <a:graphicFrameLocks noChangeAspect="1"/>
          </p:cNvGraphicFramePr>
          <p:nvPr>
            <p:custDataLst>
              <p:tags r:id="rId1"/>
            </p:custDataLst>
            <p:extLst>
              <p:ext uri="{D42A27DB-BD31-4B8C-83A1-F6EECF244321}">
                <p14:modId xmlns:p14="http://schemas.microsoft.com/office/powerpoint/2010/main" val="108027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think-cell data - do not delete" hidden="1">
                        <a:extLst>
                          <a:ext uri="{FF2B5EF4-FFF2-40B4-BE49-F238E27FC236}">
                            <a16:creationId xmlns:a16="http://schemas.microsoft.com/office/drawing/2014/main" id="{E613892E-28C2-9B35-D270-AE96176FC8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a:lstStyle/>
          <a:p>
            <a:r>
              <a:rPr lang="lv-LV" dirty="0"/>
              <a:t>Bīstamās vielas</a:t>
            </a:r>
            <a:br>
              <a:rPr lang="lv-LV"/>
            </a:br>
            <a:r>
              <a:rPr lang="lv-LV">
                <a:solidFill>
                  <a:srgbClr val="A8192D"/>
                </a:solidFill>
              </a:rPr>
              <a:t>Bīstamības simboli (1/</a:t>
            </a:r>
            <a:r>
              <a:rPr lang="en-US">
                <a:solidFill>
                  <a:srgbClr val="A8192D"/>
                </a:solidFill>
              </a:rPr>
              <a:t>5</a:t>
            </a:r>
            <a:r>
              <a:rPr lang="lv-LV">
                <a:solidFill>
                  <a:srgbClr val="A8192D"/>
                </a:solidFill>
              </a:rPr>
              <a:t>)</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a:lstStyle/>
          <a:p>
            <a:fld id="{7870704B-CE94-48CC-AF30-84932A1262A7}" type="slidenum">
              <a:rPr lang="en-GB" smtClean="0"/>
              <a:pPr/>
              <a:t>27</a:t>
            </a:fld>
            <a:endParaRPr lang="en-GB"/>
          </a:p>
        </p:txBody>
      </p:sp>
      <p:sp>
        <p:nvSpPr>
          <p:cNvPr id="3" name="Rectangle 2">
            <a:extLst>
              <a:ext uri="{FF2B5EF4-FFF2-40B4-BE49-F238E27FC236}">
                <a16:creationId xmlns:a16="http://schemas.microsoft.com/office/drawing/2014/main" id="{E0279B2C-74FF-E6ED-4DD9-1A24B8ED5A06}"/>
              </a:ext>
            </a:extLst>
          </p:cNvPr>
          <p:cNvSpPr/>
          <p:nvPr/>
        </p:nvSpPr>
        <p:spPr>
          <a:xfrm>
            <a:off x="442913" y="1815438"/>
            <a:ext cx="10659287"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Ķīmisko vielu bīstamības simboli atbilstoši Eiropas Parlamenta un Padomes Regulai (EK) Nr. 1272/2008</a:t>
            </a:r>
          </a:p>
        </p:txBody>
      </p:sp>
      <p:sp>
        <p:nvSpPr>
          <p:cNvPr id="6" name="Rectangle 5">
            <a:extLst>
              <a:ext uri="{FF2B5EF4-FFF2-40B4-BE49-F238E27FC236}">
                <a16:creationId xmlns:a16="http://schemas.microsoft.com/office/drawing/2014/main" id="{0C53E03C-DA29-42BE-4F26-04730904B12A}"/>
              </a:ext>
            </a:extLst>
          </p:cNvPr>
          <p:cNvSpPr/>
          <p:nvPr/>
        </p:nvSpPr>
        <p:spPr>
          <a:xfrm>
            <a:off x="11173088" y="1815438"/>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Rectangle 6">
            <a:extLst>
              <a:ext uri="{FF2B5EF4-FFF2-40B4-BE49-F238E27FC236}">
                <a16:creationId xmlns:a16="http://schemas.microsoft.com/office/drawing/2014/main" id="{40162B2D-745F-C3D4-1610-2ABF56FA413D}"/>
              </a:ext>
            </a:extLst>
          </p:cNvPr>
          <p:cNvSpPr/>
          <p:nvPr/>
        </p:nvSpPr>
        <p:spPr>
          <a:xfrm>
            <a:off x="11102200" y="1815438"/>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9" name="Google Shape;974;p84">
            <a:extLst>
              <a:ext uri="{FF2B5EF4-FFF2-40B4-BE49-F238E27FC236}">
                <a16:creationId xmlns:a16="http://schemas.microsoft.com/office/drawing/2014/main" id="{007E4D49-1D52-ECA8-9CF9-1EFAE236321C}"/>
              </a:ext>
            </a:extLst>
          </p:cNvPr>
          <p:cNvGrpSpPr/>
          <p:nvPr/>
        </p:nvGrpSpPr>
        <p:grpSpPr>
          <a:xfrm>
            <a:off x="11317088" y="1959438"/>
            <a:ext cx="288000" cy="288000"/>
            <a:chOff x="7458182" y="1867103"/>
            <a:chExt cx="457200" cy="457200"/>
          </a:xfrm>
          <a:solidFill>
            <a:schemeClr val="bg1"/>
          </a:solidFill>
        </p:grpSpPr>
        <p:sp>
          <p:nvSpPr>
            <p:cNvPr id="10" name="Google Shape;975;p84">
              <a:extLst>
                <a:ext uri="{FF2B5EF4-FFF2-40B4-BE49-F238E27FC236}">
                  <a16:creationId xmlns:a16="http://schemas.microsoft.com/office/drawing/2014/main" id="{02AD5569-6EC9-C953-730A-815CF881B637}"/>
                </a:ext>
              </a:extLst>
            </p:cNvPr>
            <p:cNvSpPr/>
            <p:nvPr/>
          </p:nvSpPr>
          <p:spPr>
            <a:xfrm>
              <a:off x="7458182" y="1867103"/>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sp>
          <p:nvSpPr>
            <p:cNvPr id="11" name="Google Shape;976;p84">
              <a:extLst>
                <a:ext uri="{FF2B5EF4-FFF2-40B4-BE49-F238E27FC236}">
                  <a16:creationId xmlns:a16="http://schemas.microsoft.com/office/drawing/2014/main" id="{7E8DF251-C4F4-B4E0-35D7-B30A10A49E99}"/>
                </a:ext>
              </a:extLst>
            </p:cNvPr>
            <p:cNvSpPr/>
            <p:nvPr/>
          </p:nvSpPr>
          <p:spPr>
            <a:xfrm>
              <a:off x="7563782" y="1923395"/>
              <a:ext cx="245618" cy="342773"/>
            </a:xfrm>
            <a:custGeom>
              <a:avLst/>
              <a:gdLst/>
              <a:ahLst/>
              <a:cxnLst/>
              <a:rect l="l" t="t" r="r" b="b"/>
              <a:pathLst>
                <a:path w="245618" h="342773" extrusionOk="0">
                  <a:moveTo>
                    <a:pt x="245618" y="44577"/>
                  </a:moveTo>
                  <a:lnTo>
                    <a:pt x="245618" y="25051"/>
                  </a:lnTo>
                  <a:lnTo>
                    <a:pt x="203168" y="25051"/>
                  </a:lnTo>
                  <a:lnTo>
                    <a:pt x="203168" y="0"/>
                  </a:lnTo>
                  <a:lnTo>
                    <a:pt x="147574" y="0"/>
                  </a:lnTo>
                  <a:lnTo>
                    <a:pt x="147574" y="25051"/>
                  </a:lnTo>
                  <a:lnTo>
                    <a:pt x="318" y="25051"/>
                  </a:lnTo>
                  <a:lnTo>
                    <a:pt x="318" y="44577"/>
                  </a:lnTo>
                  <a:lnTo>
                    <a:pt x="6445" y="44577"/>
                  </a:lnTo>
                  <a:lnTo>
                    <a:pt x="7525" y="117888"/>
                  </a:lnTo>
                  <a:lnTo>
                    <a:pt x="0" y="117888"/>
                  </a:lnTo>
                  <a:lnTo>
                    <a:pt x="0" y="137382"/>
                  </a:lnTo>
                  <a:lnTo>
                    <a:pt x="7811" y="137382"/>
                  </a:lnTo>
                  <a:lnTo>
                    <a:pt x="8985" y="225298"/>
                  </a:lnTo>
                  <a:lnTo>
                    <a:pt x="0" y="225298"/>
                  </a:lnTo>
                  <a:lnTo>
                    <a:pt x="0" y="244888"/>
                  </a:lnTo>
                  <a:lnTo>
                    <a:pt x="9525" y="244888"/>
                  </a:lnTo>
                  <a:lnTo>
                    <a:pt x="10668" y="323183"/>
                  </a:lnTo>
                  <a:lnTo>
                    <a:pt x="0" y="323183"/>
                  </a:lnTo>
                  <a:lnTo>
                    <a:pt x="0" y="342773"/>
                  </a:lnTo>
                  <a:lnTo>
                    <a:pt x="245491" y="342773"/>
                  </a:lnTo>
                  <a:lnTo>
                    <a:pt x="245491" y="323183"/>
                  </a:lnTo>
                  <a:lnTo>
                    <a:pt x="238347" y="323183"/>
                  </a:lnTo>
                  <a:lnTo>
                    <a:pt x="238665" y="244888"/>
                  </a:lnTo>
                  <a:lnTo>
                    <a:pt x="245491" y="244888"/>
                  </a:lnTo>
                  <a:lnTo>
                    <a:pt x="245491" y="225298"/>
                  </a:lnTo>
                  <a:lnTo>
                    <a:pt x="238760" y="225298"/>
                  </a:lnTo>
                  <a:lnTo>
                    <a:pt x="239141" y="137382"/>
                  </a:lnTo>
                  <a:lnTo>
                    <a:pt x="245491" y="137382"/>
                  </a:lnTo>
                  <a:lnTo>
                    <a:pt x="245491" y="117888"/>
                  </a:lnTo>
                  <a:lnTo>
                    <a:pt x="239141" y="117888"/>
                  </a:lnTo>
                  <a:lnTo>
                    <a:pt x="239459" y="44577"/>
                  </a:lnTo>
                  <a:close/>
                  <a:moveTo>
                    <a:pt x="161195" y="13716"/>
                  </a:moveTo>
                  <a:lnTo>
                    <a:pt x="189960" y="13716"/>
                  </a:lnTo>
                  <a:lnTo>
                    <a:pt x="189960" y="25019"/>
                  </a:lnTo>
                  <a:lnTo>
                    <a:pt x="161195" y="25019"/>
                  </a:lnTo>
                  <a:close/>
                  <a:moveTo>
                    <a:pt x="26035" y="44577"/>
                  </a:moveTo>
                  <a:lnTo>
                    <a:pt x="219901" y="44577"/>
                  </a:lnTo>
                  <a:lnTo>
                    <a:pt x="219901" y="117888"/>
                  </a:lnTo>
                  <a:lnTo>
                    <a:pt x="26765" y="117888"/>
                  </a:lnTo>
                  <a:close/>
                  <a:moveTo>
                    <a:pt x="26956" y="137382"/>
                  </a:moveTo>
                  <a:lnTo>
                    <a:pt x="220091" y="137382"/>
                  </a:lnTo>
                  <a:lnTo>
                    <a:pt x="220250" y="225235"/>
                  </a:lnTo>
                  <a:lnTo>
                    <a:pt x="27781" y="225235"/>
                  </a:lnTo>
                  <a:close/>
                  <a:moveTo>
                    <a:pt x="28734" y="322707"/>
                  </a:moveTo>
                  <a:lnTo>
                    <a:pt x="28035" y="244888"/>
                  </a:lnTo>
                  <a:lnTo>
                    <a:pt x="220345" y="244888"/>
                  </a:lnTo>
                  <a:lnTo>
                    <a:pt x="220345" y="322771"/>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grpSp>
      <p:sp>
        <p:nvSpPr>
          <p:cNvPr id="12" name="Rectangle 11">
            <a:extLst>
              <a:ext uri="{FF2B5EF4-FFF2-40B4-BE49-F238E27FC236}">
                <a16:creationId xmlns:a16="http://schemas.microsoft.com/office/drawing/2014/main" id="{558B29EA-C2DD-F44E-9B37-4E87679B9458}"/>
              </a:ext>
            </a:extLst>
          </p:cNvPr>
          <p:cNvSpPr/>
          <p:nvPr/>
        </p:nvSpPr>
        <p:spPr>
          <a:xfrm>
            <a:off x="442913" y="2610180"/>
            <a:ext cx="902826" cy="902826"/>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4" name="Rectangle 13">
            <a:extLst>
              <a:ext uri="{FF2B5EF4-FFF2-40B4-BE49-F238E27FC236}">
                <a16:creationId xmlns:a16="http://schemas.microsoft.com/office/drawing/2014/main" id="{5E2F8AFF-8516-1C92-C7B7-400746F821E7}"/>
              </a:ext>
            </a:extLst>
          </p:cNvPr>
          <p:cNvSpPr/>
          <p:nvPr/>
        </p:nvSpPr>
        <p:spPr>
          <a:xfrm>
            <a:off x="1519359"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O</a:t>
            </a:r>
            <a:r>
              <a:rPr lang="cs-CZ" sz="1400">
                <a:solidFill>
                  <a:schemeClr val="tx1"/>
                </a:solidFill>
              </a:rPr>
              <a:t>: Spēcīgs oksidētājs</a:t>
            </a:r>
          </a:p>
        </p:txBody>
      </p:sp>
      <p:sp>
        <p:nvSpPr>
          <p:cNvPr id="15" name="Rectangle 14">
            <a:extLst>
              <a:ext uri="{FF2B5EF4-FFF2-40B4-BE49-F238E27FC236}">
                <a16:creationId xmlns:a16="http://schemas.microsoft.com/office/drawing/2014/main" id="{3FD46B01-4DA8-4E1C-6EFA-6878DC0F0601}"/>
              </a:ext>
            </a:extLst>
          </p:cNvPr>
          <p:cNvSpPr/>
          <p:nvPr/>
        </p:nvSpPr>
        <p:spPr>
          <a:xfrm>
            <a:off x="4330700" y="2610180"/>
            <a:ext cx="902826" cy="902826"/>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6" name="Rectangle 15">
            <a:extLst>
              <a:ext uri="{FF2B5EF4-FFF2-40B4-BE49-F238E27FC236}">
                <a16:creationId xmlns:a16="http://schemas.microsoft.com/office/drawing/2014/main" id="{20E7B685-6395-D9E9-05F4-223BBFFAAF4A}"/>
              </a:ext>
            </a:extLst>
          </p:cNvPr>
          <p:cNvSpPr/>
          <p:nvPr/>
        </p:nvSpPr>
        <p:spPr>
          <a:xfrm>
            <a:off x="5407146"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E: </a:t>
            </a:r>
            <a:r>
              <a:rPr lang="cs-CZ" sz="1400">
                <a:solidFill>
                  <a:schemeClr val="tx1"/>
                </a:solidFill>
              </a:rPr>
              <a:t>Sprādzienbīstams</a:t>
            </a:r>
          </a:p>
        </p:txBody>
      </p:sp>
      <p:sp>
        <p:nvSpPr>
          <p:cNvPr id="17" name="Rectangle 16">
            <a:extLst>
              <a:ext uri="{FF2B5EF4-FFF2-40B4-BE49-F238E27FC236}">
                <a16:creationId xmlns:a16="http://schemas.microsoft.com/office/drawing/2014/main" id="{B8EB771F-8CC9-CE45-A76D-13C97F067E4E}"/>
              </a:ext>
            </a:extLst>
          </p:cNvPr>
          <p:cNvSpPr/>
          <p:nvPr/>
        </p:nvSpPr>
        <p:spPr>
          <a:xfrm>
            <a:off x="8218488" y="2610180"/>
            <a:ext cx="902826" cy="902826"/>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8" name="Rectangle 17">
            <a:extLst>
              <a:ext uri="{FF2B5EF4-FFF2-40B4-BE49-F238E27FC236}">
                <a16:creationId xmlns:a16="http://schemas.microsoft.com/office/drawing/2014/main" id="{8BE823A5-7D87-F038-1369-6C300C9766E4}"/>
              </a:ext>
            </a:extLst>
          </p:cNvPr>
          <p:cNvSpPr/>
          <p:nvPr/>
        </p:nvSpPr>
        <p:spPr>
          <a:xfrm>
            <a:off x="9294934"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Xn: </a:t>
            </a:r>
            <a:r>
              <a:rPr lang="cs-CZ" sz="1400">
                <a:solidFill>
                  <a:schemeClr val="tx1"/>
                </a:solidFill>
              </a:rPr>
              <a:t>Kaitīgs</a:t>
            </a:r>
          </a:p>
          <a:p>
            <a:pPr>
              <a:lnSpc>
                <a:spcPct val="100000"/>
              </a:lnSpc>
            </a:pPr>
            <a:r>
              <a:rPr lang="cs-CZ" sz="1400" b="1">
                <a:solidFill>
                  <a:schemeClr val="tx1"/>
                </a:solidFill>
              </a:rPr>
              <a:t>Xi: </a:t>
            </a:r>
            <a:r>
              <a:rPr lang="cs-CZ" sz="1400">
                <a:solidFill>
                  <a:schemeClr val="tx1"/>
                </a:solidFill>
              </a:rPr>
              <a:t>Kairinošs</a:t>
            </a:r>
          </a:p>
        </p:txBody>
      </p:sp>
      <p:sp>
        <p:nvSpPr>
          <p:cNvPr id="19" name="Rectangle 18">
            <a:extLst>
              <a:ext uri="{FF2B5EF4-FFF2-40B4-BE49-F238E27FC236}">
                <a16:creationId xmlns:a16="http://schemas.microsoft.com/office/drawing/2014/main" id="{DAA6ED55-C316-5BC6-EDB8-1E06D2DD45C0}"/>
              </a:ext>
            </a:extLst>
          </p:cNvPr>
          <p:cNvSpPr/>
          <p:nvPr/>
        </p:nvSpPr>
        <p:spPr>
          <a:xfrm>
            <a:off x="442913" y="3673077"/>
            <a:ext cx="902826" cy="902826"/>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0" name="Rectangle 19">
            <a:extLst>
              <a:ext uri="{FF2B5EF4-FFF2-40B4-BE49-F238E27FC236}">
                <a16:creationId xmlns:a16="http://schemas.microsoft.com/office/drawing/2014/main" id="{9D2FB976-57F3-0D62-8878-EE099FF840F9}"/>
              </a:ext>
            </a:extLst>
          </p:cNvPr>
          <p:cNvSpPr/>
          <p:nvPr/>
        </p:nvSpPr>
        <p:spPr>
          <a:xfrm>
            <a:off x="1519359"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fi-FI" sz="1400" b="1">
                <a:solidFill>
                  <a:schemeClr val="tx1"/>
                </a:solidFill>
              </a:rPr>
              <a:t>T: </a:t>
            </a:r>
            <a:r>
              <a:rPr lang="fi-FI" sz="1400">
                <a:solidFill>
                  <a:schemeClr val="tx1"/>
                </a:solidFill>
              </a:rPr>
              <a:t>Toksisks</a:t>
            </a:r>
          </a:p>
          <a:p>
            <a:pPr>
              <a:lnSpc>
                <a:spcPct val="100000"/>
              </a:lnSpc>
            </a:pPr>
            <a:r>
              <a:rPr lang="fi-FI" sz="1400" b="1">
                <a:solidFill>
                  <a:schemeClr val="tx1"/>
                </a:solidFill>
              </a:rPr>
              <a:t>T+: </a:t>
            </a:r>
            <a:r>
              <a:rPr lang="fi-FI" sz="1400">
                <a:solidFill>
                  <a:schemeClr val="tx1"/>
                </a:solidFill>
              </a:rPr>
              <a:t>Ļoti toksisks</a:t>
            </a:r>
            <a:endParaRPr lang="cs-CZ" sz="1400">
              <a:solidFill>
                <a:schemeClr val="tx1"/>
              </a:solidFill>
            </a:endParaRPr>
          </a:p>
        </p:txBody>
      </p:sp>
      <p:sp>
        <p:nvSpPr>
          <p:cNvPr id="21" name="Rectangle 20">
            <a:extLst>
              <a:ext uri="{FF2B5EF4-FFF2-40B4-BE49-F238E27FC236}">
                <a16:creationId xmlns:a16="http://schemas.microsoft.com/office/drawing/2014/main" id="{AE36E1FA-AEA5-3762-D5A6-7C983B76D19C}"/>
              </a:ext>
            </a:extLst>
          </p:cNvPr>
          <p:cNvSpPr/>
          <p:nvPr/>
        </p:nvSpPr>
        <p:spPr>
          <a:xfrm>
            <a:off x="4330700" y="3673077"/>
            <a:ext cx="902826" cy="902826"/>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4" name="Rectangle 23">
            <a:extLst>
              <a:ext uri="{FF2B5EF4-FFF2-40B4-BE49-F238E27FC236}">
                <a16:creationId xmlns:a16="http://schemas.microsoft.com/office/drawing/2014/main" id="{66F3CAC4-6726-C4A8-8A1D-F9C3A9D11719}"/>
              </a:ext>
            </a:extLst>
          </p:cNvPr>
          <p:cNvSpPr/>
          <p:nvPr/>
        </p:nvSpPr>
        <p:spPr>
          <a:xfrm>
            <a:off x="5407146"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N: </a:t>
            </a:r>
            <a:r>
              <a:rPr lang="cs-CZ" sz="1400">
                <a:solidFill>
                  <a:schemeClr val="tx1"/>
                </a:solidFill>
              </a:rPr>
              <a:t>Bīstams videi</a:t>
            </a:r>
          </a:p>
        </p:txBody>
      </p:sp>
      <p:sp>
        <p:nvSpPr>
          <p:cNvPr id="25" name="Rectangle 24">
            <a:extLst>
              <a:ext uri="{FF2B5EF4-FFF2-40B4-BE49-F238E27FC236}">
                <a16:creationId xmlns:a16="http://schemas.microsoft.com/office/drawing/2014/main" id="{C8105DF5-58D0-2AC3-622E-2DA11C4FC3FC}"/>
              </a:ext>
            </a:extLst>
          </p:cNvPr>
          <p:cNvSpPr/>
          <p:nvPr/>
        </p:nvSpPr>
        <p:spPr>
          <a:xfrm>
            <a:off x="8218488" y="3673077"/>
            <a:ext cx="902826" cy="902826"/>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6" name="Rectangle 25">
            <a:extLst>
              <a:ext uri="{FF2B5EF4-FFF2-40B4-BE49-F238E27FC236}">
                <a16:creationId xmlns:a16="http://schemas.microsoft.com/office/drawing/2014/main" id="{C876B112-FA82-C13B-EBF1-8201C2326E0D}"/>
              </a:ext>
            </a:extLst>
          </p:cNvPr>
          <p:cNvSpPr/>
          <p:nvPr/>
        </p:nvSpPr>
        <p:spPr>
          <a:xfrm>
            <a:off x="9294934"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F: </a:t>
            </a:r>
            <a:r>
              <a:rPr lang="cs-CZ" sz="1400">
                <a:solidFill>
                  <a:schemeClr val="tx1"/>
                </a:solidFill>
              </a:rPr>
              <a:t>Viegli uzliesmojošs</a:t>
            </a:r>
          </a:p>
          <a:p>
            <a:pPr>
              <a:lnSpc>
                <a:spcPct val="100000"/>
              </a:lnSpc>
            </a:pPr>
            <a:r>
              <a:rPr lang="cs-CZ" sz="1400" b="1">
                <a:solidFill>
                  <a:schemeClr val="tx1"/>
                </a:solidFill>
              </a:rPr>
              <a:t>F+: </a:t>
            </a:r>
            <a:r>
              <a:rPr lang="cs-CZ" sz="1400">
                <a:solidFill>
                  <a:schemeClr val="tx1"/>
                </a:solidFill>
              </a:rPr>
              <a:t>Paši viegli uzliesmojošs</a:t>
            </a:r>
          </a:p>
        </p:txBody>
      </p:sp>
      <p:sp>
        <p:nvSpPr>
          <p:cNvPr id="27" name="Rectangle 26">
            <a:extLst>
              <a:ext uri="{FF2B5EF4-FFF2-40B4-BE49-F238E27FC236}">
                <a16:creationId xmlns:a16="http://schemas.microsoft.com/office/drawing/2014/main" id="{0A59B093-4210-0E52-BE13-67C0CC6D663C}"/>
              </a:ext>
            </a:extLst>
          </p:cNvPr>
          <p:cNvSpPr/>
          <p:nvPr/>
        </p:nvSpPr>
        <p:spPr>
          <a:xfrm>
            <a:off x="442913" y="4735974"/>
            <a:ext cx="902826" cy="902826"/>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8" name="Rectangle 27">
            <a:extLst>
              <a:ext uri="{FF2B5EF4-FFF2-40B4-BE49-F238E27FC236}">
                <a16:creationId xmlns:a16="http://schemas.microsoft.com/office/drawing/2014/main" id="{597AB2E4-38CA-419C-BBB3-C5ACDD34CAF9}"/>
              </a:ext>
            </a:extLst>
          </p:cNvPr>
          <p:cNvSpPr/>
          <p:nvPr/>
        </p:nvSpPr>
        <p:spPr>
          <a:xfrm>
            <a:off x="1519359" y="4735974"/>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C: </a:t>
            </a:r>
            <a:r>
              <a:rPr lang="cs-CZ" sz="1400">
                <a:solidFill>
                  <a:schemeClr val="tx1"/>
                </a:solidFill>
              </a:rPr>
              <a:t>Kodīgs</a:t>
            </a:r>
          </a:p>
        </p:txBody>
      </p:sp>
      <p:pic>
        <p:nvPicPr>
          <p:cNvPr id="42" name="Picture 2">
            <a:extLst>
              <a:ext uri="{FF2B5EF4-FFF2-40B4-BE49-F238E27FC236}">
                <a16:creationId xmlns:a16="http://schemas.microsoft.com/office/drawing/2014/main" id="{D16CBF6C-8240-AE7F-8950-6163DFF6589D}"/>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442451" y="261018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
            <a:extLst>
              <a:ext uri="{FF2B5EF4-FFF2-40B4-BE49-F238E27FC236}">
                <a16:creationId xmlns:a16="http://schemas.microsoft.com/office/drawing/2014/main" id="{CCA821A3-063B-8726-71E0-1E6C0AD51059}"/>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42451" y="3672615"/>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7BD0247F-C01C-196C-8725-44474971CE21}"/>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442913" y="4735512"/>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1D7EBDCC-9654-BA30-9483-1B2C7BE6549B}"/>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4330700"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5286EF20-098C-CC99-A248-DCF9062862DC}"/>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4330700"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05A6B42B-BCC5-DD58-8951-D02E750D4351}"/>
              </a:ext>
            </a:extLst>
          </p:cNvPr>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8218026"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DBAEAB79-8779-5D8A-777B-ECFBAEDA3699}"/>
              </a:ext>
            </a:extLst>
          </p:cNvPr>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8218026" y="3674203"/>
            <a:ext cx="903288" cy="901700"/>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a:extLst>
              <a:ext uri="{FF2B5EF4-FFF2-40B4-BE49-F238E27FC236}">
                <a16:creationId xmlns:a16="http://schemas.microsoft.com/office/drawing/2014/main" id="{2421CDFE-B6ED-17B5-7C15-67F7F2D6EAE0}"/>
              </a:ext>
            </a:extLst>
          </p:cNvPr>
          <p:cNvGrpSpPr/>
          <p:nvPr/>
        </p:nvGrpSpPr>
        <p:grpSpPr>
          <a:xfrm>
            <a:off x="8801454" y="159786"/>
            <a:ext cx="2947634" cy="217488"/>
            <a:chOff x="8559627" y="684914"/>
            <a:chExt cx="2947634" cy="217488"/>
          </a:xfrm>
        </p:grpSpPr>
        <p:sp>
          <p:nvSpPr>
            <p:cNvPr id="22" name="Rectangle 21">
              <a:extLst>
                <a:ext uri="{FF2B5EF4-FFF2-40B4-BE49-F238E27FC236}">
                  <a16:creationId xmlns:a16="http://schemas.microsoft.com/office/drawing/2014/main" id="{3F257894-021F-36AC-3945-87F78C68BEDC}"/>
                </a:ext>
              </a:extLst>
            </p:cNvPr>
            <p:cNvSpPr/>
            <p:nvPr/>
          </p:nvSpPr>
          <p:spPr>
            <a:xfrm>
              <a:off x="9285434" y="68491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5</a:t>
              </a:r>
              <a:r>
                <a:rPr kumimoji="0" lang="lv-LV" sz="800" b="1" i="0" u="none" strike="noStrike" kern="0" cap="none" spc="0" normalizeH="0" baseline="0" dirty="0">
                  <a:ln>
                    <a:noFill/>
                  </a:ln>
                  <a:effectLst/>
                  <a:uLnTx/>
                  <a:uFillTx/>
                  <a:ea typeface="Georgia"/>
                  <a:cs typeface="Georgia"/>
                  <a:sym typeface="Georgia"/>
                </a:rPr>
                <a:t>.</a:t>
              </a:r>
              <a:r>
                <a:rPr kumimoji="0" lang="en-US" sz="800" b="1" i="0" u="none" strike="noStrike" kern="0" cap="none" spc="0" normalizeH="0" baseline="0" dirty="0">
                  <a:ln>
                    <a:noFill/>
                  </a:ln>
                  <a:effectLst/>
                  <a:uLnTx/>
                  <a:uFillTx/>
                  <a:ea typeface="Georgia"/>
                  <a:cs typeface="Georgia"/>
                  <a:sym typeface="Georgia"/>
                </a:rPr>
                <a:t>4</a:t>
              </a:r>
              <a:endParaRPr kumimoji="0" lang="lv-LV" sz="800" b="1" i="0" u="none" strike="noStrike" kern="0" cap="none" spc="0" normalizeH="0" baseline="0" dirty="0">
                <a:ln>
                  <a:noFill/>
                </a:ln>
                <a:effectLst/>
                <a:uLnTx/>
                <a:uFillTx/>
                <a:ea typeface="Georgia"/>
                <a:cs typeface="Georgia"/>
                <a:sym typeface="Georgia"/>
              </a:endParaRPr>
            </a:p>
          </p:txBody>
        </p:sp>
        <p:sp>
          <p:nvSpPr>
            <p:cNvPr id="34" name="Rectangle 33">
              <a:extLst>
                <a:ext uri="{FF2B5EF4-FFF2-40B4-BE49-F238E27FC236}">
                  <a16:creationId xmlns:a16="http://schemas.microsoft.com/office/drawing/2014/main" id="{D7593932-1484-9369-136A-C197B708E732}"/>
                </a:ext>
              </a:extLst>
            </p:cNvPr>
            <p:cNvSpPr/>
            <p:nvPr/>
          </p:nvSpPr>
          <p:spPr>
            <a:xfrm>
              <a:off x="9527261" y="684914"/>
              <a:ext cx="198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err="1">
                  <a:ln>
                    <a:noFill/>
                  </a:ln>
                  <a:effectLst/>
                  <a:uLnTx/>
                  <a:uFillTx/>
                  <a:ea typeface="Georgia"/>
                  <a:cs typeface="Georgia"/>
                  <a:sym typeface="Georgia"/>
                </a:rPr>
                <a:t>Drošības</a:t>
              </a:r>
              <a:r>
                <a:rPr kumimoji="0" lang="en-US" sz="800" b="1" i="0" u="none" strike="noStrike" kern="0" cap="none" spc="0" normalizeH="0" baseline="0" dirty="0">
                  <a:ln>
                    <a:noFill/>
                  </a:ln>
                  <a:effectLst/>
                  <a:uLnTx/>
                  <a:uFillTx/>
                  <a:ea typeface="Georgia"/>
                  <a:cs typeface="Georgia"/>
                  <a:sym typeface="Georgia"/>
                </a:rPr>
                <a:t> </a:t>
              </a:r>
              <a:r>
                <a:rPr kumimoji="0" lang="en-US" sz="800" b="1" i="0" u="none" strike="noStrike" kern="0" cap="none" spc="0" normalizeH="0" baseline="0" dirty="0" err="1">
                  <a:ln>
                    <a:noFill/>
                  </a:ln>
                  <a:effectLst/>
                  <a:uLnTx/>
                  <a:uFillTx/>
                  <a:ea typeface="Georgia"/>
                  <a:cs typeface="Georgia"/>
                  <a:sym typeface="Georgia"/>
                </a:rPr>
                <a:t>pasākumi</a:t>
              </a:r>
              <a:endParaRPr kumimoji="0" lang="en-US" sz="800" b="1" i="0" u="none" strike="noStrike" kern="0" cap="none" spc="0" normalizeH="0" baseline="0" dirty="0">
                <a:ln>
                  <a:noFill/>
                </a:ln>
                <a:effectLst/>
                <a:uLnTx/>
                <a:uFillTx/>
                <a:ea typeface="Georgia"/>
                <a:cs typeface="Georgia"/>
                <a:sym typeface="Georgia"/>
              </a:endParaRPr>
            </a:p>
          </p:txBody>
        </p:sp>
        <p:sp>
          <p:nvSpPr>
            <p:cNvPr id="35" name="Rectangle 34">
              <a:extLst>
                <a:ext uri="{FF2B5EF4-FFF2-40B4-BE49-F238E27FC236}">
                  <a16:creationId xmlns:a16="http://schemas.microsoft.com/office/drawing/2014/main" id="{55149DAA-FAB3-ED23-08DF-4005F7AE5735}"/>
                </a:ext>
              </a:extLst>
            </p:cNvPr>
            <p:cNvSpPr/>
            <p:nvPr/>
          </p:nvSpPr>
          <p:spPr>
            <a:xfrm>
              <a:off x="9043607"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3</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36" name="Rectangle 35">
              <a:extLst>
                <a:ext uri="{FF2B5EF4-FFF2-40B4-BE49-F238E27FC236}">
                  <a16:creationId xmlns:a16="http://schemas.microsoft.com/office/drawing/2014/main" id="{BFEF8D1B-679B-66F3-FAF6-482D16BD6734}"/>
                </a:ext>
              </a:extLst>
            </p:cNvPr>
            <p:cNvSpPr/>
            <p:nvPr/>
          </p:nvSpPr>
          <p:spPr>
            <a:xfrm>
              <a:off x="8801780"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2</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37" name="Rectangle 36">
              <a:extLst>
                <a:ext uri="{FF2B5EF4-FFF2-40B4-BE49-F238E27FC236}">
                  <a16:creationId xmlns:a16="http://schemas.microsoft.com/office/drawing/2014/main" id="{A28C0AAE-BCE8-4541-DE19-F5982FA22233}"/>
                </a:ext>
              </a:extLst>
            </p:cNvPr>
            <p:cNvSpPr/>
            <p:nvPr/>
          </p:nvSpPr>
          <p:spPr>
            <a:xfrm>
              <a:off x="8559627"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6159757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think-cell data - do not delete" hidden="1">
            <a:extLst>
              <a:ext uri="{FF2B5EF4-FFF2-40B4-BE49-F238E27FC236}">
                <a16:creationId xmlns:a16="http://schemas.microsoft.com/office/drawing/2014/main" id="{989BCAD3-31EA-9234-9937-CCDF07D9D4AC}"/>
              </a:ext>
            </a:extLst>
          </p:cNvPr>
          <p:cNvGraphicFramePr>
            <a:graphicFrameLocks noChangeAspect="1"/>
          </p:cNvGraphicFramePr>
          <p:nvPr>
            <p:custDataLst>
              <p:tags r:id="rId1"/>
            </p:custDataLst>
            <p:extLst>
              <p:ext uri="{D42A27DB-BD31-4B8C-83A1-F6EECF244321}">
                <p14:modId xmlns:p14="http://schemas.microsoft.com/office/powerpoint/2010/main" val="1460325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9" name="think-cell data - do not delete" hidden="1">
                        <a:extLst>
                          <a:ext uri="{FF2B5EF4-FFF2-40B4-BE49-F238E27FC236}">
                            <a16:creationId xmlns:a16="http://schemas.microsoft.com/office/drawing/2014/main" id="{989BCAD3-31EA-9234-9937-CCDF07D9D4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0" name="Picture 14">
            <a:extLst>
              <a:ext uri="{FF2B5EF4-FFF2-40B4-BE49-F238E27FC236}">
                <a16:creationId xmlns:a16="http://schemas.microsoft.com/office/drawing/2014/main" id="{20FF5D6B-8429-26E6-1AC6-0C53FB749D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18026"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2">
            <a:extLst>
              <a:ext uri="{FF2B5EF4-FFF2-40B4-BE49-F238E27FC236}">
                <a16:creationId xmlns:a16="http://schemas.microsoft.com/office/drawing/2014/main" id="{7D4EA19A-E5E9-5060-9B67-CF5C7F97BFA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18026" y="261018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0">
            <a:extLst>
              <a:ext uri="{FF2B5EF4-FFF2-40B4-BE49-F238E27FC236}">
                <a16:creationId xmlns:a16="http://schemas.microsoft.com/office/drawing/2014/main" id="{504AE88C-01EE-B1C1-498B-F1DB1F439EA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30700"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a:extLst>
              <a:ext uri="{FF2B5EF4-FFF2-40B4-BE49-F238E27FC236}">
                <a16:creationId xmlns:a16="http://schemas.microsoft.com/office/drawing/2014/main" id="{E2432BB5-B2D6-A42F-BE91-B54EF6711FF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30700"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a:extLst>
              <a:ext uri="{FF2B5EF4-FFF2-40B4-BE49-F238E27FC236}">
                <a16:creationId xmlns:a16="http://schemas.microsoft.com/office/drawing/2014/main" id="{D46DB20E-3092-9884-1BE1-214FE7003CC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2913" y="4735512"/>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E69AB8D5-8D18-040D-756D-904501799EF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42913"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949AFA23-10A1-1D10-48D6-DC0FE702EBA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42913" y="2609718"/>
            <a:ext cx="903288" cy="90328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a:lstStyle/>
          <a:p>
            <a:r>
              <a:rPr lang="lv-LV" dirty="0"/>
              <a:t>Bīstamās vielas</a:t>
            </a:r>
            <a:br>
              <a:rPr lang="lv-LV"/>
            </a:br>
            <a:r>
              <a:rPr lang="lv-LV">
                <a:solidFill>
                  <a:srgbClr val="A8192D"/>
                </a:solidFill>
              </a:rPr>
              <a:t>Bīstamības simboli (</a:t>
            </a:r>
            <a:r>
              <a:rPr lang="en-US">
                <a:solidFill>
                  <a:srgbClr val="A8192D"/>
                </a:solidFill>
              </a:rPr>
              <a:t>2</a:t>
            </a:r>
            <a:r>
              <a:rPr lang="lv-LV">
                <a:solidFill>
                  <a:srgbClr val="A8192D"/>
                </a:solidFill>
              </a:rPr>
              <a:t>/</a:t>
            </a:r>
            <a:r>
              <a:rPr lang="en-US">
                <a:solidFill>
                  <a:srgbClr val="A8192D"/>
                </a:solidFill>
              </a:rPr>
              <a:t>5</a:t>
            </a:r>
            <a:r>
              <a:rPr lang="lv-LV">
                <a:solidFill>
                  <a:srgbClr val="A8192D"/>
                </a:solidFill>
              </a:rPr>
              <a:t>)</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a:lstStyle/>
          <a:p>
            <a:fld id="{7870704B-CE94-48CC-AF30-84932A1262A7}" type="slidenum">
              <a:rPr lang="en-GB" smtClean="0"/>
              <a:pPr/>
              <a:t>28</a:t>
            </a:fld>
            <a:endParaRPr lang="en-GB"/>
          </a:p>
        </p:txBody>
      </p:sp>
      <p:sp>
        <p:nvSpPr>
          <p:cNvPr id="3" name="Rectangle 2">
            <a:extLst>
              <a:ext uri="{FF2B5EF4-FFF2-40B4-BE49-F238E27FC236}">
                <a16:creationId xmlns:a16="http://schemas.microsoft.com/office/drawing/2014/main" id="{E0279B2C-74FF-E6ED-4DD9-1A24B8ED5A06}"/>
              </a:ext>
            </a:extLst>
          </p:cNvPr>
          <p:cNvSpPr/>
          <p:nvPr/>
        </p:nvSpPr>
        <p:spPr>
          <a:xfrm>
            <a:off x="442913" y="1815438"/>
            <a:ext cx="10659287"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GHS (vispārēji saskaņotās sistēmas) piktogrammas un bīstamības klases</a:t>
            </a:r>
          </a:p>
        </p:txBody>
      </p:sp>
      <p:sp>
        <p:nvSpPr>
          <p:cNvPr id="6" name="Rectangle 5">
            <a:extLst>
              <a:ext uri="{FF2B5EF4-FFF2-40B4-BE49-F238E27FC236}">
                <a16:creationId xmlns:a16="http://schemas.microsoft.com/office/drawing/2014/main" id="{0C53E03C-DA29-42BE-4F26-04730904B12A}"/>
              </a:ext>
            </a:extLst>
          </p:cNvPr>
          <p:cNvSpPr/>
          <p:nvPr/>
        </p:nvSpPr>
        <p:spPr>
          <a:xfrm>
            <a:off x="11173088" y="1815438"/>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Rectangle 6">
            <a:extLst>
              <a:ext uri="{FF2B5EF4-FFF2-40B4-BE49-F238E27FC236}">
                <a16:creationId xmlns:a16="http://schemas.microsoft.com/office/drawing/2014/main" id="{40162B2D-745F-C3D4-1610-2ABF56FA413D}"/>
              </a:ext>
            </a:extLst>
          </p:cNvPr>
          <p:cNvSpPr/>
          <p:nvPr/>
        </p:nvSpPr>
        <p:spPr>
          <a:xfrm>
            <a:off x="11102200" y="1815438"/>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9" name="Google Shape;974;p84">
            <a:extLst>
              <a:ext uri="{FF2B5EF4-FFF2-40B4-BE49-F238E27FC236}">
                <a16:creationId xmlns:a16="http://schemas.microsoft.com/office/drawing/2014/main" id="{007E4D49-1D52-ECA8-9CF9-1EFAE236321C}"/>
              </a:ext>
            </a:extLst>
          </p:cNvPr>
          <p:cNvGrpSpPr/>
          <p:nvPr/>
        </p:nvGrpSpPr>
        <p:grpSpPr>
          <a:xfrm>
            <a:off x="11317088" y="1959438"/>
            <a:ext cx="288000" cy="288000"/>
            <a:chOff x="7458182" y="1867103"/>
            <a:chExt cx="457200" cy="457200"/>
          </a:xfrm>
          <a:solidFill>
            <a:schemeClr val="bg1"/>
          </a:solidFill>
        </p:grpSpPr>
        <p:sp>
          <p:nvSpPr>
            <p:cNvPr id="10" name="Google Shape;975;p84">
              <a:extLst>
                <a:ext uri="{FF2B5EF4-FFF2-40B4-BE49-F238E27FC236}">
                  <a16:creationId xmlns:a16="http://schemas.microsoft.com/office/drawing/2014/main" id="{02AD5569-6EC9-C953-730A-815CF881B637}"/>
                </a:ext>
              </a:extLst>
            </p:cNvPr>
            <p:cNvSpPr/>
            <p:nvPr/>
          </p:nvSpPr>
          <p:spPr>
            <a:xfrm>
              <a:off x="7458182" y="1867103"/>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sp>
          <p:nvSpPr>
            <p:cNvPr id="11" name="Google Shape;976;p84">
              <a:extLst>
                <a:ext uri="{FF2B5EF4-FFF2-40B4-BE49-F238E27FC236}">
                  <a16:creationId xmlns:a16="http://schemas.microsoft.com/office/drawing/2014/main" id="{7E8DF251-C4F4-B4E0-35D7-B30A10A49E99}"/>
                </a:ext>
              </a:extLst>
            </p:cNvPr>
            <p:cNvSpPr/>
            <p:nvPr/>
          </p:nvSpPr>
          <p:spPr>
            <a:xfrm>
              <a:off x="7563782" y="1923395"/>
              <a:ext cx="245618" cy="342773"/>
            </a:xfrm>
            <a:custGeom>
              <a:avLst/>
              <a:gdLst/>
              <a:ahLst/>
              <a:cxnLst/>
              <a:rect l="l" t="t" r="r" b="b"/>
              <a:pathLst>
                <a:path w="245618" h="342773" extrusionOk="0">
                  <a:moveTo>
                    <a:pt x="245618" y="44577"/>
                  </a:moveTo>
                  <a:lnTo>
                    <a:pt x="245618" y="25051"/>
                  </a:lnTo>
                  <a:lnTo>
                    <a:pt x="203168" y="25051"/>
                  </a:lnTo>
                  <a:lnTo>
                    <a:pt x="203168" y="0"/>
                  </a:lnTo>
                  <a:lnTo>
                    <a:pt x="147574" y="0"/>
                  </a:lnTo>
                  <a:lnTo>
                    <a:pt x="147574" y="25051"/>
                  </a:lnTo>
                  <a:lnTo>
                    <a:pt x="318" y="25051"/>
                  </a:lnTo>
                  <a:lnTo>
                    <a:pt x="318" y="44577"/>
                  </a:lnTo>
                  <a:lnTo>
                    <a:pt x="6445" y="44577"/>
                  </a:lnTo>
                  <a:lnTo>
                    <a:pt x="7525" y="117888"/>
                  </a:lnTo>
                  <a:lnTo>
                    <a:pt x="0" y="117888"/>
                  </a:lnTo>
                  <a:lnTo>
                    <a:pt x="0" y="137382"/>
                  </a:lnTo>
                  <a:lnTo>
                    <a:pt x="7811" y="137382"/>
                  </a:lnTo>
                  <a:lnTo>
                    <a:pt x="8985" y="225298"/>
                  </a:lnTo>
                  <a:lnTo>
                    <a:pt x="0" y="225298"/>
                  </a:lnTo>
                  <a:lnTo>
                    <a:pt x="0" y="244888"/>
                  </a:lnTo>
                  <a:lnTo>
                    <a:pt x="9525" y="244888"/>
                  </a:lnTo>
                  <a:lnTo>
                    <a:pt x="10668" y="323183"/>
                  </a:lnTo>
                  <a:lnTo>
                    <a:pt x="0" y="323183"/>
                  </a:lnTo>
                  <a:lnTo>
                    <a:pt x="0" y="342773"/>
                  </a:lnTo>
                  <a:lnTo>
                    <a:pt x="245491" y="342773"/>
                  </a:lnTo>
                  <a:lnTo>
                    <a:pt x="245491" y="323183"/>
                  </a:lnTo>
                  <a:lnTo>
                    <a:pt x="238347" y="323183"/>
                  </a:lnTo>
                  <a:lnTo>
                    <a:pt x="238665" y="244888"/>
                  </a:lnTo>
                  <a:lnTo>
                    <a:pt x="245491" y="244888"/>
                  </a:lnTo>
                  <a:lnTo>
                    <a:pt x="245491" y="225298"/>
                  </a:lnTo>
                  <a:lnTo>
                    <a:pt x="238760" y="225298"/>
                  </a:lnTo>
                  <a:lnTo>
                    <a:pt x="239141" y="137382"/>
                  </a:lnTo>
                  <a:lnTo>
                    <a:pt x="245491" y="137382"/>
                  </a:lnTo>
                  <a:lnTo>
                    <a:pt x="245491" y="117888"/>
                  </a:lnTo>
                  <a:lnTo>
                    <a:pt x="239141" y="117888"/>
                  </a:lnTo>
                  <a:lnTo>
                    <a:pt x="239459" y="44577"/>
                  </a:lnTo>
                  <a:close/>
                  <a:moveTo>
                    <a:pt x="161195" y="13716"/>
                  </a:moveTo>
                  <a:lnTo>
                    <a:pt x="189960" y="13716"/>
                  </a:lnTo>
                  <a:lnTo>
                    <a:pt x="189960" y="25019"/>
                  </a:lnTo>
                  <a:lnTo>
                    <a:pt x="161195" y="25019"/>
                  </a:lnTo>
                  <a:close/>
                  <a:moveTo>
                    <a:pt x="26035" y="44577"/>
                  </a:moveTo>
                  <a:lnTo>
                    <a:pt x="219901" y="44577"/>
                  </a:lnTo>
                  <a:lnTo>
                    <a:pt x="219901" y="117888"/>
                  </a:lnTo>
                  <a:lnTo>
                    <a:pt x="26765" y="117888"/>
                  </a:lnTo>
                  <a:close/>
                  <a:moveTo>
                    <a:pt x="26956" y="137382"/>
                  </a:moveTo>
                  <a:lnTo>
                    <a:pt x="220091" y="137382"/>
                  </a:lnTo>
                  <a:lnTo>
                    <a:pt x="220250" y="225235"/>
                  </a:lnTo>
                  <a:lnTo>
                    <a:pt x="27781" y="225235"/>
                  </a:lnTo>
                  <a:close/>
                  <a:moveTo>
                    <a:pt x="28734" y="322707"/>
                  </a:moveTo>
                  <a:lnTo>
                    <a:pt x="28035" y="244888"/>
                  </a:lnTo>
                  <a:lnTo>
                    <a:pt x="220345" y="244888"/>
                  </a:lnTo>
                  <a:lnTo>
                    <a:pt x="220345" y="322771"/>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grpSp>
      <p:sp>
        <p:nvSpPr>
          <p:cNvPr id="14" name="Rectangle 13">
            <a:extLst>
              <a:ext uri="{FF2B5EF4-FFF2-40B4-BE49-F238E27FC236}">
                <a16:creationId xmlns:a16="http://schemas.microsoft.com/office/drawing/2014/main" id="{5E2F8AFF-8516-1C92-C7B7-400746F821E7}"/>
              </a:ext>
            </a:extLst>
          </p:cNvPr>
          <p:cNvSpPr/>
          <p:nvPr/>
        </p:nvSpPr>
        <p:spPr>
          <a:xfrm>
            <a:off x="1519359"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Sprāgstoša bumba</a:t>
            </a:r>
          </a:p>
        </p:txBody>
      </p:sp>
      <p:sp>
        <p:nvSpPr>
          <p:cNvPr id="16" name="Rectangle 15">
            <a:extLst>
              <a:ext uri="{FF2B5EF4-FFF2-40B4-BE49-F238E27FC236}">
                <a16:creationId xmlns:a16="http://schemas.microsoft.com/office/drawing/2014/main" id="{20E7B685-6395-D9E9-05F4-223BBFFAAF4A}"/>
              </a:ext>
            </a:extLst>
          </p:cNvPr>
          <p:cNvSpPr/>
          <p:nvPr/>
        </p:nvSpPr>
        <p:spPr>
          <a:xfrm>
            <a:off x="5407146"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Gāzes balons</a:t>
            </a:r>
            <a:endParaRPr lang="cs-CZ" sz="1400">
              <a:solidFill>
                <a:schemeClr val="tx1"/>
              </a:solidFill>
            </a:endParaRPr>
          </a:p>
        </p:txBody>
      </p:sp>
      <p:sp>
        <p:nvSpPr>
          <p:cNvPr id="18" name="Rectangle 17">
            <a:extLst>
              <a:ext uri="{FF2B5EF4-FFF2-40B4-BE49-F238E27FC236}">
                <a16:creationId xmlns:a16="http://schemas.microsoft.com/office/drawing/2014/main" id="{8BE823A5-7D87-F038-1369-6C300C9766E4}"/>
              </a:ext>
            </a:extLst>
          </p:cNvPr>
          <p:cNvSpPr/>
          <p:nvPr/>
        </p:nvSpPr>
        <p:spPr>
          <a:xfrm>
            <a:off x="9294934"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Galvaskauss un sakrustoti kauli</a:t>
            </a:r>
            <a:endParaRPr lang="cs-CZ" sz="1400">
              <a:solidFill>
                <a:schemeClr val="tx1"/>
              </a:solidFill>
            </a:endParaRPr>
          </a:p>
        </p:txBody>
      </p:sp>
      <p:sp>
        <p:nvSpPr>
          <p:cNvPr id="20" name="Rectangle 19">
            <a:extLst>
              <a:ext uri="{FF2B5EF4-FFF2-40B4-BE49-F238E27FC236}">
                <a16:creationId xmlns:a16="http://schemas.microsoft.com/office/drawing/2014/main" id="{9D2FB976-57F3-0D62-8878-EE099FF840F9}"/>
              </a:ext>
            </a:extLst>
          </p:cNvPr>
          <p:cNvSpPr/>
          <p:nvPr/>
        </p:nvSpPr>
        <p:spPr>
          <a:xfrm>
            <a:off x="1519359"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sz="1400" b="1">
                <a:solidFill>
                  <a:schemeClr val="tx1"/>
                </a:solidFill>
              </a:rPr>
              <a:t>L</a:t>
            </a:r>
            <a:r>
              <a:rPr lang="fi-FI" sz="1400" b="1">
                <a:solidFill>
                  <a:schemeClr val="tx1"/>
                </a:solidFill>
              </a:rPr>
              <a:t>iesmas</a:t>
            </a:r>
            <a:endParaRPr lang="cs-CZ" sz="1400">
              <a:solidFill>
                <a:schemeClr val="tx1"/>
              </a:solidFill>
            </a:endParaRPr>
          </a:p>
        </p:txBody>
      </p:sp>
      <p:sp>
        <p:nvSpPr>
          <p:cNvPr id="24" name="Rectangle 23">
            <a:extLst>
              <a:ext uri="{FF2B5EF4-FFF2-40B4-BE49-F238E27FC236}">
                <a16:creationId xmlns:a16="http://schemas.microsoft.com/office/drawing/2014/main" id="{66F3CAC4-6726-C4A8-8A1D-F9C3A9D11719}"/>
              </a:ext>
            </a:extLst>
          </p:cNvPr>
          <p:cNvSpPr/>
          <p:nvPr/>
        </p:nvSpPr>
        <p:spPr>
          <a:xfrm>
            <a:off x="5407146"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Kodīgums</a:t>
            </a:r>
            <a:endParaRPr lang="cs-CZ" sz="1400">
              <a:solidFill>
                <a:schemeClr val="tx1"/>
              </a:solidFill>
            </a:endParaRPr>
          </a:p>
        </p:txBody>
      </p:sp>
      <p:sp>
        <p:nvSpPr>
          <p:cNvPr id="26" name="Rectangle 25">
            <a:extLst>
              <a:ext uri="{FF2B5EF4-FFF2-40B4-BE49-F238E27FC236}">
                <a16:creationId xmlns:a16="http://schemas.microsoft.com/office/drawing/2014/main" id="{C876B112-FA82-C13B-EBF1-8201C2326E0D}"/>
              </a:ext>
            </a:extLst>
          </p:cNvPr>
          <p:cNvSpPr/>
          <p:nvPr/>
        </p:nvSpPr>
        <p:spPr>
          <a:xfrm>
            <a:off x="9294934"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Izsaukuma zīme</a:t>
            </a:r>
            <a:endParaRPr lang="cs-CZ" sz="1400">
              <a:solidFill>
                <a:schemeClr val="tx1"/>
              </a:solidFill>
            </a:endParaRPr>
          </a:p>
        </p:txBody>
      </p:sp>
      <p:sp>
        <p:nvSpPr>
          <p:cNvPr id="28" name="Rectangle 27">
            <a:extLst>
              <a:ext uri="{FF2B5EF4-FFF2-40B4-BE49-F238E27FC236}">
                <a16:creationId xmlns:a16="http://schemas.microsoft.com/office/drawing/2014/main" id="{597AB2E4-38CA-419C-BBB3-C5ACDD34CAF9}"/>
              </a:ext>
            </a:extLst>
          </p:cNvPr>
          <p:cNvSpPr/>
          <p:nvPr/>
        </p:nvSpPr>
        <p:spPr>
          <a:xfrm>
            <a:off x="1519359" y="4735974"/>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sz="1400" b="1">
                <a:solidFill>
                  <a:schemeClr val="tx1"/>
                </a:solidFill>
              </a:rPr>
              <a:t>Liesmas virs apļa</a:t>
            </a:r>
            <a:endParaRPr lang="cs-CZ" sz="1400">
              <a:solidFill>
                <a:schemeClr val="tx1"/>
              </a:solidFill>
            </a:endParaRPr>
          </a:p>
        </p:txBody>
      </p:sp>
      <p:pic>
        <p:nvPicPr>
          <p:cNvPr id="32" name="Picture 6">
            <a:extLst>
              <a:ext uri="{FF2B5EF4-FFF2-40B4-BE49-F238E27FC236}">
                <a16:creationId xmlns:a16="http://schemas.microsoft.com/office/drawing/2014/main" id="{2DBE8060-C9B7-5D25-2D25-26D4E793150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332288" y="4735050"/>
            <a:ext cx="903288" cy="903288"/>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F5EA1389-EB59-0246-F45B-C9F03B6773F8}"/>
              </a:ext>
            </a:extLst>
          </p:cNvPr>
          <p:cNvSpPr/>
          <p:nvPr/>
        </p:nvSpPr>
        <p:spPr>
          <a:xfrm>
            <a:off x="5408734" y="4735512"/>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sz="1400" b="1">
                <a:solidFill>
                  <a:schemeClr val="tx1"/>
                </a:solidFill>
              </a:rPr>
              <a:t>Bīstamība veselībai</a:t>
            </a:r>
            <a:endParaRPr lang="cs-CZ" sz="1400">
              <a:solidFill>
                <a:schemeClr val="tx1"/>
              </a:solidFill>
            </a:endParaRPr>
          </a:p>
        </p:txBody>
      </p:sp>
      <p:pic>
        <p:nvPicPr>
          <p:cNvPr id="34" name="Picture 6">
            <a:extLst>
              <a:ext uri="{FF2B5EF4-FFF2-40B4-BE49-F238E27FC236}">
                <a16:creationId xmlns:a16="http://schemas.microsoft.com/office/drawing/2014/main" id="{90B3F134-0322-1582-BF3E-F9EE799F546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221663" y="4734588"/>
            <a:ext cx="903288" cy="903288"/>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8B4177CB-AEA6-8A8F-2AA0-C72692F574BF}"/>
              </a:ext>
            </a:extLst>
          </p:cNvPr>
          <p:cNvSpPr/>
          <p:nvPr/>
        </p:nvSpPr>
        <p:spPr>
          <a:xfrm>
            <a:off x="9298109" y="473505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sz="1400" b="1">
                <a:solidFill>
                  <a:schemeClr val="tx1"/>
                </a:solidFill>
              </a:rPr>
              <a:t>Vide</a:t>
            </a:r>
            <a:endParaRPr lang="cs-CZ" sz="1400">
              <a:solidFill>
                <a:schemeClr val="tx1"/>
              </a:solidFill>
            </a:endParaRPr>
          </a:p>
        </p:txBody>
      </p:sp>
      <p:pic>
        <p:nvPicPr>
          <p:cNvPr id="1040" name="Picture 16">
            <a:extLst>
              <a:ext uri="{FF2B5EF4-FFF2-40B4-BE49-F238E27FC236}">
                <a16:creationId xmlns:a16="http://schemas.microsoft.com/office/drawing/2014/main" id="{33FF55A4-2D7C-5F8E-B46B-6D6400AE2FF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332288" y="473505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a:extLst>
              <a:ext uri="{FF2B5EF4-FFF2-40B4-BE49-F238E27FC236}">
                <a16:creationId xmlns:a16="http://schemas.microsoft.com/office/drawing/2014/main" id="{D436AD83-7DBC-7C13-BDB3-B8704722EE7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221663" y="4734588"/>
            <a:ext cx="903288" cy="903288"/>
          </a:xfrm>
          <a:prstGeom prst="rect">
            <a:avLst/>
          </a:prstGeom>
          <a:noFill/>
          <a:extLst>
            <a:ext uri="{909E8E84-426E-40DD-AFC4-6F175D3DCCD1}">
              <a14:hiddenFill xmlns:a14="http://schemas.microsoft.com/office/drawing/2010/main">
                <a:solidFill>
                  <a:srgbClr val="FFFFFF"/>
                </a:solidFill>
              </a14:hiddenFill>
            </a:ext>
          </a:extLst>
        </p:spPr>
      </p:pic>
      <p:grpSp>
        <p:nvGrpSpPr>
          <p:cNvPr id="40" name="Group 39">
            <a:extLst>
              <a:ext uri="{FF2B5EF4-FFF2-40B4-BE49-F238E27FC236}">
                <a16:creationId xmlns:a16="http://schemas.microsoft.com/office/drawing/2014/main" id="{22DBF974-B687-4E5C-E911-274BA2530965}"/>
              </a:ext>
            </a:extLst>
          </p:cNvPr>
          <p:cNvGrpSpPr/>
          <p:nvPr/>
        </p:nvGrpSpPr>
        <p:grpSpPr>
          <a:xfrm>
            <a:off x="8801454" y="159786"/>
            <a:ext cx="2947634" cy="217488"/>
            <a:chOff x="8559627" y="684914"/>
            <a:chExt cx="2947634" cy="217488"/>
          </a:xfrm>
        </p:grpSpPr>
        <p:sp>
          <p:nvSpPr>
            <p:cNvPr id="41" name="Rectangle 40">
              <a:extLst>
                <a:ext uri="{FF2B5EF4-FFF2-40B4-BE49-F238E27FC236}">
                  <a16:creationId xmlns:a16="http://schemas.microsoft.com/office/drawing/2014/main" id="{B155342B-BEF9-9D69-4D4F-6CA158B2C166}"/>
                </a:ext>
              </a:extLst>
            </p:cNvPr>
            <p:cNvSpPr/>
            <p:nvPr/>
          </p:nvSpPr>
          <p:spPr>
            <a:xfrm>
              <a:off x="9285434" y="68491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5</a:t>
              </a:r>
              <a:r>
                <a:rPr kumimoji="0" lang="lv-LV" sz="800" b="1" i="0" u="none" strike="noStrike" kern="0" cap="none" spc="0" normalizeH="0" baseline="0" dirty="0">
                  <a:ln>
                    <a:noFill/>
                  </a:ln>
                  <a:effectLst/>
                  <a:uLnTx/>
                  <a:uFillTx/>
                  <a:ea typeface="Georgia"/>
                  <a:cs typeface="Georgia"/>
                  <a:sym typeface="Georgia"/>
                </a:rPr>
                <a:t>.</a:t>
              </a:r>
              <a:r>
                <a:rPr kumimoji="0" lang="en-US" sz="800" b="1" i="0" u="none" strike="noStrike" kern="0" cap="none" spc="0" normalizeH="0" baseline="0" dirty="0">
                  <a:ln>
                    <a:noFill/>
                  </a:ln>
                  <a:effectLst/>
                  <a:uLnTx/>
                  <a:uFillTx/>
                  <a:ea typeface="Georgia"/>
                  <a:cs typeface="Georgia"/>
                  <a:sym typeface="Georgia"/>
                </a:rPr>
                <a:t>4</a:t>
              </a:r>
              <a:endParaRPr kumimoji="0" lang="lv-LV" sz="800" b="1" i="0" u="none" strike="noStrike" kern="0" cap="none" spc="0" normalizeH="0" baseline="0" dirty="0">
                <a:ln>
                  <a:noFill/>
                </a:ln>
                <a:effectLst/>
                <a:uLnTx/>
                <a:uFillTx/>
                <a:ea typeface="Georgia"/>
                <a:cs typeface="Georgia"/>
                <a:sym typeface="Georgia"/>
              </a:endParaRPr>
            </a:p>
          </p:txBody>
        </p:sp>
        <p:sp>
          <p:nvSpPr>
            <p:cNvPr id="42" name="Rectangle 41">
              <a:extLst>
                <a:ext uri="{FF2B5EF4-FFF2-40B4-BE49-F238E27FC236}">
                  <a16:creationId xmlns:a16="http://schemas.microsoft.com/office/drawing/2014/main" id="{DCE908C9-364C-0398-E4F0-5072C025720E}"/>
                </a:ext>
              </a:extLst>
            </p:cNvPr>
            <p:cNvSpPr/>
            <p:nvPr/>
          </p:nvSpPr>
          <p:spPr>
            <a:xfrm>
              <a:off x="9527261" y="684914"/>
              <a:ext cx="198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err="1">
                  <a:ln>
                    <a:noFill/>
                  </a:ln>
                  <a:effectLst/>
                  <a:uLnTx/>
                  <a:uFillTx/>
                  <a:ea typeface="Georgia"/>
                  <a:cs typeface="Georgia"/>
                  <a:sym typeface="Georgia"/>
                </a:rPr>
                <a:t>Drošības</a:t>
              </a:r>
              <a:r>
                <a:rPr kumimoji="0" lang="en-US" sz="800" b="1" i="0" u="none" strike="noStrike" kern="0" cap="none" spc="0" normalizeH="0" baseline="0" dirty="0">
                  <a:ln>
                    <a:noFill/>
                  </a:ln>
                  <a:effectLst/>
                  <a:uLnTx/>
                  <a:uFillTx/>
                  <a:ea typeface="Georgia"/>
                  <a:cs typeface="Georgia"/>
                  <a:sym typeface="Georgia"/>
                </a:rPr>
                <a:t> </a:t>
              </a:r>
              <a:r>
                <a:rPr kumimoji="0" lang="en-US" sz="800" b="1" i="0" u="none" strike="noStrike" kern="0" cap="none" spc="0" normalizeH="0" baseline="0" dirty="0" err="1">
                  <a:ln>
                    <a:noFill/>
                  </a:ln>
                  <a:effectLst/>
                  <a:uLnTx/>
                  <a:uFillTx/>
                  <a:ea typeface="Georgia"/>
                  <a:cs typeface="Georgia"/>
                  <a:sym typeface="Georgia"/>
                </a:rPr>
                <a:t>pasākumi</a:t>
              </a:r>
              <a:endParaRPr kumimoji="0" lang="en-US" sz="800" b="1" i="0" u="none" strike="noStrike" kern="0" cap="none" spc="0" normalizeH="0" baseline="0" dirty="0">
                <a:ln>
                  <a:noFill/>
                </a:ln>
                <a:effectLst/>
                <a:uLnTx/>
                <a:uFillTx/>
                <a:ea typeface="Georgia"/>
                <a:cs typeface="Georgia"/>
                <a:sym typeface="Georgia"/>
              </a:endParaRPr>
            </a:p>
          </p:txBody>
        </p:sp>
        <p:sp>
          <p:nvSpPr>
            <p:cNvPr id="43" name="Rectangle 42">
              <a:extLst>
                <a:ext uri="{FF2B5EF4-FFF2-40B4-BE49-F238E27FC236}">
                  <a16:creationId xmlns:a16="http://schemas.microsoft.com/office/drawing/2014/main" id="{D4F393A6-5243-ED88-0C6B-872306B039BD}"/>
                </a:ext>
              </a:extLst>
            </p:cNvPr>
            <p:cNvSpPr/>
            <p:nvPr/>
          </p:nvSpPr>
          <p:spPr>
            <a:xfrm>
              <a:off x="9043607"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3</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44" name="Rectangle 43">
              <a:extLst>
                <a:ext uri="{FF2B5EF4-FFF2-40B4-BE49-F238E27FC236}">
                  <a16:creationId xmlns:a16="http://schemas.microsoft.com/office/drawing/2014/main" id="{FAB6C493-CB38-2B21-E2A6-E605AE9AB6F5}"/>
                </a:ext>
              </a:extLst>
            </p:cNvPr>
            <p:cNvSpPr/>
            <p:nvPr/>
          </p:nvSpPr>
          <p:spPr>
            <a:xfrm>
              <a:off x="8801780"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2</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45" name="Rectangle 44">
              <a:extLst>
                <a:ext uri="{FF2B5EF4-FFF2-40B4-BE49-F238E27FC236}">
                  <a16:creationId xmlns:a16="http://schemas.microsoft.com/office/drawing/2014/main" id="{26803A79-2762-CE2B-D0B3-FAFB278D0319}"/>
                </a:ext>
              </a:extLst>
            </p:cNvPr>
            <p:cNvSpPr/>
            <p:nvPr/>
          </p:nvSpPr>
          <p:spPr>
            <a:xfrm>
              <a:off x="8559627"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3958781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2D2BAA4F-C34B-694D-0666-D33148205A8B}"/>
              </a:ext>
            </a:extLst>
          </p:cNvPr>
          <p:cNvGraphicFramePr>
            <a:graphicFrameLocks noChangeAspect="1"/>
          </p:cNvGraphicFramePr>
          <p:nvPr>
            <p:custDataLst>
              <p:tags r:id="rId1"/>
            </p:custDataLst>
            <p:extLst>
              <p:ext uri="{D42A27DB-BD31-4B8C-83A1-F6EECF244321}">
                <p14:modId xmlns:p14="http://schemas.microsoft.com/office/powerpoint/2010/main" val="2080792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6" name="think-cell data - do not delete" hidden="1">
                        <a:extLst>
                          <a:ext uri="{FF2B5EF4-FFF2-40B4-BE49-F238E27FC236}">
                            <a16:creationId xmlns:a16="http://schemas.microsoft.com/office/drawing/2014/main" id="{2D2BAA4F-C34B-694D-0666-D33148205A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8">
            <a:extLst>
              <a:ext uri="{FF2B5EF4-FFF2-40B4-BE49-F238E27FC236}">
                <a16:creationId xmlns:a16="http://schemas.microsoft.com/office/drawing/2014/main" id="{E2432BB5-B2D6-A42F-BE91-B54EF6711FF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30700"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a:extLst>
              <a:ext uri="{FF2B5EF4-FFF2-40B4-BE49-F238E27FC236}">
                <a16:creationId xmlns:a16="http://schemas.microsoft.com/office/drawing/2014/main" id="{D46DB20E-3092-9884-1BE1-214FE7003CC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2913" y="4735512"/>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E69AB8D5-8D18-040D-756D-904501799EF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2913"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949AFA23-10A1-1D10-48D6-DC0FE702EBA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2913" y="2609718"/>
            <a:ext cx="903288" cy="90328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a:lstStyle/>
          <a:p>
            <a:r>
              <a:rPr lang="lv-LV" dirty="0"/>
              <a:t>Bīstamās vielas</a:t>
            </a:r>
            <a:br>
              <a:rPr lang="lv-LV"/>
            </a:br>
            <a:r>
              <a:rPr lang="lv-LV">
                <a:solidFill>
                  <a:srgbClr val="A8192D"/>
                </a:solidFill>
              </a:rPr>
              <a:t>Bīstamības simboli (</a:t>
            </a:r>
            <a:r>
              <a:rPr lang="en-US">
                <a:solidFill>
                  <a:srgbClr val="A8192D"/>
                </a:solidFill>
              </a:rPr>
              <a:t>3</a:t>
            </a:r>
            <a:r>
              <a:rPr lang="lv-LV">
                <a:solidFill>
                  <a:srgbClr val="A8192D"/>
                </a:solidFill>
              </a:rPr>
              <a:t>/</a:t>
            </a:r>
            <a:r>
              <a:rPr lang="en-US">
                <a:solidFill>
                  <a:srgbClr val="A8192D"/>
                </a:solidFill>
              </a:rPr>
              <a:t>5</a:t>
            </a:r>
            <a:r>
              <a:rPr lang="lv-LV">
                <a:solidFill>
                  <a:srgbClr val="A8192D"/>
                </a:solidFill>
              </a:rPr>
              <a:t>)</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a:lstStyle/>
          <a:p>
            <a:fld id="{7870704B-CE94-48CC-AF30-84932A1262A7}" type="slidenum">
              <a:rPr lang="en-GB" smtClean="0"/>
              <a:pPr/>
              <a:t>29</a:t>
            </a:fld>
            <a:endParaRPr lang="en-GB"/>
          </a:p>
        </p:txBody>
      </p:sp>
      <p:sp>
        <p:nvSpPr>
          <p:cNvPr id="3" name="Rectangle 2">
            <a:extLst>
              <a:ext uri="{FF2B5EF4-FFF2-40B4-BE49-F238E27FC236}">
                <a16:creationId xmlns:a16="http://schemas.microsoft.com/office/drawing/2014/main" id="{E0279B2C-74FF-E6ED-4DD9-1A24B8ED5A06}"/>
              </a:ext>
            </a:extLst>
          </p:cNvPr>
          <p:cNvSpPr/>
          <p:nvPr/>
        </p:nvSpPr>
        <p:spPr>
          <a:xfrm>
            <a:off x="442913" y="1815438"/>
            <a:ext cx="10659287"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ADR pārvadājumu piktogrammas un bīstamības klase</a:t>
            </a:r>
            <a:r>
              <a:rPr lang="en-US" sz="1600" b="1"/>
              <a:t> </a:t>
            </a:r>
            <a:r>
              <a:rPr lang="lv-LV" sz="1600" b="1"/>
              <a:t>(</a:t>
            </a:r>
            <a:r>
              <a:rPr lang="en-US" sz="1600" b="1"/>
              <a:t>1/3</a:t>
            </a:r>
            <a:r>
              <a:rPr lang="lv-LV" sz="1600" b="1"/>
              <a:t>)</a:t>
            </a:r>
          </a:p>
        </p:txBody>
      </p:sp>
      <p:sp>
        <p:nvSpPr>
          <p:cNvPr id="6" name="Rectangle 5">
            <a:extLst>
              <a:ext uri="{FF2B5EF4-FFF2-40B4-BE49-F238E27FC236}">
                <a16:creationId xmlns:a16="http://schemas.microsoft.com/office/drawing/2014/main" id="{0C53E03C-DA29-42BE-4F26-04730904B12A}"/>
              </a:ext>
            </a:extLst>
          </p:cNvPr>
          <p:cNvSpPr/>
          <p:nvPr/>
        </p:nvSpPr>
        <p:spPr>
          <a:xfrm>
            <a:off x="11173088" y="1815438"/>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Rectangle 6">
            <a:extLst>
              <a:ext uri="{FF2B5EF4-FFF2-40B4-BE49-F238E27FC236}">
                <a16:creationId xmlns:a16="http://schemas.microsoft.com/office/drawing/2014/main" id="{40162B2D-745F-C3D4-1610-2ABF56FA413D}"/>
              </a:ext>
            </a:extLst>
          </p:cNvPr>
          <p:cNvSpPr/>
          <p:nvPr/>
        </p:nvSpPr>
        <p:spPr>
          <a:xfrm>
            <a:off x="11102200" y="1815438"/>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9" name="Google Shape;974;p84">
            <a:extLst>
              <a:ext uri="{FF2B5EF4-FFF2-40B4-BE49-F238E27FC236}">
                <a16:creationId xmlns:a16="http://schemas.microsoft.com/office/drawing/2014/main" id="{007E4D49-1D52-ECA8-9CF9-1EFAE236321C}"/>
              </a:ext>
            </a:extLst>
          </p:cNvPr>
          <p:cNvGrpSpPr/>
          <p:nvPr/>
        </p:nvGrpSpPr>
        <p:grpSpPr>
          <a:xfrm>
            <a:off x="11317088" y="1959438"/>
            <a:ext cx="288000" cy="288000"/>
            <a:chOff x="7458182" y="1867103"/>
            <a:chExt cx="457200" cy="457200"/>
          </a:xfrm>
          <a:solidFill>
            <a:schemeClr val="bg1"/>
          </a:solidFill>
        </p:grpSpPr>
        <p:sp>
          <p:nvSpPr>
            <p:cNvPr id="10" name="Google Shape;975;p84">
              <a:extLst>
                <a:ext uri="{FF2B5EF4-FFF2-40B4-BE49-F238E27FC236}">
                  <a16:creationId xmlns:a16="http://schemas.microsoft.com/office/drawing/2014/main" id="{02AD5569-6EC9-C953-730A-815CF881B637}"/>
                </a:ext>
              </a:extLst>
            </p:cNvPr>
            <p:cNvSpPr/>
            <p:nvPr/>
          </p:nvSpPr>
          <p:spPr>
            <a:xfrm>
              <a:off x="7458182" y="1867103"/>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sp>
          <p:nvSpPr>
            <p:cNvPr id="11" name="Google Shape;976;p84">
              <a:extLst>
                <a:ext uri="{FF2B5EF4-FFF2-40B4-BE49-F238E27FC236}">
                  <a16:creationId xmlns:a16="http://schemas.microsoft.com/office/drawing/2014/main" id="{7E8DF251-C4F4-B4E0-35D7-B30A10A49E99}"/>
                </a:ext>
              </a:extLst>
            </p:cNvPr>
            <p:cNvSpPr/>
            <p:nvPr/>
          </p:nvSpPr>
          <p:spPr>
            <a:xfrm>
              <a:off x="7563782" y="1923395"/>
              <a:ext cx="245618" cy="342773"/>
            </a:xfrm>
            <a:custGeom>
              <a:avLst/>
              <a:gdLst/>
              <a:ahLst/>
              <a:cxnLst/>
              <a:rect l="l" t="t" r="r" b="b"/>
              <a:pathLst>
                <a:path w="245618" h="342773" extrusionOk="0">
                  <a:moveTo>
                    <a:pt x="245618" y="44577"/>
                  </a:moveTo>
                  <a:lnTo>
                    <a:pt x="245618" y="25051"/>
                  </a:lnTo>
                  <a:lnTo>
                    <a:pt x="203168" y="25051"/>
                  </a:lnTo>
                  <a:lnTo>
                    <a:pt x="203168" y="0"/>
                  </a:lnTo>
                  <a:lnTo>
                    <a:pt x="147574" y="0"/>
                  </a:lnTo>
                  <a:lnTo>
                    <a:pt x="147574" y="25051"/>
                  </a:lnTo>
                  <a:lnTo>
                    <a:pt x="318" y="25051"/>
                  </a:lnTo>
                  <a:lnTo>
                    <a:pt x="318" y="44577"/>
                  </a:lnTo>
                  <a:lnTo>
                    <a:pt x="6445" y="44577"/>
                  </a:lnTo>
                  <a:lnTo>
                    <a:pt x="7525" y="117888"/>
                  </a:lnTo>
                  <a:lnTo>
                    <a:pt x="0" y="117888"/>
                  </a:lnTo>
                  <a:lnTo>
                    <a:pt x="0" y="137382"/>
                  </a:lnTo>
                  <a:lnTo>
                    <a:pt x="7811" y="137382"/>
                  </a:lnTo>
                  <a:lnTo>
                    <a:pt x="8985" y="225298"/>
                  </a:lnTo>
                  <a:lnTo>
                    <a:pt x="0" y="225298"/>
                  </a:lnTo>
                  <a:lnTo>
                    <a:pt x="0" y="244888"/>
                  </a:lnTo>
                  <a:lnTo>
                    <a:pt x="9525" y="244888"/>
                  </a:lnTo>
                  <a:lnTo>
                    <a:pt x="10668" y="323183"/>
                  </a:lnTo>
                  <a:lnTo>
                    <a:pt x="0" y="323183"/>
                  </a:lnTo>
                  <a:lnTo>
                    <a:pt x="0" y="342773"/>
                  </a:lnTo>
                  <a:lnTo>
                    <a:pt x="245491" y="342773"/>
                  </a:lnTo>
                  <a:lnTo>
                    <a:pt x="245491" y="323183"/>
                  </a:lnTo>
                  <a:lnTo>
                    <a:pt x="238347" y="323183"/>
                  </a:lnTo>
                  <a:lnTo>
                    <a:pt x="238665" y="244888"/>
                  </a:lnTo>
                  <a:lnTo>
                    <a:pt x="245491" y="244888"/>
                  </a:lnTo>
                  <a:lnTo>
                    <a:pt x="245491" y="225298"/>
                  </a:lnTo>
                  <a:lnTo>
                    <a:pt x="238760" y="225298"/>
                  </a:lnTo>
                  <a:lnTo>
                    <a:pt x="239141" y="137382"/>
                  </a:lnTo>
                  <a:lnTo>
                    <a:pt x="245491" y="137382"/>
                  </a:lnTo>
                  <a:lnTo>
                    <a:pt x="245491" y="117888"/>
                  </a:lnTo>
                  <a:lnTo>
                    <a:pt x="239141" y="117888"/>
                  </a:lnTo>
                  <a:lnTo>
                    <a:pt x="239459" y="44577"/>
                  </a:lnTo>
                  <a:close/>
                  <a:moveTo>
                    <a:pt x="161195" y="13716"/>
                  </a:moveTo>
                  <a:lnTo>
                    <a:pt x="189960" y="13716"/>
                  </a:lnTo>
                  <a:lnTo>
                    <a:pt x="189960" y="25019"/>
                  </a:lnTo>
                  <a:lnTo>
                    <a:pt x="161195" y="25019"/>
                  </a:lnTo>
                  <a:close/>
                  <a:moveTo>
                    <a:pt x="26035" y="44577"/>
                  </a:moveTo>
                  <a:lnTo>
                    <a:pt x="219901" y="44577"/>
                  </a:lnTo>
                  <a:lnTo>
                    <a:pt x="219901" y="117888"/>
                  </a:lnTo>
                  <a:lnTo>
                    <a:pt x="26765" y="117888"/>
                  </a:lnTo>
                  <a:close/>
                  <a:moveTo>
                    <a:pt x="26956" y="137382"/>
                  </a:moveTo>
                  <a:lnTo>
                    <a:pt x="220091" y="137382"/>
                  </a:lnTo>
                  <a:lnTo>
                    <a:pt x="220250" y="225235"/>
                  </a:lnTo>
                  <a:lnTo>
                    <a:pt x="27781" y="225235"/>
                  </a:lnTo>
                  <a:close/>
                  <a:moveTo>
                    <a:pt x="28734" y="322707"/>
                  </a:moveTo>
                  <a:lnTo>
                    <a:pt x="28035" y="244888"/>
                  </a:lnTo>
                  <a:lnTo>
                    <a:pt x="220345" y="244888"/>
                  </a:lnTo>
                  <a:lnTo>
                    <a:pt x="220345" y="322771"/>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grpSp>
      <p:sp>
        <p:nvSpPr>
          <p:cNvPr id="14" name="Rectangle 13">
            <a:extLst>
              <a:ext uri="{FF2B5EF4-FFF2-40B4-BE49-F238E27FC236}">
                <a16:creationId xmlns:a16="http://schemas.microsoft.com/office/drawing/2014/main" id="{5E2F8AFF-8516-1C92-C7B7-400746F821E7}"/>
              </a:ext>
            </a:extLst>
          </p:cNvPr>
          <p:cNvSpPr/>
          <p:nvPr/>
        </p:nvSpPr>
        <p:spPr>
          <a:xfrm>
            <a:off x="1519359"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Sprāgstviela, 1.1. apakšklase</a:t>
            </a:r>
          </a:p>
          <a:p>
            <a:pPr>
              <a:lnSpc>
                <a:spcPct val="100000"/>
              </a:lnSpc>
            </a:pPr>
            <a:r>
              <a:rPr lang="cs-CZ" sz="1400">
                <a:solidFill>
                  <a:schemeClr val="tx1"/>
                </a:solidFill>
              </a:rPr>
              <a:t>Masveida sprādzienbīstamība</a:t>
            </a:r>
          </a:p>
        </p:txBody>
      </p:sp>
      <p:sp>
        <p:nvSpPr>
          <p:cNvPr id="16" name="Rectangle 15">
            <a:extLst>
              <a:ext uri="{FF2B5EF4-FFF2-40B4-BE49-F238E27FC236}">
                <a16:creationId xmlns:a16="http://schemas.microsoft.com/office/drawing/2014/main" id="{20E7B685-6395-D9E9-05F4-223BBFFAAF4A}"/>
              </a:ext>
            </a:extLst>
          </p:cNvPr>
          <p:cNvSpPr/>
          <p:nvPr/>
        </p:nvSpPr>
        <p:spPr>
          <a:xfrm>
            <a:off x="5407146"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Sprāgstviela, 1.4. apakšklase</a:t>
            </a:r>
          </a:p>
          <a:p>
            <a:pPr>
              <a:lnSpc>
                <a:spcPct val="100000"/>
              </a:lnSpc>
            </a:pPr>
            <a:r>
              <a:rPr lang="cs-CZ" sz="1400">
                <a:solidFill>
                  <a:schemeClr val="tx1"/>
                </a:solidFill>
              </a:rPr>
              <a:t>Nozīmīgas bīstamības nav</a:t>
            </a:r>
          </a:p>
        </p:txBody>
      </p:sp>
      <p:sp>
        <p:nvSpPr>
          <p:cNvPr id="18" name="Rectangle 17">
            <a:extLst>
              <a:ext uri="{FF2B5EF4-FFF2-40B4-BE49-F238E27FC236}">
                <a16:creationId xmlns:a16="http://schemas.microsoft.com/office/drawing/2014/main" id="{8BE823A5-7D87-F038-1369-6C300C9766E4}"/>
              </a:ext>
            </a:extLst>
          </p:cNvPr>
          <p:cNvSpPr/>
          <p:nvPr/>
        </p:nvSpPr>
        <p:spPr>
          <a:xfrm>
            <a:off x="9294934" y="2610180"/>
            <a:ext cx="2452566" cy="127050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Sprāgstviela, 1.6. apakšklase</a:t>
            </a:r>
          </a:p>
          <a:p>
            <a:pPr>
              <a:lnSpc>
                <a:spcPct val="100000"/>
              </a:lnSpc>
            </a:pPr>
            <a:r>
              <a:rPr lang="cs-CZ" sz="1400">
                <a:solidFill>
                  <a:schemeClr val="tx1"/>
                </a:solidFill>
              </a:rPr>
              <a:t>Ārkārtīgi inerti izstrādājumi, kam nepiemīt masveida sprādzienbīstamība</a:t>
            </a:r>
          </a:p>
        </p:txBody>
      </p:sp>
      <p:sp>
        <p:nvSpPr>
          <p:cNvPr id="20" name="Rectangle 19">
            <a:extLst>
              <a:ext uri="{FF2B5EF4-FFF2-40B4-BE49-F238E27FC236}">
                <a16:creationId xmlns:a16="http://schemas.microsoft.com/office/drawing/2014/main" id="{9D2FB976-57F3-0D62-8878-EE099FF840F9}"/>
              </a:ext>
            </a:extLst>
          </p:cNvPr>
          <p:cNvSpPr/>
          <p:nvPr/>
        </p:nvSpPr>
        <p:spPr>
          <a:xfrm>
            <a:off x="1519359"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fi-FI" sz="1400" b="1">
                <a:solidFill>
                  <a:schemeClr val="tx1"/>
                </a:solidFill>
              </a:rPr>
              <a:t>Sprāgstviela, 1.2. apakšklase</a:t>
            </a:r>
          </a:p>
          <a:p>
            <a:pPr>
              <a:lnSpc>
                <a:spcPct val="100000"/>
              </a:lnSpc>
            </a:pPr>
            <a:r>
              <a:rPr lang="fi-FI" sz="1400">
                <a:solidFill>
                  <a:schemeClr val="tx1"/>
                </a:solidFill>
              </a:rPr>
              <a:t>Izmetes bīstamība</a:t>
            </a:r>
            <a:endParaRPr lang="cs-CZ" sz="1400">
              <a:solidFill>
                <a:schemeClr val="tx1"/>
              </a:solidFill>
            </a:endParaRPr>
          </a:p>
        </p:txBody>
      </p:sp>
      <p:sp>
        <p:nvSpPr>
          <p:cNvPr id="24" name="Rectangle 23">
            <a:extLst>
              <a:ext uri="{FF2B5EF4-FFF2-40B4-BE49-F238E27FC236}">
                <a16:creationId xmlns:a16="http://schemas.microsoft.com/office/drawing/2014/main" id="{66F3CAC4-6726-C4A8-8A1D-F9C3A9D11719}"/>
              </a:ext>
            </a:extLst>
          </p:cNvPr>
          <p:cNvSpPr/>
          <p:nvPr/>
        </p:nvSpPr>
        <p:spPr>
          <a:xfrm>
            <a:off x="5407146" y="3673076"/>
            <a:ext cx="2452566" cy="196413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Sprāgstviela, 1.5. apakšklase</a:t>
            </a:r>
          </a:p>
          <a:p>
            <a:pPr>
              <a:lnSpc>
                <a:spcPct val="100000"/>
              </a:lnSpc>
            </a:pPr>
            <a:r>
              <a:rPr lang="cs-CZ" sz="1400">
                <a:solidFill>
                  <a:schemeClr val="tx1"/>
                </a:solidFill>
              </a:rPr>
              <a:t>Ļoti inertas vielas un maisījumi, kam piemīt masveida sprādzienbīstamība</a:t>
            </a:r>
          </a:p>
        </p:txBody>
      </p:sp>
      <p:sp>
        <p:nvSpPr>
          <p:cNvPr id="28" name="Rectangle 27">
            <a:extLst>
              <a:ext uri="{FF2B5EF4-FFF2-40B4-BE49-F238E27FC236}">
                <a16:creationId xmlns:a16="http://schemas.microsoft.com/office/drawing/2014/main" id="{597AB2E4-38CA-419C-BBB3-C5ACDD34CAF9}"/>
              </a:ext>
            </a:extLst>
          </p:cNvPr>
          <p:cNvSpPr/>
          <p:nvPr/>
        </p:nvSpPr>
        <p:spPr>
          <a:xfrm>
            <a:off x="1519359" y="4735974"/>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Sprāgstviela, 1.3. apakšklase</a:t>
            </a:r>
          </a:p>
          <a:p>
            <a:pPr>
              <a:lnSpc>
                <a:spcPct val="100000"/>
              </a:lnSpc>
            </a:pPr>
            <a:r>
              <a:rPr lang="cs-CZ" sz="1400">
                <a:solidFill>
                  <a:schemeClr val="tx1"/>
                </a:solidFill>
              </a:rPr>
              <a:t>Ugunsbīstamība vai neliela izmetes bīstamība</a:t>
            </a:r>
          </a:p>
        </p:txBody>
      </p:sp>
      <p:sp>
        <p:nvSpPr>
          <p:cNvPr id="35" name="Rectangle 34">
            <a:extLst>
              <a:ext uri="{FF2B5EF4-FFF2-40B4-BE49-F238E27FC236}">
                <a16:creationId xmlns:a16="http://schemas.microsoft.com/office/drawing/2014/main" id="{8B4177CB-AEA6-8A8F-2AA0-C72692F574BF}"/>
              </a:ext>
            </a:extLst>
          </p:cNvPr>
          <p:cNvSpPr/>
          <p:nvPr/>
        </p:nvSpPr>
        <p:spPr>
          <a:xfrm>
            <a:off x="9298109" y="4053249"/>
            <a:ext cx="2452566" cy="158396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sz="1400" b="1">
                <a:solidFill>
                  <a:schemeClr val="tx1"/>
                </a:solidFill>
              </a:rPr>
              <a:t>Uzliesmojoša gāze</a:t>
            </a:r>
            <a:endParaRPr lang="cs-CZ" sz="1400">
              <a:solidFill>
                <a:schemeClr val="tx1"/>
              </a:solidFill>
            </a:endParaRPr>
          </a:p>
        </p:txBody>
      </p:sp>
      <p:pic>
        <p:nvPicPr>
          <p:cNvPr id="12" name="Picture 2">
            <a:extLst>
              <a:ext uri="{FF2B5EF4-FFF2-40B4-BE49-F238E27FC236}">
                <a16:creationId xmlns:a16="http://schemas.microsoft.com/office/drawing/2014/main" id="{AE5314F9-0C4B-D545-2AF7-B01D7ED7BE7F}"/>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448801"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a:extLst>
              <a:ext uri="{FF2B5EF4-FFF2-40B4-BE49-F238E27FC236}">
                <a16:creationId xmlns:a16="http://schemas.microsoft.com/office/drawing/2014/main" id="{D6593AA0-A90C-0B8D-BE81-2D0AA441AFFD}"/>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448801"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a:extLst>
              <a:ext uri="{FF2B5EF4-FFF2-40B4-BE49-F238E27FC236}">
                <a16:creationId xmlns:a16="http://schemas.microsoft.com/office/drawing/2014/main" id="{87674CB6-0239-F3A8-F15A-AC1B09D89AE1}"/>
              </a:ext>
            </a:extLst>
          </p:cNvPr>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448801" y="4735512"/>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a:extLst>
              <a:ext uri="{FF2B5EF4-FFF2-40B4-BE49-F238E27FC236}">
                <a16:creationId xmlns:a16="http://schemas.microsoft.com/office/drawing/2014/main" id="{067FC922-AAD8-19DD-15EE-BF8AA3E638B6}"/>
              </a:ext>
            </a:extLst>
          </p:cNvPr>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4330238" y="2609718"/>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0">
            <a:extLst>
              <a:ext uri="{FF2B5EF4-FFF2-40B4-BE49-F238E27FC236}">
                <a16:creationId xmlns:a16="http://schemas.microsoft.com/office/drawing/2014/main" id="{7123F3C2-32BA-F918-1095-A76757603B6E}"/>
              </a:ext>
            </a:extLst>
          </p:cNvPr>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4330238" y="420429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116E85F4-EE3A-5A61-A453-86144B90A47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218026" y="2793789"/>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717C3698-D30D-37E1-AB40-E12FD85BA7F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221663" y="4393585"/>
            <a:ext cx="903288" cy="903288"/>
          </a:xfrm>
          <a:prstGeom prst="rect">
            <a:avLst/>
          </a:prstGeom>
          <a:noFill/>
          <a:extLst>
            <a:ext uri="{909E8E84-426E-40DD-AFC4-6F175D3DCCD1}">
              <a14:hiddenFill xmlns:a14="http://schemas.microsoft.com/office/drawing/2010/main">
                <a:solidFill>
                  <a:srgbClr val="FFFFFF"/>
                </a:solidFill>
              </a14:hiddenFill>
            </a:ext>
          </a:extLst>
        </p:spPr>
      </p:pic>
      <p:grpSp>
        <p:nvGrpSpPr>
          <p:cNvPr id="29" name="Group 28">
            <a:extLst>
              <a:ext uri="{FF2B5EF4-FFF2-40B4-BE49-F238E27FC236}">
                <a16:creationId xmlns:a16="http://schemas.microsoft.com/office/drawing/2014/main" id="{2FC98233-B5C6-DFC6-7E8A-11F2200E0793}"/>
              </a:ext>
            </a:extLst>
          </p:cNvPr>
          <p:cNvGrpSpPr/>
          <p:nvPr/>
        </p:nvGrpSpPr>
        <p:grpSpPr>
          <a:xfrm>
            <a:off x="8801454" y="159786"/>
            <a:ext cx="2947634" cy="217488"/>
            <a:chOff x="8559627" y="684914"/>
            <a:chExt cx="2947634" cy="217488"/>
          </a:xfrm>
        </p:grpSpPr>
        <p:sp>
          <p:nvSpPr>
            <p:cNvPr id="30" name="Rectangle 29">
              <a:extLst>
                <a:ext uri="{FF2B5EF4-FFF2-40B4-BE49-F238E27FC236}">
                  <a16:creationId xmlns:a16="http://schemas.microsoft.com/office/drawing/2014/main" id="{7030E232-A96D-4A69-9D24-6042B62FE6D8}"/>
                </a:ext>
              </a:extLst>
            </p:cNvPr>
            <p:cNvSpPr/>
            <p:nvPr/>
          </p:nvSpPr>
          <p:spPr>
            <a:xfrm>
              <a:off x="9285434" y="68491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5</a:t>
              </a:r>
              <a:r>
                <a:rPr kumimoji="0" lang="lv-LV" sz="800" b="1" i="0" u="none" strike="noStrike" kern="0" cap="none" spc="0" normalizeH="0" baseline="0" dirty="0">
                  <a:ln>
                    <a:noFill/>
                  </a:ln>
                  <a:effectLst/>
                  <a:uLnTx/>
                  <a:uFillTx/>
                  <a:ea typeface="Georgia"/>
                  <a:cs typeface="Georgia"/>
                  <a:sym typeface="Georgia"/>
                </a:rPr>
                <a:t>.</a:t>
              </a:r>
              <a:r>
                <a:rPr kumimoji="0" lang="en-US" sz="800" b="1" i="0" u="none" strike="noStrike" kern="0" cap="none" spc="0" normalizeH="0" baseline="0" dirty="0">
                  <a:ln>
                    <a:noFill/>
                  </a:ln>
                  <a:effectLst/>
                  <a:uLnTx/>
                  <a:uFillTx/>
                  <a:ea typeface="Georgia"/>
                  <a:cs typeface="Georgia"/>
                  <a:sym typeface="Georgia"/>
                </a:rPr>
                <a:t>4</a:t>
              </a:r>
              <a:endParaRPr kumimoji="0" lang="lv-LV" sz="800" b="1" i="0" u="none" strike="noStrike" kern="0" cap="none" spc="0" normalizeH="0" baseline="0" dirty="0">
                <a:ln>
                  <a:noFill/>
                </a:ln>
                <a:effectLst/>
                <a:uLnTx/>
                <a:uFillTx/>
                <a:ea typeface="Georgia"/>
                <a:cs typeface="Georgia"/>
                <a:sym typeface="Georgia"/>
              </a:endParaRPr>
            </a:p>
          </p:txBody>
        </p:sp>
        <p:sp>
          <p:nvSpPr>
            <p:cNvPr id="32" name="Rectangle 31">
              <a:extLst>
                <a:ext uri="{FF2B5EF4-FFF2-40B4-BE49-F238E27FC236}">
                  <a16:creationId xmlns:a16="http://schemas.microsoft.com/office/drawing/2014/main" id="{73580992-54A8-C88F-DA46-224F79173AC6}"/>
                </a:ext>
              </a:extLst>
            </p:cNvPr>
            <p:cNvSpPr/>
            <p:nvPr/>
          </p:nvSpPr>
          <p:spPr>
            <a:xfrm>
              <a:off x="9527261" y="684914"/>
              <a:ext cx="198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err="1">
                  <a:ln>
                    <a:noFill/>
                  </a:ln>
                  <a:effectLst/>
                  <a:uLnTx/>
                  <a:uFillTx/>
                  <a:ea typeface="Georgia"/>
                  <a:cs typeface="Georgia"/>
                  <a:sym typeface="Georgia"/>
                </a:rPr>
                <a:t>Drošības</a:t>
              </a:r>
              <a:r>
                <a:rPr kumimoji="0" lang="en-US" sz="800" b="1" i="0" u="none" strike="noStrike" kern="0" cap="none" spc="0" normalizeH="0" baseline="0" dirty="0">
                  <a:ln>
                    <a:noFill/>
                  </a:ln>
                  <a:effectLst/>
                  <a:uLnTx/>
                  <a:uFillTx/>
                  <a:ea typeface="Georgia"/>
                  <a:cs typeface="Georgia"/>
                  <a:sym typeface="Georgia"/>
                </a:rPr>
                <a:t> </a:t>
              </a:r>
              <a:r>
                <a:rPr kumimoji="0" lang="en-US" sz="800" b="1" i="0" u="none" strike="noStrike" kern="0" cap="none" spc="0" normalizeH="0" baseline="0" dirty="0" err="1">
                  <a:ln>
                    <a:noFill/>
                  </a:ln>
                  <a:effectLst/>
                  <a:uLnTx/>
                  <a:uFillTx/>
                  <a:ea typeface="Georgia"/>
                  <a:cs typeface="Georgia"/>
                  <a:sym typeface="Georgia"/>
                </a:rPr>
                <a:t>pasākumi</a:t>
              </a:r>
              <a:endParaRPr kumimoji="0" lang="en-US" sz="800" b="1" i="0" u="none" strike="noStrike" kern="0" cap="none" spc="0" normalizeH="0" baseline="0" dirty="0">
                <a:ln>
                  <a:noFill/>
                </a:ln>
                <a:effectLst/>
                <a:uLnTx/>
                <a:uFillTx/>
                <a:ea typeface="Georgia"/>
                <a:cs typeface="Georgia"/>
                <a:sym typeface="Georgia"/>
              </a:endParaRPr>
            </a:p>
          </p:txBody>
        </p:sp>
        <p:sp>
          <p:nvSpPr>
            <p:cNvPr id="33" name="Rectangle 32">
              <a:extLst>
                <a:ext uri="{FF2B5EF4-FFF2-40B4-BE49-F238E27FC236}">
                  <a16:creationId xmlns:a16="http://schemas.microsoft.com/office/drawing/2014/main" id="{DF482297-6B7A-D137-323E-4117E70AE1C3}"/>
                </a:ext>
              </a:extLst>
            </p:cNvPr>
            <p:cNvSpPr/>
            <p:nvPr/>
          </p:nvSpPr>
          <p:spPr>
            <a:xfrm>
              <a:off x="9043607"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3</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36" name="Rectangle 35">
              <a:extLst>
                <a:ext uri="{FF2B5EF4-FFF2-40B4-BE49-F238E27FC236}">
                  <a16:creationId xmlns:a16="http://schemas.microsoft.com/office/drawing/2014/main" id="{8ED2F05F-1C46-E4C0-6AAA-25F7FD797C91}"/>
                </a:ext>
              </a:extLst>
            </p:cNvPr>
            <p:cNvSpPr/>
            <p:nvPr/>
          </p:nvSpPr>
          <p:spPr>
            <a:xfrm>
              <a:off x="8801780"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2</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37" name="Rectangle 36">
              <a:extLst>
                <a:ext uri="{FF2B5EF4-FFF2-40B4-BE49-F238E27FC236}">
                  <a16:creationId xmlns:a16="http://schemas.microsoft.com/office/drawing/2014/main" id="{E1EDBAF6-B02A-7603-8E4C-443FB048D53B}"/>
                </a:ext>
              </a:extLst>
            </p:cNvPr>
            <p:cNvSpPr/>
            <p:nvPr/>
          </p:nvSpPr>
          <p:spPr>
            <a:xfrm>
              <a:off x="8559627"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2601876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B864A2D-CE08-25FC-B3B0-290F41A7D5F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9528" b="17101"/>
          <a:stretch/>
        </p:blipFill>
        <p:spPr>
          <a:xfrm>
            <a:off x="442911" y="4873546"/>
            <a:ext cx="11312524" cy="1298653"/>
          </a:xfrm>
          <a:prstGeom prst="rect">
            <a:avLst/>
          </a:prstGeom>
        </p:spPr>
      </p:pic>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3" y="432001"/>
            <a:ext cx="11306175" cy="1387274"/>
          </a:xfrm>
        </p:spPr>
        <p:txBody>
          <a:bodyPr vert="horz">
            <a:normAutofit/>
          </a:bodyPr>
          <a:lstStyle/>
          <a:p>
            <a:r>
              <a:rPr lang="en-GB" err="1"/>
              <a:t>Satur</a:t>
            </a:r>
            <a:r>
              <a:rPr lang="lv-LV"/>
              <a:t>a </a:t>
            </a:r>
            <a:r>
              <a:rPr lang="en-GB" err="1"/>
              <a:t>rādītājs</a:t>
            </a:r>
            <a:endParaRPr lang="en-GB"/>
          </a:p>
        </p:txBody>
      </p:sp>
      <p:sp>
        <p:nvSpPr>
          <p:cNvPr id="11" name="Rectangle 10">
            <a:extLst>
              <a:ext uri="{FF2B5EF4-FFF2-40B4-BE49-F238E27FC236}">
                <a16:creationId xmlns:a16="http://schemas.microsoft.com/office/drawing/2014/main" id="{F6E3DD60-4A42-FD12-ECB9-84B0541B4361}"/>
              </a:ext>
            </a:extLst>
          </p:cNvPr>
          <p:cNvSpPr/>
          <p:nvPr/>
        </p:nvSpPr>
        <p:spPr>
          <a:xfrm>
            <a:off x="442913" y="955542"/>
            <a:ext cx="11306175"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a:xfrm>
            <a:off x="9983788" y="6492875"/>
            <a:ext cx="1765300" cy="136525"/>
          </a:xfrm>
        </p:spPr>
        <p:txBody>
          <a:bodyPr/>
          <a:lstStyle/>
          <a:p>
            <a:fld id="{7870704B-CE94-48CC-AF30-84932A1262A7}" type="slidenum">
              <a:rPr lang="en-GB" smtClean="0"/>
              <a:pPr/>
              <a:t>3</a:t>
            </a:fld>
            <a:endParaRPr lang="en-GB"/>
          </a:p>
        </p:txBody>
      </p:sp>
      <p:sp>
        <p:nvSpPr>
          <p:cNvPr id="6" name="TextBox 5">
            <a:extLst>
              <a:ext uri="{FF2B5EF4-FFF2-40B4-BE49-F238E27FC236}">
                <a16:creationId xmlns:a16="http://schemas.microsoft.com/office/drawing/2014/main" id="{2CB3F9F5-858C-1D21-4D13-EAEDABE2E74A}"/>
              </a:ext>
            </a:extLst>
          </p:cNvPr>
          <p:cNvSpPr txBox="1"/>
          <p:nvPr/>
        </p:nvSpPr>
        <p:spPr>
          <a:xfrm>
            <a:off x="442911" y="1826233"/>
            <a:ext cx="11306175" cy="2670985"/>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lv-LV" sz="1600" dirty="0">
                <a:cs typeface="Arial"/>
              </a:rPr>
              <a:t>5.1. Katastrofu iedalījums</a:t>
            </a:r>
          </a:p>
          <a:p>
            <a:pPr>
              <a:spcAft>
                <a:spcPts val="600"/>
              </a:spcAft>
            </a:pPr>
            <a:r>
              <a:rPr lang="lv-LV" sz="1600" dirty="0">
                <a:cs typeface="Arial"/>
              </a:rPr>
              <a:t>5.2. Katastrofas pārvaldīšanas principi</a:t>
            </a:r>
          </a:p>
          <a:p>
            <a:pPr>
              <a:spcAft>
                <a:spcPts val="600"/>
              </a:spcAft>
            </a:pPr>
            <a:r>
              <a:rPr lang="lv-LV" sz="1600" dirty="0">
                <a:cs typeface="Arial"/>
              </a:rPr>
              <a:t>5.3. Apdraudējuma riska novērtēšana</a:t>
            </a:r>
          </a:p>
          <a:p>
            <a:pPr>
              <a:spcAft>
                <a:spcPts val="600"/>
              </a:spcAft>
            </a:pPr>
            <a:r>
              <a:rPr lang="lv-LV" sz="1600" dirty="0">
                <a:cs typeface="Arial"/>
              </a:rPr>
              <a:t>5.4. Drošības pasākumi </a:t>
            </a:r>
          </a:p>
          <a:p>
            <a:pPr marL="457200">
              <a:spcAft>
                <a:spcPts val="600"/>
              </a:spcAft>
            </a:pPr>
            <a:r>
              <a:rPr lang="lv-LV" sz="1600" dirty="0">
                <a:cs typeface="Arial"/>
              </a:rPr>
              <a:t>5.4.1. Bīstamas vielas</a:t>
            </a:r>
          </a:p>
          <a:p>
            <a:pPr marL="457200">
              <a:spcAft>
                <a:spcPts val="600"/>
              </a:spcAft>
            </a:pPr>
            <a:r>
              <a:rPr lang="lv-LV" sz="1600" dirty="0">
                <a:cs typeface="Arial"/>
              </a:rPr>
              <a:t>5.4.2. Individuālie aizsardzības līdzekļi</a:t>
            </a:r>
          </a:p>
        </p:txBody>
      </p:sp>
      <p:sp>
        <p:nvSpPr>
          <p:cNvPr id="25" name="Freeform 106">
            <a:extLst>
              <a:ext uri="{FF2B5EF4-FFF2-40B4-BE49-F238E27FC236}">
                <a16:creationId xmlns:a16="http://schemas.microsoft.com/office/drawing/2014/main" id="{014F40D3-F5E9-404A-8FA7-2C2BFB358B3B}"/>
              </a:ext>
            </a:extLst>
          </p:cNvPr>
          <p:cNvSpPr/>
          <p:nvPr/>
        </p:nvSpPr>
        <p:spPr>
          <a:xfrm>
            <a:off x="554303"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spTree>
    <p:extLst>
      <p:ext uri="{BB962C8B-B14F-4D97-AF65-F5344CB8AC3E}">
        <p14:creationId xmlns:p14="http://schemas.microsoft.com/office/powerpoint/2010/main" val="1920980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355A43F7-0591-DDE8-4346-E8A2471B470E}"/>
              </a:ext>
            </a:extLst>
          </p:cNvPr>
          <p:cNvGraphicFramePr>
            <a:graphicFrameLocks noChangeAspect="1"/>
          </p:cNvGraphicFramePr>
          <p:nvPr>
            <p:custDataLst>
              <p:tags r:id="rId1"/>
            </p:custDataLst>
            <p:extLst>
              <p:ext uri="{D42A27DB-BD31-4B8C-83A1-F6EECF244321}">
                <p14:modId xmlns:p14="http://schemas.microsoft.com/office/powerpoint/2010/main" val="16055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5" name="think-cell data - do not delete" hidden="1">
                        <a:extLst>
                          <a:ext uri="{FF2B5EF4-FFF2-40B4-BE49-F238E27FC236}">
                            <a16:creationId xmlns:a16="http://schemas.microsoft.com/office/drawing/2014/main" id="{355A43F7-0591-DDE8-4346-E8A2471B47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0" name="Picture 14">
            <a:extLst>
              <a:ext uri="{FF2B5EF4-FFF2-40B4-BE49-F238E27FC236}">
                <a16:creationId xmlns:a16="http://schemas.microsoft.com/office/drawing/2014/main" id="{20FF5D6B-8429-26E6-1AC6-0C53FB749D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18026"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2">
            <a:extLst>
              <a:ext uri="{FF2B5EF4-FFF2-40B4-BE49-F238E27FC236}">
                <a16:creationId xmlns:a16="http://schemas.microsoft.com/office/drawing/2014/main" id="{7D4EA19A-E5E9-5060-9B67-CF5C7F97BFA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18026" y="261018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0">
            <a:extLst>
              <a:ext uri="{FF2B5EF4-FFF2-40B4-BE49-F238E27FC236}">
                <a16:creationId xmlns:a16="http://schemas.microsoft.com/office/drawing/2014/main" id="{504AE88C-01EE-B1C1-498B-F1DB1F439EA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30700"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a:extLst>
              <a:ext uri="{FF2B5EF4-FFF2-40B4-BE49-F238E27FC236}">
                <a16:creationId xmlns:a16="http://schemas.microsoft.com/office/drawing/2014/main" id="{E2432BB5-B2D6-A42F-BE91-B54EF6711FF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30700"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a:extLst>
              <a:ext uri="{FF2B5EF4-FFF2-40B4-BE49-F238E27FC236}">
                <a16:creationId xmlns:a16="http://schemas.microsoft.com/office/drawing/2014/main" id="{D46DB20E-3092-9884-1BE1-214FE7003CC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2913" y="4735512"/>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E69AB8D5-8D18-040D-756D-904501799EF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42913"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949AFA23-10A1-1D10-48D6-DC0FE702EBA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42913" y="2609718"/>
            <a:ext cx="903288" cy="90328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a:lstStyle/>
          <a:p>
            <a:r>
              <a:rPr lang="lv-LV" dirty="0"/>
              <a:t>Bīstamās vielas</a:t>
            </a:r>
            <a:br>
              <a:rPr lang="lv-LV"/>
            </a:br>
            <a:r>
              <a:rPr lang="lv-LV">
                <a:solidFill>
                  <a:srgbClr val="A8192D"/>
                </a:solidFill>
              </a:rPr>
              <a:t>Bīstamības simboli (</a:t>
            </a:r>
            <a:r>
              <a:rPr lang="en-US">
                <a:solidFill>
                  <a:srgbClr val="A8192D"/>
                </a:solidFill>
              </a:rPr>
              <a:t>4</a:t>
            </a:r>
            <a:r>
              <a:rPr lang="lv-LV">
                <a:solidFill>
                  <a:srgbClr val="A8192D"/>
                </a:solidFill>
              </a:rPr>
              <a:t>/</a:t>
            </a:r>
            <a:r>
              <a:rPr lang="en-US">
                <a:solidFill>
                  <a:srgbClr val="A8192D"/>
                </a:solidFill>
              </a:rPr>
              <a:t>5</a:t>
            </a:r>
            <a:r>
              <a:rPr lang="lv-LV">
                <a:solidFill>
                  <a:srgbClr val="A8192D"/>
                </a:solidFill>
              </a:rPr>
              <a:t>)</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a:lstStyle/>
          <a:p>
            <a:fld id="{7870704B-CE94-48CC-AF30-84932A1262A7}" type="slidenum">
              <a:rPr lang="en-GB" smtClean="0"/>
              <a:pPr/>
              <a:t>30</a:t>
            </a:fld>
            <a:endParaRPr lang="en-GB"/>
          </a:p>
        </p:txBody>
      </p:sp>
      <p:sp>
        <p:nvSpPr>
          <p:cNvPr id="3" name="Rectangle 2">
            <a:extLst>
              <a:ext uri="{FF2B5EF4-FFF2-40B4-BE49-F238E27FC236}">
                <a16:creationId xmlns:a16="http://schemas.microsoft.com/office/drawing/2014/main" id="{E0279B2C-74FF-E6ED-4DD9-1A24B8ED5A06}"/>
              </a:ext>
            </a:extLst>
          </p:cNvPr>
          <p:cNvSpPr/>
          <p:nvPr/>
        </p:nvSpPr>
        <p:spPr>
          <a:xfrm>
            <a:off x="442913" y="1815438"/>
            <a:ext cx="10659287"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ADR pārvadājumu piktogrammas un bīstamības klase (</a:t>
            </a:r>
            <a:r>
              <a:rPr lang="en-US" sz="1600" b="1"/>
              <a:t>2</a:t>
            </a:r>
            <a:r>
              <a:rPr lang="lv-LV" sz="1600" b="1"/>
              <a:t>/</a:t>
            </a:r>
            <a:r>
              <a:rPr lang="en-US" sz="1600" b="1"/>
              <a:t>3</a:t>
            </a:r>
            <a:r>
              <a:rPr lang="lv-LV" sz="1600" b="1"/>
              <a:t>)</a:t>
            </a:r>
          </a:p>
        </p:txBody>
      </p:sp>
      <p:sp>
        <p:nvSpPr>
          <p:cNvPr id="6" name="Rectangle 5">
            <a:extLst>
              <a:ext uri="{FF2B5EF4-FFF2-40B4-BE49-F238E27FC236}">
                <a16:creationId xmlns:a16="http://schemas.microsoft.com/office/drawing/2014/main" id="{0C53E03C-DA29-42BE-4F26-04730904B12A}"/>
              </a:ext>
            </a:extLst>
          </p:cNvPr>
          <p:cNvSpPr/>
          <p:nvPr/>
        </p:nvSpPr>
        <p:spPr>
          <a:xfrm>
            <a:off x="11173088" y="1815438"/>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Rectangle 6">
            <a:extLst>
              <a:ext uri="{FF2B5EF4-FFF2-40B4-BE49-F238E27FC236}">
                <a16:creationId xmlns:a16="http://schemas.microsoft.com/office/drawing/2014/main" id="{40162B2D-745F-C3D4-1610-2ABF56FA413D}"/>
              </a:ext>
            </a:extLst>
          </p:cNvPr>
          <p:cNvSpPr/>
          <p:nvPr/>
        </p:nvSpPr>
        <p:spPr>
          <a:xfrm>
            <a:off x="11102200" y="1815438"/>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9" name="Google Shape;974;p84">
            <a:extLst>
              <a:ext uri="{FF2B5EF4-FFF2-40B4-BE49-F238E27FC236}">
                <a16:creationId xmlns:a16="http://schemas.microsoft.com/office/drawing/2014/main" id="{007E4D49-1D52-ECA8-9CF9-1EFAE236321C}"/>
              </a:ext>
            </a:extLst>
          </p:cNvPr>
          <p:cNvGrpSpPr/>
          <p:nvPr/>
        </p:nvGrpSpPr>
        <p:grpSpPr>
          <a:xfrm>
            <a:off x="11317088" y="1959438"/>
            <a:ext cx="288000" cy="288000"/>
            <a:chOff x="7458182" y="1867103"/>
            <a:chExt cx="457200" cy="457200"/>
          </a:xfrm>
          <a:solidFill>
            <a:schemeClr val="bg1"/>
          </a:solidFill>
        </p:grpSpPr>
        <p:sp>
          <p:nvSpPr>
            <p:cNvPr id="10" name="Google Shape;975;p84">
              <a:extLst>
                <a:ext uri="{FF2B5EF4-FFF2-40B4-BE49-F238E27FC236}">
                  <a16:creationId xmlns:a16="http://schemas.microsoft.com/office/drawing/2014/main" id="{02AD5569-6EC9-C953-730A-815CF881B637}"/>
                </a:ext>
              </a:extLst>
            </p:cNvPr>
            <p:cNvSpPr/>
            <p:nvPr/>
          </p:nvSpPr>
          <p:spPr>
            <a:xfrm>
              <a:off x="7458182" y="1867103"/>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sp>
          <p:nvSpPr>
            <p:cNvPr id="11" name="Google Shape;976;p84">
              <a:extLst>
                <a:ext uri="{FF2B5EF4-FFF2-40B4-BE49-F238E27FC236}">
                  <a16:creationId xmlns:a16="http://schemas.microsoft.com/office/drawing/2014/main" id="{7E8DF251-C4F4-B4E0-35D7-B30A10A49E99}"/>
                </a:ext>
              </a:extLst>
            </p:cNvPr>
            <p:cNvSpPr/>
            <p:nvPr/>
          </p:nvSpPr>
          <p:spPr>
            <a:xfrm>
              <a:off x="7563782" y="1923395"/>
              <a:ext cx="245618" cy="342773"/>
            </a:xfrm>
            <a:custGeom>
              <a:avLst/>
              <a:gdLst/>
              <a:ahLst/>
              <a:cxnLst/>
              <a:rect l="l" t="t" r="r" b="b"/>
              <a:pathLst>
                <a:path w="245618" h="342773" extrusionOk="0">
                  <a:moveTo>
                    <a:pt x="245618" y="44577"/>
                  </a:moveTo>
                  <a:lnTo>
                    <a:pt x="245618" y="25051"/>
                  </a:lnTo>
                  <a:lnTo>
                    <a:pt x="203168" y="25051"/>
                  </a:lnTo>
                  <a:lnTo>
                    <a:pt x="203168" y="0"/>
                  </a:lnTo>
                  <a:lnTo>
                    <a:pt x="147574" y="0"/>
                  </a:lnTo>
                  <a:lnTo>
                    <a:pt x="147574" y="25051"/>
                  </a:lnTo>
                  <a:lnTo>
                    <a:pt x="318" y="25051"/>
                  </a:lnTo>
                  <a:lnTo>
                    <a:pt x="318" y="44577"/>
                  </a:lnTo>
                  <a:lnTo>
                    <a:pt x="6445" y="44577"/>
                  </a:lnTo>
                  <a:lnTo>
                    <a:pt x="7525" y="117888"/>
                  </a:lnTo>
                  <a:lnTo>
                    <a:pt x="0" y="117888"/>
                  </a:lnTo>
                  <a:lnTo>
                    <a:pt x="0" y="137382"/>
                  </a:lnTo>
                  <a:lnTo>
                    <a:pt x="7811" y="137382"/>
                  </a:lnTo>
                  <a:lnTo>
                    <a:pt x="8985" y="225298"/>
                  </a:lnTo>
                  <a:lnTo>
                    <a:pt x="0" y="225298"/>
                  </a:lnTo>
                  <a:lnTo>
                    <a:pt x="0" y="244888"/>
                  </a:lnTo>
                  <a:lnTo>
                    <a:pt x="9525" y="244888"/>
                  </a:lnTo>
                  <a:lnTo>
                    <a:pt x="10668" y="323183"/>
                  </a:lnTo>
                  <a:lnTo>
                    <a:pt x="0" y="323183"/>
                  </a:lnTo>
                  <a:lnTo>
                    <a:pt x="0" y="342773"/>
                  </a:lnTo>
                  <a:lnTo>
                    <a:pt x="245491" y="342773"/>
                  </a:lnTo>
                  <a:lnTo>
                    <a:pt x="245491" y="323183"/>
                  </a:lnTo>
                  <a:lnTo>
                    <a:pt x="238347" y="323183"/>
                  </a:lnTo>
                  <a:lnTo>
                    <a:pt x="238665" y="244888"/>
                  </a:lnTo>
                  <a:lnTo>
                    <a:pt x="245491" y="244888"/>
                  </a:lnTo>
                  <a:lnTo>
                    <a:pt x="245491" y="225298"/>
                  </a:lnTo>
                  <a:lnTo>
                    <a:pt x="238760" y="225298"/>
                  </a:lnTo>
                  <a:lnTo>
                    <a:pt x="239141" y="137382"/>
                  </a:lnTo>
                  <a:lnTo>
                    <a:pt x="245491" y="137382"/>
                  </a:lnTo>
                  <a:lnTo>
                    <a:pt x="245491" y="117888"/>
                  </a:lnTo>
                  <a:lnTo>
                    <a:pt x="239141" y="117888"/>
                  </a:lnTo>
                  <a:lnTo>
                    <a:pt x="239459" y="44577"/>
                  </a:lnTo>
                  <a:close/>
                  <a:moveTo>
                    <a:pt x="161195" y="13716"/>
                  </a:moveTo>
                  <a:lnTo>
                    <a:pt x="189960" y="13716"/>
                  </a:lnTo>
                  <a:lnTo>
                    <a:pt x="189960" y="25019"/>
                  </a:lnTo>
                  <a:lnTo>
                    <a:pt x="161195" y="25019"/>
                  </a:lnTo>
                  <a:close/>
                  <a:moveTo>
                    <a:pt x="26035" y="44577"/>
                  </a:moveTo>
                  <a:lnTo>
                    <a:pt x="219901" y="44577"/>
                  </a:lnTo>
                  <a:lnTo>
                    <a:pt x="219901" y="117888"/>
                  </a:lnTo>
                  <a:lnTo>
                    <a:pt x="26765" y="117888"/>
                  </a:lnTo>
                  <a:close/>
                  <a:moveTo>
                    <a:pt x="26956" y="137382"/>
                  </a:moveTo>
                  <a:lnTo>
                    <a:pt x="220091" y="137382"/>
                  </a:lnTo>
                  <a:lnTo>
                    <a:pt x="220250" y="225235"/>
                  </a:lnTo>
                  <a:lnTo>
                    <a:pt x="27781" y="225235"/>
                  </a:lnTo>
                  <a:close/>
                  <a:moveTo>
                    <a:pt x="28734" y="322707"/>
                  </a:moveTo>
                  <a:lnTo>
                    <a:pt x="28035" y="244888"/>
                  </a:lnTo>
                  <a:lnTo>
                    <a:pt x="220345" y="244888"/>
                  </a:lnTo>
                  <a:lnTo>
                    <a:pt x="220345" y="322771"/>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grpSp>
      <p:sp>
        <p:nvSpPr>
          <p:cNvPr id="14" name="Rectangle 13">
            <a:extLst>
              <a:ext uri="{FF2B5EF4-FFF2-40B4-BE49-F238E27FC236}">
                <a16:creationId xmlns:a16="http://schemas.microsoft.com/office/drawing/2014/main" id="{5E2F8AFF-8516-1C92-C7B7-400746F821E7}"/>
              </a:ext>
            </a:extLst>
          </p:cNvPr>
          <p:cNvSpPr/>
          <p:nvPr/>
        </p:nvSpPr>
        <p:spPr>
          <a:xfrm>
            <a:off x="1519359"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Uzliesmojoša gāze</a:t>
            </a:r>
          </a:p>
        </p:txBody>
      </p:sp>
      <p:sp>
        <p:nvSpPr>
          <p:cNvPr id="16" name="Rectangle 15">
            <a:extLst>
              <a:ext uri="{FF2B5EF4-FFF2-40B4-BE49-F238E27FC236}">
                <a16:creationId xmlns:a16="http://schemas.microsoft.com/office/drawing/2014/main" id="{20E7B685-6395-D9E9-05F4-223BBFFAAF4A}"/>
              </a:ext>
            </a:extLst>
          </p:cNvPr>
          <p:cNvSpPr/>
          <p:nvPr/>
        </p:nvSpPr>
        <p:spPr>
          <a:xfrm>
            <a:off x="5407146"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sz="1400" b="1">
                <a:solidFill>
                  <a:schemeClr val="tx1"/>
                </a:solidFill>
              </a:rPr>
              <a:t>Uzliesmojoši šķidrumi</a:t>
            </a:r>
            <a:endParaRPr lang="cs-CZ" sz="1400">
              <a:solidFill>
                <a:schemeClr val="tx1"/>
              </a:solidFill>
            </a:endParaRPr>
          </a:p>
        </p:txBody>
      </p:sp>
      <p:sp>
        <p:nvSpPr>
          <p:cNvPr id="18" name="Rectangle 17">
            <a:extLst>
              <a:ext uri="{FF2B5EF4-FFF2-40B4-BE49-F238E27FC236}">
                <a16:creationId xmlns:a16="http://schemas.microsoft.com/office/drawing/2014/main" id="{8BE823A5-7D87-F038-1369-6C300C9766E4}"/>
              </a:ext>
            </a:extLst>
          </p:cNvPr>
          <p:cNvSpPr/>
          <p:nvPr/>
        </p:nvSpPr>
        <p:spPr>
          <a:xfrm>
            <a:off x="9294934"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Vielas, kas saskarē ar ūdeni emitē uzliesmojošas gāzes</a:t>
            </a:r>
            <a:endParaRPr lang="cs-CZ" sz="1400">
              <a:solidFill>
                <a:schemeClr val="tx1"/>
              </a:solidFill>
            </a:endParaRPr>
          </a:p>
        </p:txBody>
      </p:sp>
      <p:sp>
        <p:nvSpPr>
          <p:cNvPr id="20" name="Rectangle 19">
            <a:extLst>
              <a:ext uri="{FF2B5EF4-FFF2-40B4-BE49-F238E27FC236}">
                <a16:creationId xmlns:a16="http://schemas.microsoft.com/office/drawing/2014/main" id="{9D2FB976-57F3-0D62-8878-EE099FF840F9}"/>
              </a:ext>
            </a:extLst>
          </p:cNvPr>
          <p:cNvSpPr/>
          <p:nvPr/>
        </p:nvSpPr>
        <p:spPr>
          <a:xfrm>
            <a:off x="1519359"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fi-FI" sz="1400" b="1">
                <a:solidFill>
                  <a:schemeClr val="tx1"/>
                </a:solidFill>
              </a:rPr>
              <a:t>Nedegošs, netoksiskas gāzes</a:t>
            </a:r>
            <a:endParaRPr lang="cs-CZ" sz="1400">
              <a:solidFill>
                <a:schemeClr val="tx1"/>
              </a:solidFill>
            </a:endParaRPr>
          </a:p>
        </p:txBody>
      </p:sp>
      <p:sp>
        <p:nvSpPr>
          <p:cNvPr id="24" name="Rectangle 23">
            <a:extLst>
              <a:ext uri="{FF2B5EF4-FFF2-40B4-BE49-F238E27FC236}">
                <a16:creationId xmlns:a16="http://schemas.microsoft.com/office/drawing/2014/main" id="{66F3CAC4-6726-C4A8-8A1D-F9C3A9D11719}"/>
              </a:ext>
            </a:extLst>
          </p:cNvPr>
          <p:cNvSpPr/>
          <p:nvPr/>
        </p:nvSpPr>
        <p:spPr>
          <a:xfrm>
            <a:off x="5407146" y="3673076"/>
            <a:ext cx="2452566" cy="123580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sz="1400" b="1">
                <a:solidFill>
                  <a:schemeClr val="tx1"/>
                </a:solidFill>
              </a:rPr>
              <a:t>Uzliesmojošas cietas vielas, pašreaģējošas vielas un cietas,</a:t>
            </a:r>
            <a:r>
              <a:rPr lang="en-US" sz="1400" b="1">
                <a:solidFill>
                  <a:schemeClr val="tx1"/>
                </a:solidFill>
              </a:rPr>
              <a:t> </a:t>
            </a:r>
            <a:r>
              <a:rPr lang="lv-LV" sz="1400" b="1">
                <a:solidFill>
                  <a:schemeClr val="tx1"/>
                </a:solidFill>
              </a:rPr>
              <a:t>desensibilizētas sprāgstvielas</a:t>
            </a:r>
            <a:endParaRPr lang="cs-CZ" sz="1400">
              <a:solidFill>
                <a:schemeClr val="tx1"/>
              </a:solidFill>
            </a:endParaRPr>
          </a:p>
        </p:txBody>
      </p:sp>
      <p:sp>
        <p:nvSpPr>
          <p:cNvPr id="26" name="Rectangle 25">
            <a:extLst>
              <a:ext uri="{FF2B5EF4-FFF2-40B4-BE49-F238E27FC236}">
                <a16:creationId xmlns:a16="http://schemas.microsoft.com/office/drawing/2014/main" id="{C876B112-FA82-C13B-EBF1-8201C2326E0D}"/>
              </a:ext>
            </a:extLst>
          </p:cNvPr>
          <p:cNvSpPr/>
          <p:nvPr/>
        </p:nvSpPr>
        <p:spPr>
          <a:xfrm>
            <a:off x="9294934"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Oksidējoša viela</a:t>
            </a:r>
            <a:endParaRPr lang="cs-CZ" sz="1400">
              <a:solidFill>
                <a:schemeClr val="tx1"/>
              </a:solidFill>
            </a:endParaRPr>
          </a:p>
        </p:txBody>
      </p:sp>
      <p:sp>
        <p:nvSpPr>
          <p:cNvPr id="28" name="Rectangle 27">
            <a:extLst>
              <a:ext uri="{FF2B5EF4-FFF2-40B4-BE49-F238E27FC236}">
                <a16:creationId xmlns:a16="http://schemas.microsoft.com/office/drawing/2014/main" id="{597AB2E4-38CA-419C-BBB3-C5ACDD34CAF9}"/>
              </a:ext>
            </a:extLst>
          </p:cNvPr>
          <p:cNvSpPr/>
          <p:nvPr/>
        </p:nvSpPr>
        <p:spPr>
          <a:xfrm>
            <a:off x="1519359" y="4735974"/>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sz="1400" b="1">
                <a:solidFill>
                  <a:schemeClr val="tx1"/>
                </a:solidFill>
              </a:rPr>
              <a:t>Toksiskas gāzes</a:t>
            </a:r>
            <a:endParaRPr lang="cs-CZ" sz="1400">
              <a:solidFill>
                <a:schemeClr val="tx1"/>
              </a:solidFill>
            </a:endParaRPr>
          </a:p>
        </p:txBody>
      </p:sp>
      <p:pic>
        <p:nvPicPr>
          <p:cNvPr id="32" name="Picture 6">
            <a:extLst>
              <a:ext uri="{FF2B5EF4-FFF2-40B4-BE49-F238E27FC236}">
                <a16:creationId xmlns:a16="http://schemas.microsoft.com/office/drawing/2014/main" id="{2DBE8060-C9B7-5D25-2D25-26D4E793150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332288" y="4735050"/>
            <a:ext cx="903288" cy="903288"/>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F5EA1389-EB59-0246-F45B-C9F03B6773F8}"/>
              </a:ext>
            </a:extLst>
          </p:cNvPr>
          <p:cNvSpPr/>
          <p:nvPr/>
        </p:nvSpPr>
        <p:spPr>
          <a:xfrm>
            <a:off x="5408734" y="5068952"/>
            <a:ext cx="2452566" cy="56938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sz="1400" b="1">
                <a:solidFill>
                  <a:schemeClr val="tx1"/>
                </a:solidFill>
              </a:rPr>
              <a:t>Vielas, kas var pašuzliesmoties</a:t>
            </a:r>
            <a:endParaRPr lang="cs-CZ" sz="1400">
              <a:solidFill>
                <a:schemeClr val="tx1"/>
              </a:solidFill>
            </a:endParaRPr>
          </a:p>
        </p:txBody>
      </p:sp>
      <p:pic>
        <p:nvPicPr>
          <p:cNvPr id="34" name="Picture 6">
            <a:extLst>
              <a:ext uri="{FF2B5EF4-FFF2-40B4-BE49-F238E27FC236}">
                <a16:creationId xmlns:a16="http://schemas.microsoft.com/office/drawing/2014/main" id="{90B3F134-0322-1582-BF3E-F9EE799F546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221663" y="4734588"/>
            <a:ext cx="903288" cy="903288"/>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8B4177CB-AEA6-8A8F-2AA0-C72692F574BF}"/>
              </a:ext>
            </a:extLst>
          </p:cNvPr>
          <p:cNvSpPr/>
          <p:nvPr/>
        </p:nvSpPr>
        <p:spPr>
          <a:xfrm>
            <a:off x="9298109" y="473505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sz="1400" b="1">
                <a:solidFill>
                  <a:schemeClr val="tx1"/>
                </a:solidFill>
              </a:rPr>
              <a:t>Organiskie peroksīdi</a:t>
            </a:r>
            <a:endParaRPr lang="cs-CZ" sz="1400">
              <a:solidFill>
                <a:schemeClr val="tx1"/>
              </a:solidFill>
            </a:endParaRPr>
          </a:p>
        </p:txBody>
      </p:sp>
      <p:pic>
        <p:nvPicPr>
          <p:cNvPr id="1040" name="Picture 16">
            <a:extLst>
              <a:ext uri="{FF2B5EF4-FFF2-40B4-BE49-F238E27FC236}">
                <a16:creationId xmlns:a16="http://schemas.microsoft.com/office/drawing/2014/main" id="{33FF55A4-2D7C-5F8E-B46B-6D6400AE2FF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332288" y="473505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a:extLst>
              <a:ext uri="{FF2B5EF4-FFF2-40B4-BE49-F238E27FC236}">
                <a16:creationId xmlns:a16="http://schemas.microsoft.com/office/drawing/2014/main" id="{D436AD83-7DBC-7C13-BDB3-B8704722EE7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221663" y="473458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72161DA4-33A9-7614-2021-C0FCAB10056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42913"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19314192-BEC6-CB09-698D-77C3DE9A8753}"/>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42913"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a:extLst>
              <a:ext uri="{FF2B5EF4-FFF2-40B4-BE49-F238E27FC236}">
                <a16:creationId xmlns:a16="http://schemas.microsoft.com/office/drawing/2014/main" id="{C4941EC2-884D-63E1-56D3-543EC42CF87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42913" y="4735512"/>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a:extLst>
              <a:ext uri="{FF2B5EF4-FFF2-40B4-BE49-F238E27FC236}">
                <a16:creationId xmlns:a16="http://schemas.microsoft.com/office/drawing/2014/main" id="{B707C136-FE50-EE50-1360-47629631F988}"/>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330700"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a:extLst>
              <a:ext uri="{FF2B5EF4-FFF2-40B4-BE49-F238E27FC236}">
                <a16:creationId xmlns:a16="http://schemas.microsoft.com/office/drawing/2014/main" id="{6A7C1FC4-F450-46DA-DF12-3215CFF1C60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330700"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a:extLst>
              <a:ext uri="{FF2B5EF4-FFF2-40B4-BE49-F238E27FC236}">
                <a16:creationId xmlns:a16="http://schemas.microsoft.com/office/drawing/2014/main" id="{725BE800-126E-7BFF-051F-894AD582260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332288" y="473505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a:extLst>
              <a:ext uri="{FF2B5EF4-FFF2-40B4-BE49-F238E27FC236}">
                <a16:creationId xmlns:a16="http://schemas.microsoft.com/office/drawing/2014/main" id="{00B586EC-A8A1-BFE1-FC9E-7983A0F32CCD}"/>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218026" y="261018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a:extLst>
              <a:ext uri="{FF2B5EF4-FFF2-40B4-BE49-F238E27FC236}">
                <a16:creationId xmlns:a16="http://schemas.microsoft.com/office/drawing/2014/main" id="{F1D9A8CD-1D0E-34A9-88B6-085BE07C168D}"/>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218026"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3090" name="Picture 18">
            <a:extLst>
              <a:ext uri="{FF2B5EF4-FFF2-40B4-BE49-F238E27FC236}">
                <a16:creationId xmlns:a16="http://schemas.microsoft.com/office/drawing/2014/main" id="{C43281D1-B1D4-A59E-45E0-6822F3627FA7}"/>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8221663" y="4734588"/>
            <a:ext cx="903288" cy="903288"/>
          </a:xfrm>
          <a:prstGeom prst="rect">
            <a:avLst/>
          </a:prstGeom>
          <a:noFill/>
          <a:extLst>
            <a:ext uri="{909E8E84-426E-40DD-AFC4-6F175D3DCCD1}">
              <a14:hiddenFill xmlns:a14="http://schemas.microsoft.com/office/drawing/2010/main">
                <a:solidFill>
                  <a:srgbClr val="FFFFFF"/>
                </a:solidFill>
              </a14:hiddenFill>
            </a:ext>
          </a:extLst>
        </p:spPr>
      </p:pic>
      <p:grpSp>
        <p:nvGrpSpPr>
          <p:cNvPr id="27" name="Group 26">
            <a:extLst>
              <a:ext uri="{FF2B5EF4-FFF2-40B4-BE49-F238E27FC236}">
                <a16:creationId xmlns:a16="http://schemas.microsoft.com/office/drawing/2014/main" id="{0F4393FB-11CE-58E1-3682-CFFC5AB82A8F}"/>
              </a:ext>
            </a:extLst>
          </p:cNvPr>
          <p:cNvGrpSpPr/>
          <p:nvPr/>
        </p:nvGrpSpPr>
        <p:grpSpPr>
          <a:xfrm>
            <a:off x="8801454" y="159786"/>
            <a:ext cx="2947634" cy="217488"/>
            <a:chOff x="8559627" y="684914"/>
            <a:chExt cx="2947634" cy="217488"/>
          </a:xfrm>
        </p:grpSpPr>
        <p:sp>
          <p:nvSpPr>
            <p:cNvPr id="31" name="Rectangle 30">
              <a:extLst>
                <a:ext uri="{FF2B5EF4-FFF2-40B4-BE49-F238E27FC236}">
                  <a16:creationId xmlns:a16="http://schemas.microsoft.com/office/drawing/2014/main" id="{EA8F4F7A-4618-A2B4-5BAC-A16793C60D50}"/>
                </a:ext>
              </a:extLst>
            </p:cNvPr>
            <p:cNvSpPr/>
            <p:nvPr/>
          </p:nvSpPr>
          <p:spPr>
            <a:xfrm>
              <a:off x="9285434" y="68491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5</a:t>
              </a:r>
              <a:r>
                <a:rPr kumimoji="0" lang="lv-LV" sz="800" b="1" i="0" u="none" strike="noStrike" kern="0" cap="none" spc="0" normalizeH="0" baseline="0" dirty="0">
                  <a:ln>
                    <a:noFill/>
                  </a:ln>
                  <a:effectLst/>
                  <a:uLnTx/>
                  <a:uFillTx/>
                  <a:ea typeface="Georgia"/>
                  <a:cs typeface="Georgia"/>
                  <a:sym typeface="Georgia"/>
                </a:rPr>
                <a:t>.</a:t>
              </a:r>
              <a:r>
                <a:rPr kumimoji="0" lang="en-US" sz="800" b="1" i="0" u="none" strike="noStrike" kern="0" cap="none" spc="0" normalizeH="0" baseline="0" dirty="0">
                  <a:ln>
                    <a:noFill/>
                  </a:ln>
                  <a:effectLst/>
                  <a:uLnTx/>
                  <a:uFillTx/>
                  <a:ea typeface="Georgia"/>
                  <a:cs typeface="Georgia"/>
                  <a:sym typeface="Georgia"/>
                </a:rPr>
                <a:t>4</a:t>
              </a:r>
              <a:endParaRPr kumimoji="0" lang="lv-LV" sz="800" b="1" i="0" u="none" strike="noStrike" kern="0" cap="none" spc="0" normalizeH="0" baseline="0" dirty="0">
                <a:ln>
                  <a:noFill/>
                </a:ln>
                <a:effectLst/>
                <a:uLnTx/>
                <a:uFillTx/>
                <a:ea typeface="Georgia"/>
                <a:cs typeface="Georgia"/>
                <a:sym typeface="Georgia"/>
              </a:endParaRPr>
            </a:p>
          </p:txBody>
        </p:sp>
        <p:sp>
          <p:nvSpPr>
            <p:cNvPr id="36" name="Rectangle 35">
              <a:extLst>
                <a:ext uri="{FF2B5EF4-FFF2-40B4-BE49-F238E27FC236}">
                  <a16:creationId xmlns:a16="http://schemas.microsoft.com/office/drawing/2014/main" id="{8A6947FF-F29B-9586-C194-4DCFE60FCF50}"/>
                </a:ext>
              </a:extLst>
            </p:cNvPr>
            <p:cNvSpPr/>
            <p:nvPr/>
          </p:nvSpPr>
          <p:spPr>
            <a:xfrm>
              <a:off x="9527261" y="684914"/>
              <a:ext cx="198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err="1">
                  <a:ln>
                    <a:noFill/>
                  </a:ln>
                  <a:effectLst/>
                  <a:uLnTx/>
                  <a:uFillTx/>
                  <a:ea typeface="Georgia"/>
                  <a:cs typeface="Georgia"/>
                  <a:sym typeface="Georgia"/>
                </a:rPr>
                <a:t>Drošības</a:t>
              </a:r>
              <a:r>
                <a:rPr kumimoji="0" lang="en-US" sz="800" b="1" i="0" u="none" strike="noStrike" kern="0" cap="none" spc="0" normalizeH="0" baseline="0" dirty="0">
                  <a:ln>
                    <a:noFill/>
                  </a:ln>
                  <a:effectLst/>
                  <a:uLnTx/>
                  <a:uFillTx/>
                  <a:ea typeface="Georgia"/>
                  <a:cs typeface="Georgia"/>
                  <a:sym typeface="Georgia"/>
                </a:rPr>
                <a:t> </a:t>
              </a:r>
              <a:r>
                <a:rPr kumimoji="0" lang="en-US" sz="800" b="1" i="0" u="none" strike="noStrike" kern="0" cap="none" spc="0" normalizeH="0" baseline="0" dirty="0" err="1">
                  <a:ln>
                    <a:noFill/>
                  </a:ln>
                  <a:effectLst/>
                  <a:uLnTx/>
                  <a:uFillTx/>
                  <a:ea typeface="Georgia"/>
                  <a:cs typeface="Georgia"/>
                  <a:sym typeface="Georgia"/>
                </a:rPr>
                <a:t>pasākumi</a:t>
              </a:r>
              <a:endParaRPr kumimoji="0" lang="en-US" sz="800" b="1" i="0" u="none" strike="noStrike" kern="0" cap="none" spc="0" normalizeH="0" baseline="0" dirty="0">
                <a:ln>
                  <a:noFill/>
                </a:ln>
                <a:effectLst/>
                <a:uLnTx/>
                <a:uFillTx/>
                <a:ea typeface="Georgia"/>
                <a:cs typeface="Georgia"/>
                <a:sym typeface="Georgia"/>
              </a:endParaRPr>
            </a:p>
          </p:txBody>
        </p:sp>
        <p:sp>
          <p:nvSpPr>
            <p:cNvPr id="37" name="Rectangle 36">
              <a:extLst>
                <a:ext uri="{FF2B5EF4-FFF2-40B4-BE49-F238E27FC236}">
                  <a16:creationId xmlns:a16="http://schemas.microsoft.com/office/drawing/2014/main" id="{7A184EBE-3BB3-074D-5015-660A96AE3B1C}"/>
                </a:ext>
              </a:extLst>
            </p:cNvPr>
            <p:cNvSpPr/>
            <p:nvPr/>
          </p:nvSpPr>
          <p:spPr>
            <a:xfrm>
              <a:off x="9043607"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3</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38" name="Rectangle 37">
              <a:extLst>
                <a:ext uri="{FF2B5EF4-FFF2-40B4-BE49-F238E27FC236}">
                  <a16:creationId xmlns:a16="http://schemas.microsoft.com/office/drawing/2014/main" id="{9E824175-D5D8-68A5-8E10-37A8A80E6C31}"/>
                </a:ext>
              </a:extLst>
            </p:cNvPr>
            <p:cNvSpPr/>
            <p:nvPr/>
          </p:nvSpPr>
          <p:spPr>
            <a:xfrm>
              <a:off x="8801780"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2</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39" name="Rectangle 38">
              <a:extLst>
                <a:ext uri="{FF2B5EF4-FFF2-40B4-BE49-F238E27FC236}">
                  <a16:creationId xmlns:a16="http://schemas.microsoft.com/office/drawing/2014/main" id="{BF985F01-82DA-EDF1-5754-A5C0DDE771AE}"/>
                </a:ext>
              </a:extLst>
            </p:cNvPr>
            <p:cNvSpPr/>
            <p:nvPr/>
          </p:nvSpPr>
          <p:spPr>
            <a:xfrm>
              <a:off x="8559627"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6144827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5D354441-3398-ED54-AEFF-7F0A277FB096}"/>
              </a:ext>
            </a:extLst>
          </p:cNvPr>
          <p:cNvGraphicFramePr>
            <a:graphicFrameLocks noChangeAspect="1"/>
          </p:cNvGraphicFramePr>
          <p:nvPr>
            <p:custDataLst>
              <p:tags r:id="rId1"/>
            </p:custDataLst>
            <p:extLst>
              <p:ext uri="{D42A27DB-BD31-4B8C-83A1-F6EECF244321}">
                <p14:modId xmlns:p14="http://schemas.microsoft.com/office/powerpoint/2010/main" val="2711929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5" name="think-cell data - do not delete" hidden="1">
                        <a:extLst>
                          <a:ext uri="{FF2B5EF4-FFF2-40B4-BE49-F238E27FC236}">
                            <a16:creationId xmlns:a16="http://schemas.microsoft.com/office/drawing/2014/main" id="{5D354441-3398-ED54-AEFF-7F0A277FB0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0" name="Picture 14">
            <a:extLst>
              <a:ext uri="{FF2B5EF4-FFF2-40B4-BE49-F238E27FC236}">
                <a16:creationId xmlns:a16="http://schemas.microsoft.com/office/drawing/2014/main" id="{20FF5D6B-8429-26E6-1AC6-0C53FB749D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18026"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2">
            <a:extLst>
              <a:ext uri="{FF2B5EF4-FFF2-40B4-BE49-F238E27FC236}">
                <a16:creationId xmlns:a16="http://schemas.microsoft.com/office/drawing/2014/main" id="{7D4EA19A-E5E9-5060-9B67-CF5C7F97BFA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18026" y="261018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0">
            <a:extLst>
              <a:ext uri="{FF2B5EF4-FFF2-40B4-BE49-F238E27FC236}">
                <a16:creationId xmlns:a16="http://schemas.microsoft.com/office/drawing/2014/main" id="{504AE88C-01EE-B1C1-498B-F1DB1F439EA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30700"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a:extLst>
              <a:ext uri="{FF2B5EF4-FFF2-40B4-BE49-F238E27FC236}">
                <a16:creationId xmlns:a16="http://schemas.microsoft.com/office/drawing/2014/main" id="{E2432BB5-B2D6-A42F-BE91-B54EF6711FF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30700"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a:extLst>
              <a:ext uri="{FF2B5EF4-FFF2-40B4-BE49-F238E27FC236}">
                <a16:creationId xmlns:a16="http://schemas.microsoft.com/office/drawing/2014/main" id="{D46DB20E-3092-9884-1BE1-214FE7003CC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2913" y="4735512"/>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E69AB8D5-8D18-040D-756D-904501799EF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42913"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949AFA23-10A1-1D10-48D6-DC0FE702EBA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42913" y="2609718"/>
            <a:ext cx="903288" cy="90328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a:lstStyle/>
          <a:p>
            <a:r>
              <a:rPr lang="lv-LV" dirty="0"/>
              <a:t>Bīstamās vielas</a:t>
            </a:r>
            <a:br>
              <a:rPr lang="lv-LV"/>
            </a:br>
            <a:r>
              <a:rPr lang="lv-LV">
                <a:solidFill>
                  <a:srgbClr val="A8192D"/>
                </a:solidFill>
              </a:rPr>
              <a:t>Bīstamības simboli (</a:t>
            </a:r>
            <a:r>
              <a:rPr lang="en-US">
                <a:solidFill>
                  <a:srgbClr val="A8192D"/>
                </a:solidFill>
              </a:rPr>
              <a:t>5</a:t>
            </a:r>
            <a:r>
              <a:rPr lang="lv-LV">
                <a:solidFill>
                  <a:srgbClr val="A8192D"/>
                </a:solidFill>
              </a:rPr>
              <a:t>/</a:t>
            </a:r>
            <a:r>
              <a:rPr lang="en-US">
                <a:solidFill>
                  <a:srgbClr val="A8192D"/>
                </a:solidFill>
              </a:rPr>
              <a:t>5</a:t>
            </a:r>
            <a:r>
              <a:rPr lang="lv-LV">
                <a:solidFill>
                  <a:srgbClr val="A8192D"/>
                </a:solidFill>
              </a:rPr>
              <a:t>)</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a:lstStyle/>
          <a:p>
            <a:fld id="{7870704B-CE94-48CC-AF30-84932A1262A7}" type="slidenum">
              <a:rPr lang="en-GB" smtClean="0"/>
              <a:pPr/>
              <a:t>31</a:t>
            </a:fld>
            <a:endParaRPr lang="en-GB"/>
          </a:p>
        </p:txBody>
      </p:sp>
      <p:sp>
        <p:nvSpPr>
          <p:cNvPr id="3" name="Rectangle 2">
            <a:extLst>
              <a:ext uri="{FF2B5EF4-FFF2-40B4-BE49-F238E27FC236}">
                <a16:creationId xmlns:a16="http://schemas.microsoft.com/office/drawing/2014/main" id="{E0279B2C-74FF-E6ED-4DD9-1A24B8ED5A06}"/>
              </a:ext>
            </a:extLst>
          </p:cNvPr>
          <p:cNvSpPr/>
          <p:nvPr/>
        </p:nvSpPr>
        <p:spPr>
          <a:xfrm>
            <a:off x="442913" y="1815438"/>
            <a:ext cx="10659287"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ADR pārvadājumu piktogrammas un bīstamības klase (</a:t>
            </a:r>
            <a:r>
              <a:rPr lang="en-US" sz="1600" b="1"/>
              <a:t>3</a:t>
            </a:r>
            <a:r>
              <a:rPr lang="lv-LV" sz="1600" b="1"/>
              <a:t>/</a:t>
            </a:r>
            <a:r>
              <a:rPr lang="en-US" sz="1600" b="1"/>
              <a:t>3</a:t>
            </a:r>
            <a:r>
              <a:rPr lang="lv-LV" sz="1600" b="1"/>
              <a:t>)</a:t>
            </a:r>
          </a:p>
        </p:txBody>
      </p:sp>
      <p:sp>
        <p:nvSpPr>
          <p:cNvPr id="6" name="Rectangle 5">
            <a:extLst>
              <a:ext uri="{FF2B5EF4-FFF2-40B4-BE49-F238E27FC236}">
                <a16:creationId xmlns:a16="http://schemas.microsoft.com/office/drawing/2014/main" id="{0C53E03C-DA29-42BE-4F26-04730904B12A}"/>
              </a:ext>
            </a:extLst>
          </p:cNvPr>
          <p:cNvSpPr/>
          <p:nvPr/>
        </p:nvSpPr>
        <p:spPr>
          <a:xfrm>
            <a:off x="11173088" y="1815438"/>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Rectangle 6">
            <a:extLst>
              <a:ext uri="{FF2B5EF4-FFF2-40B4-BE49-F238E27FC236}">
                <a16:creationId xmlns:a16="http://schemas.microsoft.com/office/drawing/2014/main" id="{40162B2D-745F-C3D4-1610-2ABF56FA413D}"/>
              </a:ext>
            </a:extLst>
          </p:cNvPr>
          <p:cNvSpPr/>
          <p:nvPr/>
        </p:nvSpPr>
        <p:spPr>
          <a:xfrm>
            <a:off x="11102200" y="1815438"/>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9" name="Google Shape;974;p84">
            <a:extLst>
              <a:ext uri="{FF2B5EF4-FFF2-40B4-BE49-F238E27FC236}">
                <a16:creationId xmlns:a16="http://schemas.microsoft.com/office/drawing/2014/main" id="{007E4D49-1D52-ECA8-9CF9-1EFAE236321C}"/>
              </a:ext>
            </a:extLst>
          </p:cNvPr>
          <p:cNvGrpSpPr/>
          <p:nvPr/>
        </p:nvGrpSpPr>
        <p:grpSpPr>
          <a:xfrm>
            <a:off x="11317088" y="1959438"/>
            <a:ext cx="288000" cy="288000"/>
            <a:chOff x="7458182" y="1867103"/>
            <a:chExt cx="457200" cy="457200"/>
          </a:xfrm>
          <a:solidFill>
            <a:schemeClr val="bg1"/>
          </a:solidFill>
        </p:grpSpPr>
        <p:sp>
          <p:nvSpPr>
            <p:cNvPr id="10" name="Google Shape;975;p84">
              <a:extLst>
                <a:ext uri="{FF2B5EF4-FFF2-40B4-BE49-F238E27FC236}">
                  <a16:creationId xmlns:a16="http://schemas.microsoft.com/office/drawing/2014/main" id="{02AD5569-6EC9-C953-730A-815CF881B637}"/>
                </a:ext>
              </a:extLst>
            </p:cNvPr>
            <p:cNvSpPr/>
            <p:nvPr/>
          </p:nvSpPr>
          <p:spPr>
            <a:xfrm>
              <a:off x="7458182" y="1867103"/>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sp>
          <p:nvSpPr>
            <p:cNvPr id="11" name="Google Shape;976;p84">
              <a:extLst>
                <a:ext uri="{FF2B5EF4-FFF2-40B4-BE49-F238E27FC236}">
                  <a16:creationId xmlns:a16="http://schemas.microsoft.com/office/drawing/2014/main" id="{7E8DF251-C4F4-B4E0-35D7-B30A10A49E99}"/>
                </a:ext>
              </a:extLst>
            </p:cNvPr>
            <p:cNvSpPr/>
            <p:nvPr/>
          </p:nvSpPr>
          <p:spPr>
            <a:xfrm>
              <a:off x="7563782" y="1923395"/>
              <a:ext cx="245618" cy="342773"/>
            </a:xfrm>
            <a:custGeom>
              <a:avLst/>
              <a:gdLst/>
              <a:ahLst/>
              <a:cxnLst/>
              <a:rect l="l" t="t" r="r" b="b"/>
              <a:pathLst>
                <a:path w="245618" h="342773" extrusionOk="0">
                  <a:moveTo>
                    <a:pt x="245618" y="44577"/>
                  </a:moveTo>
                  <a:lnTo>
                    <a:pt x="245618" y="25051"/>
                  </a:lnTo>
                  <a:lnTo>
                    <a:pt x="203168" y="25051"/>
                  </a:lnTo>
                  <a:lnTo>
                    <a:pt x="203168" y="0"/>
                  </a:lnTo>
                  <a:lnTo>
                    <a:pt x="147574" y="0"/>
                  </a:lnTo>
                  <a:lnTo>
                    <a:pt x="147574" y="25051"/>
                  </a:lnTo>
                  <a:lnTo>
                    <a:pt x="318" y="25051"/>
                  </a:lnTo>
                  <a:lnTo>
                    <a:pt x="318" y="44577"/>
                  </a:lnTo>
                  <a:lnTo>
                    <a:pt x="6445" y="44577"/>
                  </a:lnTo>
                  <a:lnTo>
                    <a:pt x="7525" y="117888"/>
                  </a:lnTo>
                  <a:lnTo>
                    <a:pt x="0" y="117888"/>
                  </a:lnTo>
                  <a:lnTo>
                    <a:pt x="0" y="137382"/>
                  </a:lnTo>
                  <a:lnTo>
                    <a:pt x="7811" y="137382"/>
                  </a:lnTo>
                  <a:lnTo>
                    <a:pt x="8985" y="225298"/>
                  </a:lnTo>
                  <a:lnTo>
                    <a:pt x="0" y="225298"/>
                  </a:lnTo>
                  <a:lnTo>
                    <a:pt x="0" y="244888"/>
                  </a:lnTo>
                  <a:lnTo>
                    <a:pt x="9525" y="244888"/>
                  </a:lnTo>
                  <a:lnTo>
                    <a:pt x="10668" y="323183"/>
                  </a:lnTo>
                  <a:lnTo>
                    <a:pt x="0" y="323183"/>
                  </a:lnTo>
                  <a:lnTo>
                    <a:pt x="0" y="342773"/>
                  </a:lnTo>
                  <a:lnTo>
                    <a:pt x="245491" y="342773"/>
                  </a:lnTo>
                  <a:lnTo>
                    <a:pt x="245491" y="323183"/>
                  </a:lnTo>
                  <a:lnTo>
                    <a:pt x="238347" y="323183"/>
                  </a:lnTo>
                  <a:lnTo>
                    <a:pt x="238665" y="244888"/>
                  </a:lnTo>
                  <a:lnTo>
                    <a:pt x="245491" y="244888"/>
                  </a:lnTo>
                  <a:lnTo>
                    <a:pt x="245491" y="225298"/>
                  </a:lnTo>
                  <a:lnTo>
                    <a:pt x="238760" y="225298"/>
                  </a:lnTo>
                  <a:lnTo>
                    <a:pt x="239141" y="137382"/>
                  </a:lnTo>
                  <a:lnTo>
                    <a:pt x="245491" y="137382"/>
                  </a:lnTo>
                  <a:lnTo>
                    <a:pt x="245491" y="117888"/>
                  </a:lnTo>
                  <a:lnTo>
                    <a:pt x="239141" y="117888"/>
                  </a:lnTo>
                  <a:lnTo>
                    <a:pt x="239459" y="44577"/>
                  </a:lnTo>
                  <a:close/>
                  <a:moveTo>
                    <a:pt x="161195" y="13716"/>
                  </a:moveTo>
                  <a:lnTo>
                    <a:pt x="189960" y="13716"/>
                  </a:lnTo>
                  <a:lnTo>
                    <a:pt x="189960" y="25019"/>
                  </a:lnTo>
                  <a:lnTo>
                    <a:pt x="161195" y="25019"/>
                  </a:lnTo>
                  <a:close/>
                  <a:moveTo>
                    <a:pt x="26035" y="44577"/>
                  </a:moveTo>
                  <a:lnTo>
                    <a:pt x="219901" y="44577"/>
                  </a:lnTo>
                  <a:lnTo>
                    <a:pt x="219901" y="117888"/>
                  </a:lnTo>
                  <a:lnTo>
                    <a:pt x="26765" y="117888"/>
                  </a:lnTo>
                  <a:close/>
                  <a:moveTo>
                    <a:pt x="26956" y="137382"/>
                  </a:moveTo>
                  <a:lnTo>
                    <a:pt x="220091" y="137382"/>
                  </a:lnTo>
                  <a:lnTo>
                    <a:pt x="220250" y="225235"/>
                  </a:lnTo>
                  <a:lnTo>
                    <a:pt x="27781" y="225235"/>
                  </a:lnTo>
                  <a:close/>
                  <a:moveTo>
                    <a:pt x="28734" y="322707"/>
                  </a:moveTo>
                  <a:lnTo>
                    <a:pt x="28035" y="244888"/>
                  </a:lnTo>
                  <a:lnTo>
                    <a:pt x="220345" y="244888"/>
                  </a:lnTo>
                  <a:lnTo>
                    <a:pt x="220345" y="322771"/>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grpSp>
      <p:sp>
        <p:nvSpPr>
          <p:cNvPr id="14" name="Rectangle 13">
            <a:extLst>
              <a:ext uri="{FF2B5EF4-FFF2-40B4-BE49-F238E27FC236}">
                <a16:creationId xmlns:a16="http://schemas.microsoft.com/office/drawing/2014/main" id="{5E2F8AFF-8516-1C92-C7B7-400746F821E7}"/>
              </a:ext>
            </a:extLst>
          </p:cNvPr>
          <p:cNvSpPr/>
          <p:nvPr/>
        </p:nvSpPr>
        <p:spPr>
          <a:xfrm>
            <a:off x="1519359"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Toksiskas vielas</a:t>
            </a:r>
          </a:p>
        </p:txBody>
      </p:sp>
      <p:sp>
        <p:nvSpPr>
          <p:cNvPr id="16" name="Rectangle 15">
            <a:extLst>
              <a:ext uri="{FF2B5EF4-FFF2-40B4-BE49-F238E27FC236}">
                <a16:creationId xmlns:a16="http://schemas.microsoft.com/office/drawing/2014/main" id="{20E7B685-6395-D9E9-05F4-223BBFFAAF4A}"/>
              </a:ext>
            </a:extLst>
          </p:cNvPr>
          <p:cNvSpPr/>
          <p:nvPr/>
        </p:nvSpPr>
        <p:spPr>
          <a:xfrm>
            <a:off x="5407146"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sz="1400" b="1">
                <a:solidFill>
                  <a:schemeClr val="tx1"/>
                </a:solidFill>
              </a:rPr>
              <a:t>Radioaktīvie materiāli</a:t>
            </a:r>
          </a:p>
          <a:p>
            <a:pPr>
              <a:lnSpc>
                <a:spcPct val="100000"/>
              </a:lnSpc>
            </a:pPr>
            <a:r>
              <a:rPr lang="lv-LV" sz="1400" b="1">
                <a:solidFill>
                  <a:schemeClr val="tx1"/>
                </a:solidFill>
              </a:rPr>
              <a:t>Kategorija I</a:t>
            </a:r>
            <a:endParaRPr lang="cs-CZ" sz="1400">
              <a:solidFill>
                <a:schemeClr val="tx1"/>
              </a:solidFill>
            </a:endParaRPr>
          </a:p>
        </p:txBody>
      </p:sp>
      <p:sp>
        <p:nvSpPr>
          <p:cNvPr id="18" name="Rectangle 17">
            <a:extLst>
              <a:ext uri="{FF2B5EF4-FFF2-40B4-BE49-F238E27FC236}">
                <a16:creationId xmlns:a16="http://schemas.microsoft.com/office/drawing/2014/main" id="{8BE823A5-7D87-F038-1369-6C300C9766E4}"/>
              </a:ext>
            </a:extLst>
          </p:cNvPr>
          <p:cNvSpPr/>
          <p:nvPr/>
        </p:nvSpPr>
        <p:spPr>
          <a:xfrm>
            <a:off x="9294934"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Bīstamības pakāpes apzīmējums</a:t>
            </a:r>
            <a:endParaRPr lang="cs-CZ" sz="1400">
              <a:solidFill>
                <a:schemeClr val="tx1"/>
              </a:solidFill>
            </a:endParaRPr>
          </a:p>
        </p:txBody>
      </p:sp>
      <p:sp>
        <p:nvSpPr>
          <p:cNvPr id="20" name="Rectangle 19">
            <a:extLst>
              <a:ext uri="{FF2B5EF4-FFF2-40B4-BE49-F238E27FC236}">
                <a16:creationId xmlns:a16="http://schemas.microsoft.com/office/drawing/2014/main" id="{9D2FB976-57F3-0D62-8878-EE099FF840F9}"/>
              </a:ext>
            </a:extLst>
          </p:cNvPr>
          <p:cNvSpPr/>
          <p:nvPr/>
        </p:nvSpPr>
        <p:spPr>
          <a:xfrm>
            <a:off x="1519359"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fi-FI" sz="1400" b="1">
                <a:solidFill>
                  <a:schemeClr val="tx1"/>
                </a:solidFill>
              </a:rPr>
              <a:t>Inde</a:t>
            </a:r>
            <a:endParaRPr lang="cs-CZ" sz="1400">
              <a:solidFill>
                <a:schemeClr val="tx1"/>
              </a:solidFill>
            </a:endParaRPr>
          </a:p>
        </p:txBody>
      </p:sp>
      <p:sp>
        <p:nvSpPr>
          <p:cNvPr id="24" name="Rectangle 23">
            <a:extLst>
              <a:ext uri="{FF2B5EF4-FFF2-40B4-BE49-F238E27FC236}">
                <a16:creationId xmlns:a16="http://schemas.microsoft.com/office/drawing/2014/main" id="{66F3CAC4-6726-C4A8-8A1D-F9C3A9D11719}"/>
              </a:ext>
            </a:extLst>
          </p:cNvPr>
          <p:cNvSpPr/>
          <p:nvPr/>
        </p:nvSpPr>
        <p:spPr>
          <a:xfrm>
            <a:off x="5407146" y="3673077"/>
            <a:ext cx="2452566" cy="9017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r>
              <a:rPr lang="lv-LV" sz="1400" b="1" dirty="0">
                <a:solidFill>
                  <a:schemeClr val="tx1"/>
                </a:solidFill>
              </a:rPr>
              <a:t>Radioaktīvie materiāli</a:t>
            </a:r>
          </a:p>
          <a:p>
            <a:pPr>
              <a:lnSpc>
                <a:spcPct val="100000"/>
              </a:lnSpc>
            </a:pPr>
            <a:r>
              <a:rPr lang="lv-LV" sz="1400" b="1" dirty="0">
                <a:solidFill>
                  <a:schemeClr val="tx1"/>
                </a:solidFill>
              </a:rPr>
              <a:t>Kategorija II</a:t>
            </a:r>
            <a:endParaRPr lang="cs-CZ" sz="1400" dirty="0">
              <a:solidFill>
                <a:schemeClr val="tx1"/>
              </a:solidFill>
            </a:endParaRPr>
          </a:p>
        </p:txBody>
      </p:sp>
      <p:sp>
        <p:nvSpPr>
          <p:cNvPr id="26" name="Rectangle 25">
            <a:extLst>
              <a:ext uri="{FF2B5EF4-FFF2-40B4-BE49-F238E27FC236}">
                <a16:creationId xmlns:a16="http://schemas.microsoft.com/office/drawing/2014/main" id="{C876B112-FA82-C13B-EBF1-8201C2326E0D}"/>
              </a:ext>
            </a:extLst>
          </p:cNvPr>
          <p:cNvSpPr/>
          <p:nvPr/>
        </p:nvSpPr>
        <p:spPr>
          <a:xfrm>
            <a:off x="9294934"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Kodīga viela</a:t>
            </a:r>
            <a:endParaRPr lang="cs-CZ" sz="1400">
              <a:solidFill>
                <a:schemeClr val="tx1"/>
              </a:solidFill>
            </a:endParaRPr>
          </a:p>
        </p:txBody>
      </p:sp>
      <p:sp>
        <p:nvSpPr>
          <p:cNvPr id="28" name="Rectangle 27">
            <a:extLst>
              <a:ext uri="{FF2B5EF4-FFF2-40B4-BE49-F238E27FC236}">
                <a16:creationId xmlns:a16="http://schemas.microsoft.com/office/drawing/2014/main" id="{597AB2E4-38CA-419C-BBB3-C5ACDD34CAF9}"/>
              </a:ext>
            </a:extLst>
          </p:cNvPr>
          <p:cNvSpPr/>
          <p:nvPr/>
        </p:nvSpPr>
        <p:spPr>
          <a:xfrm>
            <a:off x="1519359" y="4735974"/>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sz="1400" b="1">
                <a:solidFill>
                  <a:schemeClr val="tx1"/>
                </a:solidFill>
              </a:rPr>
              <a:t>Vielas, kas var izraisīt inficēšanos</a:t>
            </a:r>
            <a:endParaRPr lang="cs-CZ" sz="1400">
              <a:solidFill>
                <a:schemeClr val="tx1"/>
              </a:solidFill>
            </a:endParaRPr>
          </a:p>
        </p:txBody>
      </p:sp>
      <p:pic>
        <p:nvPicPr>
          <p:cNvPr id="32" name="Picture 6">
            <a:extLst>
              <a:ext uri="{FF2B5EF4-FFF2-40B4-BE49-F238E27FC236}">
                <a16:creationId xmlns:a16="http://schemas.microsoft.com/office/drawing/2014/main" id="{2DBE8060-C9B7-5D25-2D25-26D4E793150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332288" y="4735050"/>
            <a:ext cx="903288" cy="903288"/>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F5EA1389-EB59-0246-F45B-C9F03B6773F8}"/>
              </a:ext>
            </a:extLst>
          </p:cNvPr>
          <p:cNvSpPr/>
          <p:nvPr/>
        </p:nvSpPr>
        <p:spPr>
          <a:xfrm>
            <a:off x="5408734" y="4735512"/>
            <a:ext cx="2452566" cy="9028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r>
              <a:rPr lang="lv-LV" sz="1400" b="1" dirty="0">
                <a:solidFill>
                  <a:schemeClr val="tx1"/>
                </a:solidFill>
              </a:rPr>
              <a:t>Radioaktīvie materiāli</a:t>
            </a:r>
          </a:p>
          <a:p>
            <a:pPr>
              <a:lnSpc>
                <a:spcPct val="100000"/>
              </a:lnSpc>
            </a:pPr>
            <a:r>
              <a:rPr lang="lv-LV" sz="1400" b="1" dirty="0">
                <a:solidFill>
                  <a:schemeClr val="tx1"/>
                </a:solidFill>
              </a:rPr>
              <a:t>Kategorija III</a:t>
            </a:r>
            <a:endParaRPr lang="cs-CZ" sz="1400" dirty="0">
              <a:solidFill>
                <a:schemeClr val="tx1"/>
              </a:solidFill>
            </a:endParaRPr>
          </a:p>
        </p:txBody>
      </p:sp>
      <p:pic>
        <p:nvPicPr>
          <p:cNvPr id="34" name="Picture 6">
            <a:extLst>
              <a:ext uri="{FF2B5EF4-FFF2-40B4-BE49-F238E27FC236}">
                <a16:creationId xmlns:a16="http://schemas.microsoft.com/office/drawing/2014/main" id="{90B3F134-0322-1582-BF3E-F9EE799F546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221663" y="4734588"/>
            <a:ext cx="903288" cy="903288"/>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8B4177CB-AEA6-8A8F-2AA0-C72692F574BF}"/>
              </a:ext>
            </a:extLst>
          </p:cNvPr>
          <p:cNvSpPr/>
          <p:nvPr/>
        </p:nvSpPr>
        <p:spPr>
          <a:xfrm>
            <a:off x="9298109" y="473505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sz="1400" b="1">
                <a:solidFill>
                  <a:schemeClr val="tx1"/>
                </a:solidFill>
              </a:rPr>
              <a:t>Dažādas bīstamas vielas un izstrādājumi</a:t>
            </a:r>
            <a:endParaRPr lang="cs-CZ" sz="1400">
              <a:solidFill>
                <a:schemeClr val="tx1"/>
              </a:solidFill>
            </a:endParaRPr>
          </a:p>
        </p:txBody>
      </p:sp>
      <p:pic>
        <p:nvPicPr>
          <p:cNvPr id="1040" name="Picture 16">
            <a:extLst>
              <a:ext uri="{FF2B5EF4-FFF2-40B4-BE49-F238E27FC236}">
                <a16:creationId xmlns:a16="http://schemas.microsoft.com/office/drawing/2014/main" id="{33FF55A4-2D7C-5F8E-B46B-6D6400AE2FF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332288" y="473505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a:extLst>
              <a:ext uri="{FF2B5EF4-FFF2-40B4-BE49-F238E27FC236}">
                <a16:creationId xmlns:a16="http://schemas.microsoft.com/office/drawing/2014/main" id="{D436AD83-7DBC-7C13-BDB3-B8704722EE7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221663" y="473458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72161DA4-33A9-7614-2021-C0FCAB10056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42913"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19314192-BEC6-CB09-698D-77C3DE9A8753}"/>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42913"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a:extLst>
              <a:ext uri="{FF2B5EF4-FFF2-40B4-BE49-F238E27FC236}">
                <a16:creationId xmlns:a16="http://schemas.microsoft.com/office/drawing/2014/main" id="{C4941EC2-884D-63E1-56D3-543EC42CF87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42913" y="4735512"/>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a:extLst>
              <a:ext uri="{FF2B5EF4-FFF2-40B4-BE49-F238E27FC236}">
                <a16:creationId xmlns:a16="http://schemas.microsoft.com/office/drawing/2014/main" id="{B707C136-FE50-EE50-1360-47629631F988}"/>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330700"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a:extLst>
              <a:ext uri="{FF2B5EF4-FFF2-40B4-BE49-F238E27FC236}">
                <a16:creationId xmlns:a16="http://schemas.microsoft.com/office/drawing/2014/main" id="{6A7C1FC4-F450-46DA-DF12-3215CFF1C60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330700"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a:extLst>
              <a:ext uri="{FF2B5EF4-FFF2-40B4-BE49-F238E27FC236}">
                <a16:creationId xmlns:a16="http://schemas.microsoft.com/office/drawing/2014/main" id="{725BE800-126E-7BFF-051F-894AD582260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332288" y="473505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a:extLst>
              <a:ext uri="{FF2B5EF4-FFF2-40B4-BE49-F238E27FC236}">
                <a16:creationId xmlns:a16="http://schemas.microsoft.com/office/drawing/2014/main" id="{00B586EC-A8A1-BFE1-FC9E-7983A0F32CCD}"/>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218026" y="261018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a:extLst>
              <a:ext uri="{FF2B5EF4-FFF2-40B4-BE49-F238E27FC236}">
                <a16:creationId xmlns:a16="http://schemas.microsoft.com/office/drawing/2014/main" id="{F1D9A8CD-1D0E-34A9-88B6-085BE07C168D}"/>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218026"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3090" name="Picture 18">
            <a:extLst>
              <a:ext uri="{FF2B5EF4-FFF2-40B4-BE49-F238E27FC236}">
                <a16:creationId xmlns:a16="http://schemas.microsoft.com/office/drawing/2014/main" id="{C43281D1-B1D4-A59E-45E0-6822F3627FA7}"/>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8221663" y="473458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a:extLst>
              <a:ext uri="{FF2B5EF4-FFF2-40B4-BE49-F238E27FC236}">
                <a16:creationId xmlns:a16="http://schemas.microsoft.com/office/drawing/2014/main" id="{7F7D77DB-8E5A-03BA-81FB-6E81FE4DFFF4}"/>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42913"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a:extLst>
              <a:ext uri="{FF2B5EF4-FFF2-40B4-BE49-F238E27FC236}">
                <a16:creationId xmlns:a16="http://schemas.microsoft.com/office/drawing/2014/main" id="{B3CF1575-1DD8-9BD3-F4C9-99A7904C2A1C}"/>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2913"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12F4FC94-1C59-ACAA-C17E-5B530755346C}"/>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442913" y="4735512"/>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a:extLst>
              <a:ext uri="{FF2B5EF4-FFF2-40B4-BE49-F238E27FC236}">
                <a16:creationId xmlns:a16="http://schemas.microsoft.com/office/drawing/2014/main" id="{9C0BA7C8-DB9A-58EB-A917-04E6837FC415}"/>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4330700"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a:extLst>
              <a:ext uri="{FF2B5EF4-FFF2-40B4-BE49-F238E27FC236}">
                <a16:creationId xmlns:a16="http://schemas.microsoft.com/office/drawing/2014/main" id="{002C77DA-CCA0-7AAB-9C96-8321FAAC6425}"/>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4330700"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a:extLst>
              <a:ext uri="{FF2B5EF4-FFF2-40B4-BE49-F238E27FC236}">
                <a16:creationId xmlns:a16="http://schemas.microsoft.com/office/drawing/2014/main" id="{1D5D0237-0E11-70F1-B629-027884656C0A}"/>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4332288" y="473505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4110" name="Picture 14">
            <a:extLst>
              <a:ext uri="{FF2B5EF4-FFF2-40B4-BE49-F238E27FC236}">
                <a16:creationId xmlns:a16="http://schemas.microsoft.com/office/drawing/2014/main" id="{E1685A70-2D0E-9EA7-C310-D297D418F0CB}"/>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8218026" y="261018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4112" name="Picture 16">
            <a:extLst>
              <a:ext uri="{FF2B5EF4-FFF2-40B4-BE49-F238E27FC236}">
                <a16:creationId xmlns:a16="http://schemas.microsoft.com/office/drawing/2014/main" id="{54FB053A-A72C-A79E-5A1F-3F496DD94A30}"/>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8218026"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4114" name="Picture 18">
            <a:extLst>
              <a:ext uri="{FF2B5EF4-FFF2-40B4-BE49-F238E27FC236}">
                <a16:creationId xmlns:a16="http://schemas.microsoft.com/office/drawing/2014/main" id="{934449C3-7AF3-57A2-B52D-1AB265DF0A48}"/>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8221663" y="4734588"/>
            <a:ext cx="903288" cy="903288"/>
          </a:xfrm>
          <a:prstGeom prst="rect">
            <a:avLst/>
          </a:prstGeom>
          <a:noFill/>
          <a:extLst>
            <a:ext uri="{909E8E84-426E-40DD-AFC4-6F175D3DCCD1}">
              <a14:hiddenFill xmlns:a14="http://schemas.microsoft.com/office/drawing/2010/main">
                <a:solidFill>
                  <a:srgbClr val="FFFFFF"/>
                </a:solidFill>
              </a14:hiddenFill>
            </a:ext>
          </a:extLst>
        </p:spPr>
      </p:pic>
      <p:grpSp>
        <p:nvGrpSpPr>
          <p:cNvPr id="27" name="Group 26">
            <a:extLst>
              <a:ext uri="{FF2B5EF4-FFF2-40B4-BE49-F238E27FC236}">
                <a16:creationId xmlns:a16="http://schemas.microsoft.com/office/drawing/2014/main" id="{AF44BACB-724E-EA07-1F6C-99BC65690AB0}"/>
              </a:ext>
            </a:extLst>
          </p:cNvPr>
          <p:cNvGrpSpPr/>
          <p:nvPr/>
        </p:nvGrpSpPr>
        <p:grpSpPr>
          <a:xfrm>
            <a:off x="8801454" y="159786"/>
            <a:ext cx="2947634" cy="217488"/>
            <a:chOff x="8559627" y="684914"/>
            <a:chExt cx="2947634" cy="217488"/>
          </a:xfrm>
        </p:grpSpPr>
        <p:sp>
          <p:nvSpPr>
            <p:cNvPr id="31" name="Rectangle 30">
              <a:extLst>
                <a:ext uri="{FF2B5EF4-FFF2-40B4-BE49-F238E27FC236}">
                  <a16:creationId xmlns:a16="http://schemas.microsoft.com/office/drawing/2014/main" id="{3ACF8C44-DE89-B8DB-7EDE-A1F55A5D094D}"/>
                </a:ext>
              </a:extLst>
            </p:cNvPr>
            <p:cNvSpPr/>
            <p:nvPr/>
          </p:nvSpPr>
          <p:spPr>
            <a:xfrm>
              <a:off x="9285434" y="68491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5</a:t>
              </a:r>
              <a:r>
                <a:rPr kumimoji="0" lang="lv-LV" sz="800" b="1" i="0" u="none" strike="noStrike" kern="0" cap="none" spc="0" normalizeH="0" baseline="0" dirty="0">
                  <a:ln>
                    <a:noFill/>
                  </a:ln>
                  <a:effectLst/>
                  <a:uLnTx/>
                  <a:uFillTx/>
                  <a:ea typeface="Georgia"/>
                  <a:cs typeface="Georgia"/>
                  <a:sym typeface="Georgia"/>
                </a:rPr>
                <a:t>.</a:t>
              </a:r>
              <a:r>
                <a:rPr kumimoji="0" lang="en-US" sz="800" b="1" i="0" u="none" strike="noStrike" kern="0" cap="none" spc="0" normalizeH="0" baseline="0" dirty="0">
                  <a:ln>
                    <a:noFill/>
                  </a:ln>
                  <a:effectLst/>
                  <a:uLnTx/>
                  <a:uFillTx/>
                  <a:ea typeface="Georgia"/>
                  <a:cs typeface="Georgia"/>
                  <a:sym typeface="Georgia"/>
                </a:rPr>
                <a:t>4</a:t>
              </a:r>
              <a:endParaRPr kumimoji="0" lang="lv-LV" sz="800" b="1" i="0" u="none" strike="noStrike" kern="0" cap="none" spc="0" normalizeH="0" baseline="0" dirty="0">
                <a:ln>
                  <a:noFill/>
                </a:ln>
                <a:effectLst/>
                <a:uLnTx/>
                <a:uFillTx/>
                <a:ea typeface="Georgia"/>
                <a:cs typeface="Georgia"/>
                <a:sym typeface="Georgia"/>
              </a:endParaRPr>
            </a:p>
          </p:txBody>
        </p:sp>
        <p:sp>
          <p:nvSpPr>
            <p:cNvPr id="36" name="Rectangle 35">
              <a:extLst>
                <a:ext uri="{FF2B5EF4-FFF2-40B4-BE49-F238E27FC236}">
                  <a16:creationId xmlns:a16="http://schemas.microsoft.com/office/drawing/2014/main" id="{850A9F7F-3A61-5CC4-2A04-1A6742B655C1}"/>
                </a:ext>
              </a:extLst>
            </p:cNvPr>
            <p:cNvSpPr/>
            <p:nvPr/>
          </p:nvSpPr>
          <p:spPr>
            <a:xfrm>
              <a:off x="9527261" y="684914"/>
              <a:ext cx="198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err="1">
                  <a:ln>
                    <a:noFill/>
                  </a:ln>
                  <a:effectLst/>
                  <a:uLnTx/>
                  <a:uFillTx/>
                  <a:ea typeface="Georgia"/>
                  <a:cs typeface="Georgia"/>
                  <a:sym typeface="Georgia"/>
                </a:rPr>
                <a:t>Drošības</a:t>
              </a:r>
              <a:r>
                <a:rPr kumimoji="0" lang="en-US" sz="800" b="1" i="0" u="none" strike="noStrike" kern="0" cap="none" spc="0" normalizeH="0" baseline="0" dirty="0">
                  <a:ln>
                    <a:noFill/>
                  </a:ln>
                  <a:effectLst/>
                  <a:uLnTx/>
                  <a:uFillTx/>
                  <a:ea typeface="Georgia"/>
                  <a:cs typeface="Georgia"/>
                  <a:sym typeface="Georgia"/>
                </a:rPr>
                <a:t> </a:t>
              </a:r>
              <a:r>
                <a:rPr kumimoji="0" lang="en-US" sz="800" b="1" i="0" u="none" strike="noStrike" kern="0" cap="none" spc="0" normalizeH="0" baseline="0" dirty="0" err="1">
                  <a:ln>
                    <a:noFill/>
                  </a:ln>
                  <a:effectLst/>
                  <a:uLnTx/>
                  <a:uFillTx/>
                  <a:ea typeface="Georgia"/>
                  <a:cs typeface="Georgia"/>
                  <a:sym typeface="Georgia"/>
                </a:rPr>
                <a:t>pasākumi</a:t>
              </a:r>
              <a:endParaRPr kumimoji="0" lang="en-US" sz="800" b="1" i="0" u="none" strike="noStrike" kern="0" cap="none" spc="0" normalizeH="0" baseline="0" dirty="0">
                <a:ln>
                  <a:noFill/>
                </a:ln>
                <a:effectLst/>
                <a:uLnTx/>
                <a:uFillTx/>
                <a:ea typeface="Georgia"/>
                <a:cs typeface="Georgia"/>
                <a:sym typeface="Georgia"/>
              </a:endParaRPr>
            </a:p>
          </p:txBody>
        </p:sp>
        <p:sp>
          <p:nvSpPr>
            <p:cNvPr id="37" name="Rectangle 36">
              <a:extLst>
                <a:ext uri="{FF2B5EF4-FFF2-40B4-BE49-F238E27FC236}">
                  <a16:creationId xmlns:a16="http://schemas.microsoft.com/office/drawing/2014/main" id="{813FEBDF-BE55-F891-4590-1A66BBF5B1B5}"/>
                </a:ext>
              </a:extLst>
            </p:cNvPr>
            <p:cNvSpPr/>
            <p:nvPr/>
          </p:nvSpPr>
          <p:spPr>
            <a:xfrm>
              <a:off x="9043607"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3</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38" name="Rectangle 37">
              <a:extLst>
                <a:ext uri="{FF2B5EF4-FFF2-40B4-BE49-F238E27FC236}">
                  <a16:creationId xmlns:a16="http://schemas.microsoft.com/office/drawing/2014/main" id="{C5E72CAB-05D1-3B58-2E74-6EF60073F7A5}"/>
                </a:ext>
              </a:extLst>
            </p:cNvPr>
            <p:cNvSpPr/>
            <p:nvPr/>
          </p:nvSpPr>
          <p:spPr>
            <a:xfrm>
              <a:off x="8801780"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2</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39" name="Rectangle 38">
              <a:extLst>
                <a:ext uri="{FF2B5EF4-FFF2-40B4-BE49-F238E27FC236}">
                  <a16:creationId xmlns:a16="http://schemas.microsoft.com/office/drawing/2014/main" id="{B703312F-945C-4457-675E-F54C6FB69C53}"/>
                </a:ext>
              </a:extLst>
            </p:cNvPr>
            <p:cNvSpPr/>
            <p:nvPr/>
          </p:nvSpPr>
          <p:spPr>
            <a:xfrm>
              <a:off x="8559627"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3265843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think-cell data - do not delete" hidden="1">
            <a:extLst>
              <a:ext uri="{FF2B5EF4-FFF2-40B4-BE49-F238E27FC236}">
                <a16:creationId xmlns:a16="http://schemas.microsoft.com/office/drawing/2014/main" id="{97094552-2C76-1E33-7104-E74ADAA905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9" name="think-cell data - do not delete" hidden="1">
                        <a:extLst>
                          <a:ext uri="{FF2B5EF4-FFF2-40B4-BE49-F238E27FC236}">
                            <a16:creationId xmlns:a16="http://schemas.microsoft.com/office/drawing/2014/main" id="{97094552-2C76-1E33-7104-E74ADAA905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0" name="Rectangle 59">
            <a:extLst>
              <a:ext uri="{FF2B5EF4-FFF2-40B4-BE49-F238E27FC236}">
                <a16:creationId xmlns:a16="http://schemas.microsoft.com/office/drawing/2014/main" id="{D26F4813-E2C7-1CA3-6ABA-4A559715B8E4}"/>
              </a:ext>
            </a:extLst>
          </p:cNvPr>
          <p:cNvSpPr/>
          <p:nvPr/>
        </p:nvSpPr>
        <p:spPr>
          <a:xfrm>
            <a:off x="441745" y="4702181"/>
            <a:ext cx="576263" cy="1469904"/>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59" name="Rectangle 58">
            <a:extLst>
              <a:ext uri="{FF2B5EF4-FFF2-40B4-BE49-F238E27FC236}">
                <a16:creationId xmlns:a16="http://schemas.microsoft.com/office/drawing/2014/main" id="{E8789FC4-E697-5583-8EB2-7DA1310728A1}"/>
              </a:ext>
            </a:extLst>
          </p:cNvPr>
          <p:cNvSpPr/>
          <p:nvPr/>
        </p:nvSpPr>
        <p:spPr>
          <a:xfrm>
            <a:off x="441745" y="3635280"/>
            <a:ext cx="576263" cy="93913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57" name="Rectangle 56">
            <a:extLst>
              <a:ext uri="{FF2B5EF4-FFF2-40B4-BE49-F238E27FC236}">
                <a16:creationId xmlns:a16="http://schemas.microsoft.com/office/drawing/2014/main" id="{3A107691-96D8-EA96-6A42-A183BFD7286F}"/>
              </a:ext>
            </a:extLst>
          </p:cNvPr>
          <p:cNvSpPr/>
          <p:nvPr/>
        </p:nvSpPr>
        <p:spPr>
          <a:xfrm>
            <a:off x="441745" y="2886392"/>
            <a:ext cx="576263" cy="611564"/>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pic>
        <p:nvPicPr>
          <p:cNvPr id="42" name="Picture 41">
            <a:extLst>
              <a:ext uri="{FF2B5EF4-FFF2-40B4-BE49-F238E27FC236}">
                <a16:creationId xmlns:a16="http://schemas.microsoft.com/office/drawing/2014/main" id="{15659066-4EAD-1432-057B-EE1E3C243A7C}"/>
              </a:ext>
            </a:extLst>
          </p:cNvPr>
          <p:cNvPicPr>
            <a:picLocks noChangeAspect="1"/>
          </p:cNvPicPr>
          <p:nvPr/>
        </p:nvPicPr>
        <p:blipFill rotWithShape="1">
          <a:blip r:embed="rId6"/>
          <a:srcRect t="8724" b="-116"/>
          <a:stretch/>
        </p:blipFill>
        <p:spPr>
          <a:xfrm flipH="1">
            <a:off x="6852904" y="2520934"/>
            <a:ext cx="4896181" cy="2982840"/>
          </a:xfrm>
          <a:prstGeom prst="rect">
            <a:avLst/>
          </a:prstGeom>
          <a:ln>
            <a:noFill/>
          </a:ln>
          <a:effectLst/>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a:lstStyle/>
          <a:p>
            <a:r>
              <a:rPr lang="lv-LV" dirty="0"/>
              <a:t>Bīstamās vielas</a:t>
            </a:r>
            <a:br>
              <a:rPr lang="lv-LV" dirty="0"/>
            </a:br>
            <a:r>
              <a:rPr lang="lv-LV" dirty="0">
                <a:solidFill>
                  <a:srgbClr val="A8192D"/>
                </a:solidFill>
              </a:rPr>
              <a:t>Bīstamo vielu uzglabāšana</a:t>
            </a:r>
            <a:endParaRPr lang="en-GB" dirty="0">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a:lstStyle/>
          <a:p>
            <a:fld id="{7870704B-CE94-48CC-AF30-84932A1262A7}" type="slidenum">
              <a:rPr lang="en-GB" smtClean="0"/>
              <a:pPr/>
              <a:t>32</a:t>
            </a:fld>
            <a:endParaRPr lang="en-GB"/>
          </a:p>
        </p:txBody>
      </p:sp>
      <p:sp>
        <p:nvSpPr>
          <p:cNvPr id="3" name="Rectangle 2">
            <a:extLst>
              <a:ext uri="{FF2B5EF4-FFF2-40B4-BE49-F238E27FC236}">
                <a16:creationId xmlns:a16="http://schemas.microsoft.com/office/drawing/2014/main" id="{E0279B2C-74FF-E6ED-4DD9-1A24B8ED5A06}"/>
              </a:ext>
            </a:extLst>
          </p:cNvPr>
          <p:cNvSpPr/>
          <p:nvPr/>
        </p:nvSpPr>
        <p:spPr>
          <a:xfrm>
            <a:off x="442913" y="1819275"/>
            <a:ext cx="10659287"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b="1" dirty="0"/>
              <a:t>Rezervuārs ir veidojums (piemēram, tvertne, balons, baseins) kādas (parasti šķidras, gāzveida) vielas uzglabāšanai</a:t>
            </a:r>
          </a:p>
        </p:txBody>
      </p:sp>
      <p:sp>
        <p:nvSpPr>
          <p:cNvPr id="6" name="Rectangle 5">
            <a:extLst>
              <a:ext uri="{FF2B5EF4-FFF2-40B4-BE49-F238E27FC236}">
                <a16:creationId xmlns:a16="http://schemas.microsoft.com/office/drawing/2014/main" id="{0C53E03C-DA29-42BE-4F26-04730904B12A}"/>
              </a:ext>
            </a:extLst>
          </p:cNvPr>
          <p:cNvSpPr/>
          <p:nvPr/>
        </p:nvSpPr>
        <p:spPr>
          <a:xfrm>
            <a:off x="11173088" y="1819275"/>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Rectangle 6">
            <a:extLst>
              <a:ext uri="{FF2B5EF4-FFF2-40B4-BE49-F238E27FC236}">
                <a16:creationId xmlns:a16="http://schemas.microsoft.com/office/drawing/2014/main" id="{40162B2D-745F-C3D4-1610-2ABF56FA413D}"/>
              </a:ext>
            </a:extLst>
          </p:cNvPr>
          <p:cNvSpPr/>
          <p:nvPr/>
        </p:nvSpPr>
        <p:spPr>
          <a:xfrm>
            <a:off x="11102200" y="1819275"/>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9" name="Google Shape;974;p84">
            <a:extLst>
              <a:ext uri="{FF2B5EF4-FFF2-40B4-BE49-F238E27FC236}">
                <a16:creationId xmlns:a16="http://schemas.microsoft.com/office/drawing/2014/main" id="{007E4D49-1D52-ECA8-9CF9-1EFAE236321C}"/>
              </a:ext>
            </a:extLst>
          </p:cNvPr>
          <p:cNvGrpSpPr/>
          <p:nvPr/>
        </p:nvGrpSpPr>
        <p:grpSpPr>
          <a:xfrm>
            <a:off x="11317088" y="1963275"/>
            <a:ext cx="288000" cy="288000"/>
            <a:chOff x="7458182" y="1867103"/>
            <a:chExt cx="457200" cy="457200"/>
          </a:xfrm>
          <a:solidFill>
            <a:schemeClr val="bg1"/>
          </a:solidFill>
        </p:grpSpPr>
        <p:sp>
          <p:nvSpPr>
            <p:cNvPr id="10" name="Google Shape;975;p84">
              <a:extLst>
                <a:ext uri="{FF2B5EF4-FFF2-40B4-BE49-F238E27FC236}">
                  <a16:creationId xmlns:a16="http://schemas.microsoft.com/office/drawing/2014/main" id="{02AD5569-6EC9-C953-730A-815CF881B637}"/>
                </a:ext>
              </a:extLst>
            </p:cNvPr>
            <p:cNvSpPr/>
            <p:nvPr/>
          </p:nvSpPr>
          <p:spPr>
            <a:xfrm>
              <a:off x="7458182" y="1867103"/>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dirty="0">
                <a:solidFill>
                  <a:schemeClr val="dk2"/>
                </a:solidFill>
                <a:latin typeface="Arial"/>
                <a:ea typeface="Arial"/>
                <a:cs typeface="Arial"/>
                <a:sym typeface="Arial"/>
              </a:endParaRPr>
            </a:p>
          </p:txBody>
        </p:sp>
        <p:sp>
          <p:nvSpPr>
            <p:cNvPr id="11" name="Google Shape;976;p84">
              <a:extLst>
                <a:ext uri="{FF2B5EF4-FFF2-40B4-BE49-F238E27FC236}">
                  <a16:creationId xmlns:a16="http://schemas.microsoft.com/office/drawing/2014/main" id="{7E8DF251-C4F4-B4E0-35D7-B30A10A49E99}"/>
                </a:ext>
              </a:extLst>
            </p:cNvPr>
            <p:cNvSpPr/>
            <p:nvPr/>
          </p:nvSpPr>
          <p:spPr>
            <a:xfrm>
              <a:off x="7563782" y="1923395"/>
              <a:ext cx="245618" cy="342773"/>
            </a:xfrm>
            <a:custGeom>
              <a:avLst/>
              <a:gdLst/>
              <a:ahLst/>
              <a:cxnLst/>
              <a:rect l="l" t="t" r="r" b="b"/>
              <a:pathLst>
                <a:path w="245618" h="342773" extrusionOk="0">
                  <a:moveTo>
                    <a:pt x="245618" y="44577"/>
                  </a:moveTo>
                  <a:lnTo>
                    <a:pt x="245618" y="25051"/>
                  </a:lnTo>
                  <a:lnTo>
                    <a:pt x="203168" y="25051"/>
                  </a:lnTo>
                  <a:lnTo>
                    <a:pt x="203168" y="0"/>
                  </a:lnTo>
                  <a:lnTo>
                    <a:pt x="147574" y="0"/>
                  </a:lnTo>
                  <a:lnTo>
                    <a:pt x="147574" y="25051"/>
                  </a:lnTo>
                  <a:lnTo>
                    <a:pt x="318" y="25051"/>
                  </a:lnTo>
                  <a:lnTo>
                    <a:pt x="318" y="44577"/>
                  </a:lnTo>
                  <a:lnTo>
                    <a:pt x="6445" y="44577"/>
                  </a:lnTo>
                  <a:lnTo>
                    <a:pt x="7525" y="117888"/>
                  </a:lnTo>
                  <a:lnTo>
                    <a:pt x="0" y="117888"/>
                  </a:lnTo>
                  <a:lnTo>
                    <a:pt x="0" y="137382"/>
                  </a:lnTo>
                  <a:lnTo>
                    <a:pt x="7811" y="137382"/>
                  </a:lnTo>
                  <a:lnTo>
                    <a:pt x="8985" y="225298"/>
                  </a:lnTo>
                  <a:lnTo>
                    <a:pt x="0" y="225298"/>
                  </a:lnTo>
                  <a:lnTo>
                    <a:pt x="0" y="244888"/>
                  </a:lnTo>
                  <a:lnTo>
                    <a:pt x="9525" y="244888"/>
                  </a:lnTo>
                  <a:lnTo>
                    <a:pt x="10668" y="323183"/>
                  </a:lnTo>
                  <a:lnTo>
                    <a:pt x="0" y="323183"/>
                  </a:lnTo>
                  <a:lnTo>
                    <a:pt x="0" y="342773"/>
                  </a:lnTo>
                  <a:lnTo>
                    <a:pt x="245491" y="342773"/>
                  </a:lnTo>
                  <a:lnTo>
                    <a:pt x="245491" y="323183"/>
                  </a:lnTo>
                  <a:lnTo>
                    <a:pt x="238347" y="323183"/>
                  </a:lnTo>
                  <a:lnTo>
                    <a:pt x="238665" y="244888"/>
                  </a:lnTo>
                  <a:lnTo>
                    <a:pt x="245491" y="244888"/>
                  </a:lnTo>
                  <a:lnTo>
                    <a:pt x="245491" y="225298"/>
                  </a:lnTo>
                  <a:lnTo>
                    <a:pt x="238760" y="225298"/>
                  </a:lnTo>
                  <a:lnTo>
                    <a:pt x="239141" y="137382"/>
                  </a:lnTo>
                  <a:lnTo>
                    <a:pt x="245491" y="137382"/>
                  </a:lnTo>
                  <a:lnTo>
                    <a:pt x="245491" y="117888"/>
                  </a:lnTo>
                  <a:lnTo>
                    <a:pt x="239141" y="117888"/>
                  </a:lnTo>
                  <a:lnTo>
                    <a:pt x="239459" y="44577"/>
                  </a:lnTo>
                  <a:close/>
                  <a:moveTo>
                    <a:pt x="161195" y="13716"/>
                  </a:moveTo>
                  <a:lnTo>
                    <a:pt x="189960" y="13716"/>
                  </a:lnTo>
                  <a:lnTo>
                    <a:pt x="189960" y="25019"/>
                  </a:lnTo>
                  <a:lnTo>
                    <a:pt x="161195" y="25019"/>
                  </a:lnTo>
                  <a:close/>
                  <a:moveTo>
                    <a:pt x="26035" y="44577"/>
                  </a:moveTo>
                  <a:lnTo>
                    <a:pt x="219901" y="44577"/>
                  </a:lnTo>
                  <a:lnTo>
                    <a:pt x="219901" y="117888"/>
                  </a:lnTo>
                  <a:lnTo>
                    <a:pt x="26765" y="117888"/>
                  </a:lnTo>
                  <a:close/>
                  <a:moveTo>
                    <a:pt x="26956" y="137382"/>
                  </a:moveTo>
                  <a:lnTo>
                    <a:pt x="220091" y="137382"/>
                  </a:lnTo>
                  <a:lnTo>
                    <a:pt x="220250" y="225235"/>
                  </a:lnTo>
                  <a:lnTo>
                    <a:pt x="27781" y="225235"/>
                  </a:lnTo>
                  <a:close/>
                  <a:moveTo>
                    <a:pt x="28734" y="322707"/>
                  </a:moveTo>
                  <a:lnTo>
                    <a:pt x="28035" y="244888"/>
                  </a:lnTo>
                  <a:lnTo>
                    <a:pt x="220345" y="244888"/>
                  </a:lnTo>
                  <a:lnTo>
                    <a:pt x="220345" y="322771"/>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grpSp>
      <p:sp>
        <p:nvSpPr>
          <p:cNvPr id="5" name="TextBox 4">
            <a:extLst>
              <a:ext uri="{FF2B5EF4-FFF2-40B4-BE49-F238E27FC236}">
                <a16:creationId xmlns:a16="http://schemas.microsoft.com/office/drawing/2014/main" id="{3415E805-BB29-C8E5-0264-39FC3CEB3D24}"/>
              </a:ext>
            </a:extLst>
          </p:cNvPr>
          <p:cNvSpPr txBox="1"/>
          <p:nvPr/>
        </p:nvSpPr>
        <p:spPr>
          <a:xfrm>
            <a:off x="442913" y="2520934"/>
            <a:ext cx="9787328" cy="215444"/>
          </a:xfrm>
          <a:prstGeom prst="rect">
            <a:avLst/>
          </a:prstGeom>
          <a:noFill/>
        </p:spPr>
        <p:txBody>
          <a:bodyPr wrap="square" lIns="0" tIns="0" rIns="0" bIns="0" rtlCol="0">
            <a:spAutoFit/>
          </a:bodyPr>
          <a:lstStyle/>
          <a:p>
            <a:pPr>
              <a:lnSpc>
                <a:spcPct val="100000"/>
              </a:lnSpc>
              <a:spcAft>
                <a:spcPts val="600"/>
              </a:spcAft>
              <a:buSzPct val="100000"/>
            </a:pPr>
            <a:r>
              <a:rPr lang="lv-LV" sz="1400" b="1" dirty="0"/>
              <a:t>Rezervuārs sastāv no:</a:t>
            </a:r>
          </a:p>
        </p:txBody>
      </p:sp>
      <p:sp>
        <p:nvSpPr>
          <p:cNvPr id="14" name="Rectangle 13">
            <a:extLst>
              <a:ext uri="{FF2B5EF4-FFF2-40B4-BE49-F238E27FC236}">
                <a16:creationId xmlns:a16="http://schemas.microsoft.com/office/drawing/2014/main" id="{555D31B6-E980-5ABD-A65A-CAC83898C470}"/>
              </a:ext>
            </a:extLst>
          </p:cNvPr>
          <p:cNvSpPr/>
          <p:nvPr/>
        </p:nvSpPr>
        <p:spPr>
          <a:xfrm>
            <a:off x="6850859" y="5345523"/>
            <a:ext cx="4896180" cy="836601"/>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5" name="Freeform 50">
            <a:extLst>
              <a:ext uri="{FF2B5EF4-FFF2-40B4-BE49-F238E27FC236}">
                <a16:creationId xmlns:a16="http://schemas.microsoft.com/office/drawing/2014/main" id="{81EF1276-9768-891E-5441-13B579D9BD2D}"/>
              </a:ext>
            </a:extLst>
          </p:cNvPr>
          <p:cNvSpPr>
            <a:spLocks noChangeAspect="1"/>
          </p:cNvSpPr>
          <p:nvPr/>
        </p:nvSpPr>
        <p:spPr bwMode="auto">
          <a:xfrm>
            <a:off x="6982372" y="562221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6" name="Google Shape;2685;p25">
            <a:extLst>
              <a:ext uri="{FF2B5EF4-FFF2-40B4-BE49-F238E27FC236}">
                <a16:creationId xmlns:a16="http://schemas.microsoft.com/office/drawing/2014/main" id="{483878BB-B2CF-4CD3-02D6-8F5987A62C29}"/>
              </a:ext>
            </a:extLst>
          </p:cNvPr>
          <p:cNvSpPr txBox="1"/>
          <p:nvPr/>
        </p:nvSpPr>
        <p:spPr>
          <a:xfrm>
            <a:off x="7395241" y="5509907"/>
            <a:ext cx="4269194" cy="507831"/>
          </a:xfrm>
          <a:prstGeom prst="rect">
            <a:avLst/>
          </a:prstGeom>
          <a:noFill/>
          <a:ln>
            <a:noFill/>
          </a:ln>
        </p:spPr>
        <p:txBody>
          <a:bodyPr spcFirstLastPara="1" wrap="square" lIns="0" tIns="0" rIns="72000" bIns="0" anchor="ctr" anchorCtr="0">
            <a:spAutoFit/>
          </a:bodyPr>
          <a:lstStyle/>
          <a:p>
            <a:r>
              <a:rPr lang="lv-LV" sz="1100" dirty="0">
                <a:effectLst/>
                <a:hlinkClick r:id="rId7">
                  <a:extLst>
                    <a:ext uri="{A12FA001-AC4F-418D-AE19-62706E023703}">
                      <ahyp:hlinkClr xmlns:ahyp="http://schemas.microsoft.com/office/drawing/2018/hyperlinkcolor" val="tx"/>
                    </a:ext>
                  </a:extLst>
                </a:hlinkClick>
              </a:rPr>
              <a:t>Noteikumi par prasībām bīstamo ķīmisko vielu un ķīmisko preparātu (produktu) uzglabāšanas rezervuāru projektēšanai, uzstādīšanai, par to atbilstības novērtēšanas kārtību un tirgus uzraudzību</a:t>
            </a:r>
            <a:endParaRPr lang="lv-LV" sz="1100" dirty="0">
              <a:effectLst/>
            </a:endParaRPr>
          </a:p>
        </p:txBody>
      </p:sp>
      <p:sp>
        <p:nvSpPr>
          <p:cNvPr id="28" name="TextBox 27">
            <a:extLst>
              <a:ext uri="{FF2B5EF4-FFF2-40B4-BE49-F238E27FC236}">
                <a16:creationId xmlns:a16="http://schemas.microsoft.com/office/drawing/2014/main" id="{9201928C-2F2B-8E75-1875-70C541E578A8}"/>
              </a:ext>
            </a:extLst>
          </p:cNvPr>
          <p:cNvSpPr txBox="1"/>
          <p:nvPr/>
        </p:nvSpPr>
        <p:spPr>
          <a:xfrm>
            <a:off x="1107652" y="4790802"/>
            <a:ext cx="5568101" cy="1292662"/>
          </a:xfrm>
          <a:prstGeom prst="rect">
            <a:avLst/>
          </a:prstGeom>
          <a:noFill/>
        </p:spPr>
        <p:txBody>
          <a:bodyPr wrap="square" lIns="0" tIns="0" rIns="0" bIns="0">
            <a:spAutoFit/>
          </a:bodyPr>
          <a:lstStyle/>
          <a:p>
            <a:pPr marR="0" lvl="0" algn="l" defTabSz="914400" rtl="0" eaLnBrk="1" fontAlgn="auto" latinLnBrk="0" hangingPunct="1">
              <a:lnSpc>
                <a:spcPct val="100000"/>
              </a:lnSpc>
              <a:spcBef>
                <a:spcPts val="0"/>
              </a:spcBef>
              <a:spcAft>
                <a:spcPts val="600"/>
              </a:spcAft>
              <a:buClrTx/>
              <a:buSzPct val="100000"/>
              <a:tabLst/>
              <a:defRPr/>
            </a:pPr>
            <a:r>
              <a:rPr kumimoji="0" lang="lv-LV" sz="1400" b="0" i="0" u="none" strike="noStrike" kern="1200" cap="none" spc="0" normalizeH="0" baseline="0" noProof="0" dirty="0">
                <a:ln>
                  <a:noFill/>
                </a:ln>
                <a:solidFill>
                  <a:srgbClr val="000000"/>
                </a:solidFill>
                <a:effectLst/>
                <a:uLnTx/>
                <a:uFillTx/>
                <a:latin typeface="Arial"/>
                <a:ea typeface="+mn-ea"/>
                <a:cs typeface="+mn-cs"/>
              </a:rPr>
              <a:t>Otrās pakāpes necaurlaidīga norobežojuma – aizsargsistēmas, kas novērš uzglabājamās plūstošās vielas noplūdi augsnē vai gruntsūdeņos, ja tvertnei vai aprīkojumam ir radusies noplūde vai sūce. Aizsargsistēma ietver dubultsienas, sintētiskas membrānas joslas, sagatavotus zemes vaļņus, betona nožogojumus vai ekvivalentus materiālus, kas nodrošina noplūdušo vielu neizplatīšanos</a:t>
            </a:r>
          </a:p>
        </p:txBody>
      </p:sp>
      <p:sp>
        <p:nvSpPr>
          <p:cNvPr id="35" name="TextBox 34">
            <a:extLst>
              <a:ext uri="{FF2B5EF4-FFF2-40B4-BE49-F238E27FC236}">
                <a16:creationId xmlns:a16="http://schemas.microsoft.com/office/drawing/2014/main" id="{B8B91F5B-13B1-DB48-DDDB-48E540BD9140}"/>
              </a:ext>
            </a:extLst>
          </p:cNvPr>
          <p:cNvSpPr txBox="1"/>
          <p:nvPr/>
        </p:nvSpPr>
        <p:spPr>
          <a:xfrm>
            <a:off x="1107652" y="3713584"/>
            <a:ext cx="5569042" cy="782526"/>
          </a:xfrm>
          <a:prstGeom prst="rect">
            <a:avLst/>
          </a:prstGeom>
          <a:noFill/>
        </p:spPr>
        <p:txBody>
          <a:bodyPr wrap="square" lIns="0" tIns="0" rIns="0" bIns="0">
            <a:noAutofit/>
          </a:bodyPr>
          <a:lstStyle/>
          <a:p>
            <a:pPr marR="0" lvl="0" algn="l" defTabSz="914400" rtl="0" eaLnBrk="1" fontAlgn="auto" latinLnBrk="0" hangingPunct="1">
              <a:lnSpc>
                <a:spcPct val="100000"/>
              </a:lnSpc>
              <a:spcBef>
                <a:spcPts val="0"/>
              </a:spcBef>
              <a:spcAft>
                <a:spcPts val="600"/>
              </a:spcAft>
              <a:buClrTx/>
              <a:buSzPct val="100000"/>
              <a:tabLst/>
              <a:defRPr/>
            </a:pPr>
            <a:r>
              <a:rPr kumimoji="0" lang="lv-LV" sz="1400" b="0" i="0" u="none" strike="noStrike" kern="1200" cap="none" spc="0" normalizeH="0" baseline="0" noProof="0" dirty="0">
                <a:ln>
                  <a:noFill/>
                </a:ln>
                <a:solidFill>
                  <a:srgbClr val="000000"/>
                </a:solidFill>
                <a:effectLst/>
                <a:uLnTx/>
                <a:uFillTx/>
                <a:latin typeface="Arial"/>
                <a:ea typeface="+mn-ea"/>
                <a:cs typeface="+mn-cs"/>
              </a:rPr>
              <a:t>Tehnoloģiskā aprīkojuma, kas nodrošina drošu un piemērotu vielu uzglabāšanu, kā arī no elementiem, kas piestiprināti tvertnes virsmām (piemēram, lūkas, savienojumi, atbalsti, rokturi)</a:t>
            </a:r>
          </a:p>
        </p:txBody>
      </p:sp>
      <p:sp>
        <p:nvSpPr>
          <p:cNvPr id="37" name="TextBox 36">
            <a:extLst>
              <a:ext uri="{FF2B5EF4-FFF2-40B4-BE49-F238E27FC236}">
                <a16:creationId xmlns:a16="http://schemas.microsoft.com/office/drawing/2014/main" id="{BB7854C5-B159-82DD-2FC5-226B75EEB1AE}"/>
              </a:ext>
            </a:extLst>
          </p:cNvPr>
          <p:cNvSpPr txBox="1"/>
          <p:nvPr/>
        </p:nvSpPr>
        <p:spPr>
          <a:xfrm>
            <a:off x="1107652" y="3051351"/>
            <a:ext cx="5569042" cy="281646"/>
          </a:xfrm>
          <a:prstGeom prst="rect">
            <a:avLst/>
          </a:prstGeom>
          <a:noFill/>
        </p:spPr>
        <p:txBody>
          <a:bodyPr wrap="square" lIns="0" tIns="0" rIns="0" bIns="0">
            <a:noAutofit/>
          </a:bodyPr>
          <a:lstStyle/>
          <a:p>
            <a:pPr marR="0" lvl="0" algn="l" defTabSz="914400" rtl="0" eaLnBrk="1" fontAlgn="auto" latinLnBrk="0" hangingPunct="1">
              <a:lnSpc>
                <a:spcPct val="100000"/>
              </a:lnSpc>
              <a:spcBef>
                <a:spcPts val="0"/>
              </a:spcBef>
              <a:spcAft>
                <a:spcPts val="600"/>
              </a:spcAft>
              <a:buClrTx/>
              <a:buSzPct val="100000"/>
              <a:tabLst/>
              <a:defRPr/>
            </a:pPr>
            <a:r>
              <a:rPr kumimoji="0" lang="lv-LV" sz="1400" b="0" i="0" u="none" strike="noStrike" kern="1200" cap="none" spc="0" normalizeH="0" baseline="0" noProof="0" dirty="0">
                <a:ln>
                  <a:noFill/>
                </a:ln>
                <a:solidFill>
                  <a:srgbClr val="000000"/>
                </a:solidFill>
                <a:effectLst/>
                <a:uLnTx/>
                <a:uFillTx/>
                <a:latin typeface="Arial"/>
                <a:ea typeface="+mn-ea"/>
                <a:cs typeface="+mn-cs"/>
              </a:rPr>
              <a:t>Stacionāri uzstādītas tvertnes</a:t>
            </a:r>
          </a:p>
        </p:txBody>
      </p:sp>
      <p:sp>
        <p:nvSpPr>
          <p:cNvPr id="48" name="L-Shape 47">
            <a:extLst>
              <a:ext uri="{FF2B5EF4-FFF2-40B4-BE49-F238E27FC236}">
                <a16:creationId xmlns:a16="http://schemas.microsoft.com/office/drawing/2014/main" id="{38568487-B459-A134-9E4C-51715996C6A4}"/>
              </a:ext>
            </a:extLst>
          </p:cNvPr>
          <p:cNvSpPr/>
          <p:nvPr/>
        </p:nvSpPr>
        <p:spPr>
          <a:xfrm rot="13500000">
            <a:off x="562321" y="305578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9" name="L-Shape 48">
            <a:extLst>
              <a:ext uri="{FF2B5EF4-FFF2-40B4-BE49-F238E27FC236}">
                <a16:creationId xmlns:a16="http://schemas.microsoft.com/office/drawing/2014/main" id="{2906C362-44B0-928C-665F-37B70EAA470A}"/>
              </a:ext>
            </a:extLst>
          </p:cNvPr>
          <p:cNvSpPr/>
          <p:nvPr/>
        </p:nvSpPr>
        <p:spPr>
          <a:xfrm rot="13500000">
            <a:off x="562321" y="3968459"/>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0" name="L-Shape 49">
            <a:extLst>
              <a:ext uri="{FF2B5EF4-FFF2-40B4-BE49-F238E27FC236}">
                <a16:creationId xmlns:a16="http://schemas.microsoft.com/office/drawing/2014/main" id="{A249395B-F97B-8B2D-09D4-244EA2B7AE5F}"/>
              </a:ext>
            </a:extLst>
          </p:cNvPr>
          <p:cNvSpPr/>
          <p:nvPr/>
        </p:nvSpPr>
        <p:spPr>
          <a:xfrm rot="13500000">
            <a:off x="562321" y="530074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61" name="Straight Connector 60">
            <a:extLst>
              <a:ext uri="{FF2B5EF4-FFF2-40B4-BE49-F238E27FC236}">
                <a16:creationId xmlns:a16="http://schemas.microsoft.com/office/drawing/2014/main" id="{5ECA898D-8C49-B8A3-955B-D8F7E780E92D}"/>
              </a:ext>
            </a:extLst>
          </p:cNvPr>
          <p:cNvCxnSpPr>
            <a:cxnSpLocks/>
          </p:cNvCxnSpPr>
          <p:nvPr/>
        </p:nvCxnSpPr>
        <p:spPr>
          <a:xfrm>
            <a:off x="1107652" y="3563552"/>
            <a:ext cx="5568572" cy="613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5" name="Straight Connector 64">
            <a:extLst>
              <a:ext uri="{FF2B5EF4-FFF2-40B4-BE49-F238E27FC236}">
                <a16:creationId xmlns:a16="http://schemas.microsoft.com/office/drawing/2014/main" id="{B8FECA51-BE69-4771-D4B1-DAC09EFAFEB1}"/>
              </a:ext>
            </a:extLst>
          </p:cNvPr>
          <p:cNvCxnSpPr>
            <a:cxnSpLocks/>
          </p:cNvCxnSpPr>
          <p:nvPr/>
        </p:nvCxnSpPr>
        <p:spPr>
          <a:xfrm>
            <a:off x="1107652" y="4635232"/>
            <a:ext cx="5568572" cy="613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24" name="Group 23">
            <a:extLst>
              <a:ext uri="{FF2B5EF4-FFF2-40B4-BE49-F238E27FC236}">
                <a16:creationId xmlns:a16="http://schemas.microsoft.com/office/drawing/2014/main" id="{0BA8FD2F-BD9B-19E4-E586-61C663760B8D}"/>
              </a:ext>
            </a:extLst>
          </p:cNvPr>
          <p:cNvGrpSpPr/>
          <p:nvPr/>
        </p:nvGrpSpPr>
        <p:grpSpPr>
          <a:xfrm>
            <a:off x="8801454" y="159786"/>
            <a:ext cx="2947634" cy="217488"/>
            <a:chOff x="8559627" y="684914"/>
            <a:chExt cx="2947634" cy="217488"/>
          </a:xfrm>
        </p:grpSpPr>
        <p:sp>
          <p:nvSpPr>
            <p:cNvPr id="25" name="Rectangle 24">
              <a:extLst>
                <a:ext uri="{FF2B5EF4-FFF2-40B4-BE49-F238E27FC236}">
                  <a16:creationId xmlns:a16="http://schemas.microsoft.com/office/drawing/2014/main" id="{E7300F69-4584-900C-CBF3-EF28E3C397AD}"/>
                </a:ext>
              </a:extLst>
            </p:cNvPr>
            <p:cNvSpPr/>
            <p:nvPr/>
          </p:nvSpPr>
          <p:spPr>
            <a:xfrm>
              <a:off x="9285434" y="68491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5</a:t>
              </a:r>
              <a:r>
                <a:rPr kumimoji="0" lang="lv-LV" sz="800" b="1" i="0" u="none" strike="noStrike" kern="0" cap="none" spc="0" normalizeH="0" baseline="0" dirty="0">
                  <a:ln>
                    <a:noFill/>
                  </a:ln>
                  <a:effectLst/>
                  <a:uLnTx/>
                  <a:uFillTx/>
                  <a:ea typeface="Georgia"/>
                  <a:cs typeface="Georgia"/>
                  <a:sym typeface="Georgia"/>
                </a:rPr>
                <a:t>.</a:t>
              </a:r>
              <a:r>
                <a:rPr kumimoji="0" lang="en-US" sz="800" b="1" i="0" u="none" strike="noStrike" kern="0" cap="none" spc="0" normalizeH="0" baseline="0" dirty="0">
                  <a:ln>
                    <a:noFill/>
                  </a:ln>
                  <a:effectLst/>
                  <a:uLnTx/>
                  <a:uFillTx/>
                  <a:ea typeface="Georgia"/>
                  <a:cs typeface="Georgia"/>
                  <a:sym typeface="Georgia"/>
                </a:rPr>
                <a:t>4</a:t>
              </a:r>
              <a:endParaRPr kumimoji="0" lang="lv-LV" sz="800" b="1" i="0" u="none" strike="noStrike" kern="0" cap="none" spc="0" normalizeH="0" baseline="0" dirty="0">
                <a:ln>
                  <a:noFill/>
                </a:ln>
                <a:effectLst/>
                <a:uLnTx/>
                <a:uFillTx/>
                <a:ea typeface="Georgia"/>
                <a:cs typeface="Georgia"/>
                <a:sym typeface="Georgia"/>
              </a:endParaRPr>
            </a:p>
          </p:txBody>
        </p:sp>
        <p:sp>
          <p:nvSpPr>
            <p:cNvPr id="26" name="Rectangle 25">
              <a:extLst>
                <a:ext uri="{FF2B5EF4-FFF2-40B4-BE49-F238E27FC236}">
                  <a16:creationId xmlns:a16="http://schemas.microsoft.com/office/drawing/2014/main" id="{FC0F0DB3-C11D-1C5A-3E88-09E13E74C240}"/>
                </a:ext>
              </a:extLst>
            </p:cNvPr>
            <p:cNvSpPr/>
            <p:nvPr/>
          </p:nvSpPr>
          <p:spPr>
            <a:xfrm>
              <a:off x="9527261" y="684914"/>
              <a:ext cx="198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err="1">
                  <a:ln>
                    <a:noFill/>
                  </a:ln>
                  <a:effectLst/>
                  <a:uLnTx/>
                  <a:uFillTx/>
                  <a:ea typeface="Georgia"/>
                  <a:cs typeface="Georgia"/>
                  <a:sym typeface="Georgia"/>
                </a:rPr>
                <a:t>Drošības</a:t>
              </a:r>
              <a:r>
                <a:rPr kumimoji="0" lang="en-US" sz="800" b="1" i="0" u="none" strike="noStrike" kern="0" cap="none" spc="0" normalizeH="0" baseline="0" dirty="0">
                  <a:ln>
                    <a:noFill/>
                  </a:ln>
                  <a:effectLst/>
                  <a:uLnTx/>
                  <a:uFillTx/>
                  <a:ea typeface="Georgia"/>
                  <a:cs typeface="Georgia"/>
                  <a:sym typeface="Georgia"/>
                </a:rPr>
                <a:t> </a:t>
              </a:r>
              <a:r>
                <a:rPr kumimoji="0" lang="en-US" sz="800" b="1" i="0" u="none" strike="noStrike" kern="0" cap="none" spc="0" normalizeH="0" baseline="0" dirty="0" err="1">
                  <a:ln>
                    <a:noFill/>
                  </a:ln>
                  <a:effectLst/>
                  <a:uLnTx/>
                  <a:uFillTx/>
                  <a:ea typeface="Georgia"/>
                  <a:cs typeface="Georgia"/>
                  <a:sym typeface="Georgia"/>
                </a:rPr>
                <a:t>pasākumi</a:t>
              </a:r>
              <a:endParaRPr kumimoji="0" lang="en-US" sz="800" b="1" i="0" u="none" strike="noStrike" kern="0" cap="none" spc="0" normalizeH="0" baseline="0" dirty="0">
                <a:ln>
                  <a:noFill/>
                </a:ln>
                <a:effectLst/>
                <a:uLnTx/>
                <a:uFillTx/>
                <a:ea typeface="Georgia"/>
                <a:cs typeface="Georgia"/>
                <a:sym typeface="Georgia"/>
              </a:endParaRPr>
            </a:p>
          </p:txBody>
        </p:sp>
        <p:sp>
          <p:nvSpPr>
            <p:cNvPr id="27" name="Rectangle 26">
              <a:extLst>
                <a:ext uri="{FF2B5EF4-FFF2-40B4-BE49-F238E27FC236}">
                  <a16:creationId xmlns:a16="http://schemas.microsoft.com/office/drawing/2014/main" id="{3E01866B-9ED4-969E-EB12-42493A3C3C68}"/>
                </a:ext>
              </a:extLst>
            </p:cNvPr>
            <p:cNvSpPr/>
            <p:nvPr/>
          </p:nvSpPr>
          <p:spPr>
            <a:xfrm>
              <a:off x="9043607"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3</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60E80888-4C1F-D869-938F-CC8DE7C83081}"/>
                </a:ext>
              </a:extLst>
            </p:cNvPr>
            <p:cNvSpPr/>
            <p:nvPr/>
          </p:nvSpPr>
          <p:spPr>
            <a:xfrm>
              <a:off x="8801780"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2</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36" name="Rectangle 35">
              <a:extLst>
                <a:ext uri="{FF2B5EF4-FFF2-40B4-BE49-F238E27FC236}">
                  <a16:creationId xmlns:a16="http://schemas.microsoft.com/office/drawing/2014/main" id="{2707711A-279D-237B-CC6F-305F1517C739}"/>
                </a:ext>
              </a:extLst>
            </p:cNvPr>
            <p:cNvSpPr/>
            <p:nvPr/>
          </p:nvSpPr>
          <p:spPr>
            <a:xfrm>
              <a:off x="8559627"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226308443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E885F1F3-503D-1E48-6FBE-489AD59BF4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0" name="think-cell data - do not delete" hidden="1">
                        <a:extLst>
                          <a:ext uri="{FF2B5EF4-FFF2-40B4-BE49-F238E27FC236}">
                            <a16:creationId xmlns:a16="http://schemas.microsoft.com/office/drawing/2014/main" id="{E885F1F3-503D-1E48-6FBE-489AD59BF4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2EA53C3-DCC4-204F-91E9-D2FEC973F591}"/>
              </a:ext>
            </a:extLst>
          </p:cNvPr>
          <p:cNvSpPr>
            <a:spLocks noGrp="1"/>
          </p:cNvSpPr>
          <p:nvPr>
            <p:ph type="title"/>
          </p:nvPr>
        </p:nvSpPr>
        <p:spPr/>
        <p:txBody>
          <a:bodyPr vert="horz"/>
          <a:lstStyle/>
          <a:p>
            <a:r>
              <a:rPr lang="lv-LV" dirty="0"/>
              <a:t>Bīstamās vielas</a:t>
            </a:r>
            <a:br>
              <a:rPr lang="lv-LV" dirty="0"/>
            </a:br>
            <a:r>
              <a:rPr lang="lv-LV" dirty="0">
                <a:solidFill>
                  <a:srgbClr val="A8192D"/>
                </a:solidFill>
              </a:rPr>
              <a:t>Bīstamo vielu uzglabāšanas rezervuāru prasības</a:t>
            </a:r>
          </a:p>
        </p:txBody>
      </p:sp>
      <p:sp>
        <p:nvSpPr>
          <p:cNvPr id="4" name="Slide Number Placeholder 3">
            <a:extLst>
              <a:ext uri="{FF2B5EF4-FFF2-40B4-BE49-F238E27FC236}">
                <a16:creationId xmlns:a16="http://schemas.microsoft.com/office/drawing/2014/main" id="{0F086D17-0692-02D0-DF4D-C7588AD272BB}"/>
              </a:ext>
            </a:extLst>
          </p:cNvPr>
          <p:cNvSpPr>
            <a:spLocks noGrp="1"/>
          </p:cNvSpPr>
          <p:nvPr>
            <p:ph type="sldNum" sz="quarter" idx="11"/>
          </p:nvPr>
        </p:nvSpPr>
        <p:spPr/>
        <p:txBody>
          <a:bodyPr/>
          <a:lstStyle/>
          <a:p>
            <a:fld id="{7870704B-CE94-48CC-AF30-84932A1262A7}" type="slidenum">
              <a:rPr lang="en-GB" smtClean="0"/>
              <a:pPr/>
              <a:t>33</a:t>
            </a:fld>
            <a:endParaRPr lang="en-GB"/>
          </a:p>
        </p:txBody>
      </p:sp>
      <p:sp>
        <p:nvSpPr>
          <p:cNvPr id="5" name="Date Placeholder 4">
            <a:extLst>
              <a:ext uri="{FF2B5EF4-FFF2-40B4-BE49-F238E27FC236}">
                <a16:creationId xmlns:a16="http://schemas.microsoft.com/office/drawing/2014/main" id="{47DC2B6E-5704-5FA6-8CD5-BEDEC585B30D}"/>
              </a:ext>
            </a:extLst>
          </p:cNvPr>
          <p:cNvSpPr>
            <a:spLocks noGrp="1"/>
          </p:cNvSpPr>
          <p:nvPr>
            <p:ph type="dt" sz="half" idx="12"/>
          </p:nvPr>
        </p:nvSpPr>
        <p:spPr/>
        <p:txBody>
          <a:bodyPr/>
          <a:lstStyle/>
          <a:p>
            <a:r>
              <a:rPr lang="en-US"/>
              <a:t>Date</a:t>
            </a:r>
          </a:p>
        </p:txBody>
      </p:sp>
      <p:sp>
        <p:nvSpPr>
          <p:cNvPr id="6" name="Footer Placeholder 5">
            <a:extLst>
              <a:ext uri="{FF2B5EF4-FFF2-40B4-BE49-F238E27FC236}">
                <a16:creationId xmlns:a16="http://schemas.microsoft.com/office/drawing/2014/main" id="{9D7C67EE-DE8F-9667-7573-0D20C216199E}"/>
              </a:ext>
            </a:extLst>
          </p:cNvPr>
          <p:cNvSpPr>
            <a:spLocks noGrp="1"/>
          </p:cNvSpPr>
          <p:nvPr>
            <p:ph type="ftr" sz="quarter" idx="13"/>
          </p:nvPr>
        </p:nvSpPr>
        <p:spPr/>
        <p:txBody>
          <a:bodyPr/>
          <a:lstStyle/>
          <a:p>
            <a:r>
              <a:rPr lang="en-US"/>
              <a:t>Presentation Title</a:t>
            </a:r>
          </a:p>
        </p:txBody>
      </p:sp>
      <p:sp>
        <p:nvSpPr>
          <p:cNvPr id="9" name="TextBox 8">
            <a:extLst>
              <a:ext uri="{FF2B5EF4-FFF2-40B4-BE49-F238E27FC236}">
                <a16:creationId xmlns:a16="http://schemas.microsoft.com/office/drawing/2014/main" id="{C2E0D699-D4EB-59CF-5700-6C3C5E87AF32}"/>
              </a:ext>
            </a:extLst>
          </p:cNvPr>
          <p:cNvSpPr txBox="1"/>
          <p:nvPr/>
        </p:nvSpPr>
        <p:spPr>
          <a:xfrm>
            <a:off x="455875" y="5811350"/>
            <a:ext cx="11293213" cy="360850"/>
          </a:xfrm>
          <a:prstGeom prst="rect">
            <a:avLst/>
          </a:prstGeom>
          <a:solidFill>
            <a:srgbClr val="CFD6E8"/>
          </a:solidFill>
        </p:spPr>
        <p:txBody>
          <a:bodyPr wrap="square" lIns="72000" tIns="72000" rIns="72000" bIns="72000">
            <a:spAutoFit/>
          </a:bodyPr>
          <a:lstStyle/>
          <a:p>
            <a:pPr algn="ctr"/>
            <a:r>
              <a:rPr lang="en-GB" sz="1400" b="0" i="0" dirty="0">
                <a:effectLst/>
                <a:latin typeface="Arial" panose="020B0604020202020204" pitchFamily="34" charset="0"/>
              </a:rPr>
              <a:t>Uz </a:t>
            </a:r>
            <a:r>
              <a:rPr lang="en-GB" sz="1400" b="0" i="0" dirty="0" err="1">
                <a:effectLst/>
                <a:latin typeface="Arial" panose="020B0604020202020204" pitchFamily="34" charset="0"/>
              </a:rPr>
              <a:t>rezervuāra</a:t>
            </a:r>
            <a:r>
              <a:rPr lang="en-GB" sz="1400" b="0" i="0" dirty="0">
                <a:effectLst/>
                <a:latin typeface="Arial" panose="020B0604020202020204" pitchFamily="34" charset="0"/>
              </a:rPr>
              <a:t> </a:t>
            </a:r>
            <a:r>
              <a:rPr lang="en-GB" sz="1400" b="0" i="0" dirty="0" err="1">
                <a:effectLst/>
                <a:latin typeface="Arial" panose="020B0604020202020204" pitchFamily="34" charset="0"/>
              </a:rPr>
              <a:t>izvieto</a:t>
            </a:r>
            <a:r>
              <a:rPr lang="en-GB" sz="1400" b="0" i="0" dirty="0">
                <a:effectLst/>
                <a:latin typeface="Arial" panose="020B0604020202020204" pitchFamily="34" charset="0"/>
              </a:rPr>
              <a:t> </a:t>
            </a:r>
            <a:r>
              <a:rPr lang="en-GB" sz="1400" b="0" i="0" dirty="0" err="1">
                <a:effectLst/>
                <a:latin typeface="Arial" panose="020B0604020202020204" pitchFamily="34" charset="0"/>
              </a:rPr>
              <a:t>skaidri</a:t>
            </a:r>
            <a:r>
              <a:rPr lang="en-GB" sz="1400" b="0" i="0" dirty="0">
                <a:effectLst/>
                <a:latin typeface="Arial" panose="020B0604020202020204" pitchFamily="34" charset="0"/>
              </a:rPr>
              <a:t> </a:t>
            </a:r>
            <a:r>
              <a:rPr lang="en-GB" sz="1400" b="0" i="0" dirty="0" err="1">
                <a:effectLst/>
                <a:latin typeface="Arial" panose="020B0604020202020204" pitchFamily="34" charset="0"/>
              </a:rPr>
              <a:t>saskatāmas</a:t>
            </a:r>
            <a:r>
              <a:rPr lang="en-GB" sz="1400" b="0" i="0" dirty="0">
                <a:effectLst/>
                <a:latin typeface="Arial" panose="020B0604020202020204" pitchFamily="34" charset="0"/>
              </a:rPr>
              <a:t> </a:t>
            </a:r>
            <a:r>
              <a:rPr lang="en-GB" sz="1400" b="0" i="0" dirty="0" err="1">
                <a:effectLst/>
                <a:latin typeface="Arial" panose="020B0604020202020204" pitchFamily="34" charset="0"/>
              </a:rPr>
              <a:t>piktogrammas</a:t>
            </a:r>
            <a:r>
              <a:rPr lang="en-GB" sz="1400" b="0" i="0" dirty="0">
                <a:effectLst/>
                <a:latin typeface="Arial" panose="020B0604020202020204" pitchFamily="34" charset="0"/>
              </a:rPr>
              <a:t> un </a:t>
            </a:r>
            <a:r>
              <a:rPr lang="en-GB" sz="1400" b="0" i="0" dirty="0" err="1">
                <a:effectLst/>
                <a:latin typeface="Arial" panose="020B0604020202020204" pitchFamily="34" charset="0"/>
              </a:rPr>
              <a:t>brīdinājuma</a:t>
            </a:r>
            <a:r>
              <a:rPr lang="en-GB" sz="1400" b="0" i="0" dirty="0">
                <a:effectLst/>
                <a:latin typeface="Arial" panose="020B0604020202020204" pitchFamily="34" charset="0"/>
              </a:rPr>
              <a:t> </a:t>
            </a:r>
            <a:r>
              <a:rPr lang="en-GB" sz="1400" b="0" i="0" dirty="0" err="1">
                <a:effectLst/>
                <a:latin typeface="Arial" panose="020B0604020202020204" pitchFamily="34" charset="0"/>
              </a:rPr>
              <a:t>zīmes</a:t>
            </a:r>
            <a:r>
              <a:rPr lang="en-GB" sz="1400" b="0" i="0" dirty="0">
                <a:effectLst/>
                <a:latin typeface="Arial" panose="020B0604020202020204" pitchFamily="34" charset="0"/>
              </a:rPr>
              <a:t>, </a:t>
            </a:r>
            <a:r>
              <a:rPr lang="en-GB" sz="1400" b="0" i="0" dirty="0" err="1">
                <a:effectLst/>
                <a:latin typeface="Arial" panose="020B0604020202020204" pitchFamily="34" charset="0"/>
              </a:rPr>
              <a:t>lai</a:t>
            </a:r>
            <a:r>
              <a:rPr lang="en-GB" sz="1400" b="0" i="0" dirty="0">
                <a:effectLst/>
                <a:latin typeface="Arial" panose="020B0604020202020204" pitchFamily="34" charset="0"/>
              </a:rPr>
              <a:t> </a:t>
            </a:r>
            <a:r>
              <a:rPr lang="en-GB" sz="1400" b="0" i="0" dirty="0" err="1">
                <a:effectLst/>
                <a:latin typeface="Arial" panose="020B0604020202020204" pitchFamily="34" charset="0"/>
              </a:rPr>
              <a:t>nodrošinātu</a:t>
            </a:r>
            <a:r>
              <a:rPr lang="en-GB" sz="1400" b="0" i="0" dirty="0">
                <a:effectLst/>
                <a:latin typeface="Arial" panose="020B0604020202020204" pitchFamily="34" charset="0"/>
              </a:rPr>
              <a:t> </a:t>
            </a:r>
            <a:r>
              <a:rPr lang="en-GB" sz="1400" b="0" i="0" dirty="0" err="1">
                <a:effectLst/>
                <a:latin typeface="Arial" panose="020B0604020202020204" pitchFamily="34" charset="0"/>
              </a:rPr>
              <a:t>tā</a:t>
            </a:r>
            <a:r>
              <a:rPr lang="en-GB" sz="1400" b="0" i="0" dirty="0">
                <a:effectLst/>
                <a:latin typeface="Arial" panose="020B0604020202020204" pitchFamily="34" charset="0"/>
              </a:rPr>
              <a:t> </a:t>
            </a:r>
            <a:r>
              <a:rPr lang="en-GB" sz="1400" b="0" i="0" dirty="0" err="1">
                <a:effectLst/>
                <a:latin typeface="Arial" panose="020B0604020202020204" pitchFamily="34" charset="0"/>
              </a:rPr>
              <a:t>pareizu</a:t>
            </a:r>
            <a:r>
              <a:rPr lang="en-GB" sz="1400" b="0" i="0" dirty="0">
                <a:effectLst/>
                <a:latin typeface="Arial" panose="020B0604020202020204" pitchFamily="34" charset="0"/>
              </a:rPr>
              <a:t> </a:t>
            </a:r>
            <a:r>
              <a:rPr lang="en-GB" sz="1400" b="0" i="0" dirty="0" err="1">
                <a:effectLst/>
                <a:latin typeface="Arial" panose="020B0604020202020204" pitchFamily="34" charset="0"/>
              </a:rPr>
              <a:t>lietošanu</a:t>
            </a:r>
            <a:r>
              <a:rPr lang="lv-LV" sz="1400" dirty="0">
                <a:latin typeface="Arial" panose="020B0604020202020204" pitchFamily="34" charset="0"/>
              </a:rPr>
              <a:t>!</a:t>
            </a:r>
            <a:endParaRPr lang="lv-LV" sz="1400" dirty="0"/>
          </a:p>
        </p:txBody>
      </p:sp>
      <p:sp>
        <p:nvSpPr>
          <p:cNvPr id="2" name="Rectangle 1">
            <a:extLst>
              <a:ext uri="{FF2B5EF4-FFF2-40B4-BE49-F238E27FC236}">
                <a16:creationId xmlns:a16="http://schemas.microsoft.com/office/drawing/2014/main" id="{6D2E566A-4245-2B6A-2BAD-ECC614261B5D}"/>
              </a:ext>
            </a:extLst>
          </p:cNvPr>
          <p:cNvSpPr/>
          <p:nvPr/>
        </p:nvSpPr>
        <p:spPr>
          <a:xfrm>
            <a:off x="6275388" y="1819275"/>
            <a:ext cx="4825701"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b="1" dirty="0">
                <a:solidFill>
                  <a:schemeClr val="bg1"/>
                </a:solidFill>
              </a:rPr>
              <a:t>Atbilstoši rezervuāra tipam norāda </a:t>
            </a:r>
            <a:br>
              <a:rPr lang="en-US" sz="1400" b="1" dirty="0">
                <a:solidFill>
                  <a:schemeClr val="bg1"/>
                </a:solidFill>
              </a:rPr>
            </a:br>
            <a:r>
              <a:rPr lang="lv-LV" sz="1400" b="1" dirty="0">
                <a:solidFill>
                  <a:schemeClr val="bg1"/>
                </a:solidFill>
              </a:rPr>
              <a:t>šādu papildinformāciju:</a:t>
            </a:r>
          </a:p>
        </p:txBody>
      </p:sp>
      <p:sp>
        <p:nvSpPr>
          <p:cNvPr id="15" name="Rectangle 14">
            <a:extLst>
              <a:ext uri="{FF2B5EF4-FFF2-40B4-BE49-F238E27FC236}">
                <a16:creationId xmlns:a16="http://schemas.microsoft.com/office/drawing/2014/main" id="{F4A4BC82-B8C8-0723-B45F-1E1E2CCE66D8}"/>
              </a:ext>
            </a:extLst>
          </p:cNvPr>
          <p:cNvSpPr/>
          <p:nvPr/>
        </p:nvSpPr>
        <p:spPr>
          <a:xfrm>
            <a:off x="442913" y="1819275"/>
            <a:ext cx="5031912"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b="1" dirty="0">
                <a:solidFill>
                  <a:schemeClr val="bg1"/>
                </a:solidFill>
              </a:rPr>
              <a:t>Uz katra rezervuāra norāda šādu informāciju:</a:t>
            </a:r>
          </a:p>
        </p:txBody>
      </p:sp>
      <p:sp>
        <p:nvSpPr>
          <p:cNvPr id="16" name="Rectangle 15">
            <a:extLst>
              <a:ext uri="{FF2B5EF4-FFF2-40B4-BE49-F238E27FC236}">
                <a16:creationId xmlns:a16="http://schemas.microsoft.com/office/drawing/2014/main" id="{D7A6F1C1-EC71-50DF-71EB-E104AABD9B34}"/>
              </a:ext>
            </a:extLst>
          </p:cNvPr>
          <p:cNvSpPr/>
          <p:nvPr/>
        </p:nvSpPr>
        <p:spPr>
          <a:xfrm>
            <a:off x="5519999" y="1819275"/>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solidFill>
                <a:schemeClr val="tx1"/>
              </a:solidFill>
            </a:endParaRPr>
          </a:p>
        </p:txBody>
      </p:sp>
      <p:sp>
        <p:nvSpPr>
          <p:cNvPr id="17" name="Rectangle 16">
            <a:extLst>
              <a:ext uri="{FF2B5EF4-FFF2-40B4-BE49-F238E27FC236}">
                <a16:creationId xmlns:a16="http://schemas.microsoft.com/office/drawing/2014/main" id="{606312C6-F7F7-5BD6-C39D-C65A637D80FF}"/>
              </a:ext>
            </a:extLst>
          </p:cNvPr>
          <p:cNvSpPr/>
          <p:nvPr/>
        </p:nvSpPr>
        <p:spPr>
          <a:xfrm>
            <a:off x="5449111" y="1819275"/>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8" name="Rectangle 17">
            <a:extLst>
              <a:ext uri="{FF2B5EF4-FFF2-40B4-BE49-F238E27FC236}">
                <a16:creationId xmlns:a16="http://schemas.microsoft.com/office/drawing/2014/main" id="{A1D89A62-482E-D817-EC96-D6C3E6793B44}"/>
              </a:ext>
            </a:extLst>
          </p:cNvPr>
          <p:cNvSpPr/>
          <p:nvPr/>
        </p:nvSpPr>
        <p:spPr>
          <a:xfrm>
            <a:off x="11173088"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dirty="0">
              <a:solidFill>
                <a:schemeClr val="tx1"/>
              </a:solidFill>
            </a:endParaRPr>
          </a:p>
        </p:txBody>
      </p:sp>
      <p:sp>
        <p:nvSpPr>
          <p:cNvPr id="19" name="Rectangle 18">
            <a:extLst>
              <a:ext uri="{FF2B5EF4-FFF2-40B4-BE49-F238E27FC236}">
                <a16:creationId xmlns:a16="http://schemas.microsoft.com/office/drawing/2014/main" id="{1DA29504-A109-F332-15C5-C87CF7A2EB17}"/>
              </a:ext>
            </a:extLst>
          </p:cNvPr>
          <p:cNvSpPr/>
          <p:nvPr/>
        </p:nvSpPr>
        <p:spPr>
          <a:xfrm>
            <a:off x="11102200"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21" name="Google Shape;1770;p93">
            <a:extLst>
              <a:ext uri="{FF2B5EF4-FFF2-40B4-BE49-F238E27FC236}">
                <a16:creationId xmlns:a16="http://schemas.microsoft.com/office/drawing/2014/main" id="{5A8CF446-6D68-667E-AABD-AD84A7C3A6C2}"/>
              </a:ext>
            </a:extLst>
          </p:cNvPr>
          <p:cNvGrpSpPr/>
          <p:nvPr/>
        </p:nvGrpSpPr>
        <p:grpSpPr>
          <a:xfrm>
            <a:off x="5663966" y="1963275"/>
            <a:ext cx="287998" cy="288000"/>
            <a:chOff x="7461366" y="2560815"/>
            <a:chExt cx="457200" cy="457200"/>
          </a:xfrm>
          <a:solidFill>
            <a:schemeClr val="bg1"/>
          </a:solidFill>
        </p:grpSpPr>
        <p:grpSp>
          <p:nvGrpSpPr>
            <p:cNvPr id="22" name="Google Shape;1771;p93">
              <a:extLst>
                <a:ext uri="{FF2B5EF4-FFF2-40B4-BE49-F238E27FC236}">
                  <a16:creationId xmlns:a16="http://schemas.microsoft.com/office/drawing/2014/main" id="{EC92696F-D5F2-B22E-C938-5D077849C341}"/>
                </a:ext>
              </a:extLst>
            </p:cNvPr>
            <p:cNvGrpSpPr/>
            <p:nvPr/>
          </p:nvGrpSpPr>
          <p:grpSpPr>
            <a:xfrm>
              <a:off x="7461366" y="2560815"/>
              <a:ext cx="457200" cy="457200"/>
              <a:chOff x="7461366" y="2560815"/>
              <a:chExt cx="457200" cy="457200"/>
            </a:xfrm>
            <a:grpFill/>
          </p:grpSpPr>
          <p:sp>
            <p:nvSpPr>
              <p:cNvPr id="26" name="Google Shape;1772;p93">
                <a:extLst>
                  <a:ext uri="{FF2B5EF4-FFF2-40B4-BE49-F238E27FC236}">
                    <a16:creationId xmlns:a16="http://schemas.microsoft.com/office/drawing/2014/main" id="{E1AB3A5D-2648-EB26-76FC-3966ECDA06B5}"/>
                  </a:ext>
                </a:extLst>
              </p:cNvPr>
              <p:cNvSpPr/>
              <p:nvPr/>
            </p:nvSpPr>
            <p:spPr>
              <a:xfrm>
                <a:off x="7680949" y="2712611"/>
                <a:ext cx="19526" cy="146049"/>
              </a:xfrm>
              <a:custGeom>
                <a:avLst/>
                <a:gdLst/>
                <a:ahLst/>
                <a:cxnLst/>
                <a:rect l="l" t="t" r="r" b="b"/>
                <a:pathLst>
                  <a:path w="19526" h="146049" extrusionOk="0">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7" name="Google Shape;1773;p93">
                <a:extLst>
                  <a:ext uri="{FF2B5EF4-FFF2-40B4-BE49-F238E27FC236}">
                    <a16:creationId xmlns:a16="http://schemas.microsoft.com/office/drawing/2014/main" id="{5FF6A5C6-D478-F51C-D409-CB84CB632B19}"/>
                  </a:ext>
                </a:extLst>
              </p:cNvPr>
              <p:cNvSpPr/>
              <p:nvPr/>
            </p:nvSpPr>
            <p:spPr>
              <a:xfrm>
                <a:off x="7752672" y="2712579"/>
                <a:ext cx="19526" cy="273050"/>
              </a:xfrm>
              <a:custGeom>
                <a:avLst/>
                <a:gdLst/>
                <a:ahLst/>
                <a:cxnLst/>
                <a:rect l="l" t="t" r="r" b="b"/>
                <a:pathLst>
                  <a:path w="19526" h="273050" extrusionOk="0">
                    <a:moveTo>
                      <a:pt x="19526" y="273050"/>
                    </a:moveTo>
                    <a:lnTo>
                      <a:pt x="0" y="273050"/>
                    </a:lnTo>
                    <a:lnTo>
                      <a:pt x="0" y="254000"/>
                    </a:lnTo>
                    <a:lnTo>
                      <a:pt x="19526" y="254000"/>
                    </a:lnTo>
                    <a:close/>
                    <a:moveTo>
                      <a:pt x="19526" y="209550"/>
                    </a:moveTo>
                    <a:lnTo>
                      <a:pt x="0" y="209550"/>
                    </a:lnTo>
                    <a:lnTo>
                      <a:pt x="0" y="190500"/>
                    </a:lnTo>
                    <a:lnTo>
                      <a:pt x="19526" y="190500"/>
                    </a:lnTo>
                    <a:close/>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8" name="Google Shape;1774;p93">
                <a:extLst>
                  <a:ext uri="{FF2B5EF4-FFF2-40B4-BE49-F238E27FC236}">
                    <a16:creationId xmlns:a16="http://schemas.microsoft.com/office/drawing/2014/main" id="{C5E3F7B2-474A-97B5-AC2E-0323A25F5121}"/>
                  </a:ext>
                </a:extLst>
              </p:cNvPr>
              <p:cNvSpPr/>
              <p:nvPr/>
            </p:nvSpPr>
            <p:spPr>
              <a:xfrm>
                <a:off x="7609194" y="2839580"/>
                <a:ext cx="19526" cy="146050"/>
              </a:xfrm>
              <a:custGeom>
                <a:avLst/>
                <a:gdLst/>
                <a:ahLst/>
                <a:cxnLst/>
                <a:rect l="l" t="t" r="r" b="b"/>
                <a:pathLst>
                  <a:path w="19526" h="146050" extrusionOk="0">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9" name="Google Shape;1775;p93">
                <a:extLst>
                  <a:ext uri="{FF2B5EF4-FFF2-40B4-BE49-F238E27FC236}">
                    <a16:creationId xmlns:a16="http://schemas.microsoft.com/office/drawing/2014/main" id="{47FC054C-EF91-FECA-07F4-E4712799AFD9}"/>
                  </a:ext>
                </a:extLst>
              </p:cNvPr>
              <p:cNvSpPr/>
              <p:nvPr/>
            </p:nvSpPr>
            <p:spPr>
              <a:xfrm>
                <a:off x="7461366" y="2560815"/>
                <a:ext cx="457200" cy="457200"/>
              </a:xfrm>
              <a:custGeom>
                <a:avLst/>
                <a:gdLst/>
                <a:ahLst/>
                <a:cxnLst/>
                <a:rect l="l" t="t" r="r" b="b"/>
                <a:pathLst>
                  <a:path w="457200" h="457200" extrusionOk="0">
                    <a:moveTo>
                      <a:pt x="0" y="0"/>
                    </a:moveTo>
                    <a:lnTo>
                      <a:pt x="0" y="457200"/>
                    </a:lnTo>
                    <a:lnTo>
                      <a:pt x="103092" y="457200"/>
                    </a:lnTo>
                    <a:lnTo>
                      <a:pt x="103092" y="421259"/>
                    </a:lnTo>
                    <a:lnTo>
                      <a:pt x="103092" y="421259"/>
                    </a:lnTo>
                    <a:lnTo>
                      <a:pt x="103092" y="233204"/>
                    </a:lnTo>
                    <a:lnTo>
                      <a:pt x="167354" y="233204"/>
                    </a:lnTo>
                    <a:lnTo>
                      <a:pt x="167354" y="109379"/>
                    </a:lnTo>
                    <a:lnTo>
                      <a:pt x="354965" y="109379"/>
                    </a:lnTo>
                    <a:lnTo>
                      <a:pt x="354965" y="437547"/>
                    </a:lnTo>
                    <a:lnTo>
                      <a:pt x="354965" y="437547"/>
                    </a:lnTo>
                    <a:lnTo>
                      <a:pt x="354965" y="457200"/>
                    </a:lnTo>
                    <a:lnTo>
                      <a:pt x="457200" y="457200"/>
                    </a:lnTo>
                    <a:lnTo>
                      <a:pt x="457200" y="0"/>
                    </a:lnTo>
                    <a:close/>
                    <a:moveTo>
                      <a:pt x="437706" y="437706"/>
                    </a:moveTo>
                    <a:lnTo>
                      <a:pt x="374650" y="437706"/>
                    </a:lnTo>
                    <a:lnTo>
                      <a:pt x="374650" y="89757"/>
                    </a:lnTo>
                    <a:lnTo>
                      <a:pt x="147828" y="89757"/>
                    </a:lnTo>
                    <a:lnTo>
                      <a:pt x="147828" y="213582"/>
                    </a:lnTo>
                    <a:lnTo>
                      <a:pt x="83566" y="213582"/>
                    </a:lnTo>
                    <a:lnTo>
                      <a:pt x="83566" y="437610"/>
                    </a:lnTo>
                    <a:lnTo>
                      <a:pt x="19495" y="437610"/>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25" name="Google Shape;1776;p93">
              <a:extLst>
                <a:ext uri="{FF2B5EF4-FFF2-40B4-BE49-F238E27FC236}">
                  <a16:creationId xmlns:a16="http://schemas.microsoft.com/office/drawing/2014/main" id="{FAED9AC9-03C9-B68D-A1D4-DB9B8E56EA2B}"/>
                </a:ext>
              </a:extLst>
            </p:cNvPr>
            <p:cNvSpPr/>
            <p:nvPr/>
          </p:nvSpPr>
          <p:spPr>
            <a:xfrm>
              <a:off x="7649611" y="2899555"/>
              <a:ext cx="82168" cy="118459"/>
            </a:xfrm>
            <a:custGeom>
              <a:avLst/>
              <a:gdLst/>
              <a:ahLst/>
              <a:cxnLst/>
              <a:rect l="l" t="t" r="r" b="b"/>
              <a:pathLst>
                <a:path w="82168" h="118459" extrusionOk="0">
                  <a:moveTo>
                    <a:pt x="40704" y="0"/>
                  </a:moveTo>
                  <a:lnTo>
                    <a:pt x="0" y="40704"/>
                  </a:lnTo>
                  <a:lnTo>
                    <a:pt x="13875" y="54610"/>
                  </a:lnTo>
                  <a:lnTo>
                    <a:pt x="30829" y="37656"/>
                  </a:lnTo>
                  <a:lnTo>
                    <a:pt x="30829" y="118459"/>
                  </a:lnTo>
                  <a:lnTo>
                    <a:pt x="50514" y="118459"/>
                  </a:lnTo>
                  <a:lnTo>
                    <a:pt x="50514" y="37656"/>
                  </a:lnTo>
                  <a:lnTo>
                    <a:pt x="68263" y="55404"/>
                  </a:lnTo>
                  <a:lnTo>
                    <a:pt x="82169" y="41497"/>
                  </a:lnTo>
                  <a:lnTo>
                    <a:pt x="40704" y="0"/>
                  </a:lnTo>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30" name="Google Shape;2220;p101">
            <a:extLst>
              <a:ext uri="{FF2B5EF4-FFF2-40B4-BE49-F238E27FC236}">
                <a16:creationId xmlns:a16="http://schemas.microsoft.com/office/drawing/2014/main" id="{9B6C41A5-FBB8-AA82-5E5A-E68F57116891}"/>
              </a:ext>
            </a:extLst>
          </p:cNvPr>
          <p:cNvSpPr/>
          <p:nvPr/>
        </p:nvSpPr>
        <p:spPr>
          <a:xfrm>
            <a:off x="11317088" y="1963275"/>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168" y="410"/>
                </a:moveTo>
                <a:cubicBezTo>
                  <a:pt x="195" y="410"/>
                  <a:pt x="217" y="391"/>
                  <a:pt x="222" y="366"/>
                </a:cubicBezTo>
                <a:cubicBezTo>
                  <a:pt x="311" y="366"/>
                  <a:pt x="311" y="366"/>
                  <a:pt x="311" y="366"/>
                </a:cubicBezTo>
                <a:cubicBezTo>
                  <a:pt x="317" y="391"/>
                  <a:pt x="339" y="410"/>
                  <a:pt x="366" y="410"/>
                </a:cubicBezTo>
                <a:cubicBezTo>
                  <a:pt x="392" y="410"/>
                  <a:pt x="414" y="391"/>
                  <a:pt x="420" y="366"/>
                </a:cubicBezTo>
                <a:cubicBezTo>
                  <a:pt x="518" y="366"/>
                  <a:pt x="518" y="366"/>
                  <a:pt x="518" y="366"/>
                </a:cubicBezTo>
                <a:cubicBezTo>
                  <a:pt x="518" y="292"/>
                  <a:pt x="518" y="292"/>
                  <a:pt x="518" y="292"/>
                </a:cubicBezTo>
                <a:cubicBezTo>
                  <a:pt x="402" y="255"/>
                  <a:pt x="402" y="255"/>
                  <a:pt x="402" y="255"/>
                </a:cubicBezTo>
                <a:cubicBezTo>
                  <a:pt x="360" y="189"/>
                  <a:pt x="360" y="189"/>
                  <a:pt x="360" y="189"/>
                </a:cubicBezTo>
                <a:cubicBezTo>
                  <a:pt x="119" y="189"/>
                  <a:pt x="119" y="189"/>
                  <a:pt x="119" y="189"/>
                </a:cubicBezTo>
                <a:cubicBezTo>
                  <a:pt x="67" y="261"/>
                  <a:pt x="67" y="261"/>
                  <a:pt x="67" y="261"/>
                </a:cubicBezTo>
                <a:cubicBezTo>
                  <a:pt x="67" y="366"/>
                  <a:pt x="67" y="366"/>
                  <a:pt x="67" y="366"/>
                </a:cubicBezTo>
                <a:cubicBezTo>
                  <a:pt x="114" y="366"/>
                  <a:pt x="114" y="366"/>
                  <a:pt x="114" y="366"/>
                </a:cubicBezTo>
                <a:cubicBezTo>
                  <a:pt x="119" y="391"/>
                  <a:pt x="142" y="410"/>
                  <a:pt x="168" y="410"/>
                </a:cubicBezTo>
                <a:close/>
                <a:moveTo>
                  <a:pt x="168" y="385"/>
                </a:moveTo>
                <a:cubicBezTo>
                  <a:pt x="151" y="385"/>
                  <a:pt x="137" y="371"/>
                  <a:pt x="137" y="354"/>
                </a:cubicBezTo>
                <a:cubicBezTo>
                  <a:pt x="137" y="337"/>
                  <a:pt x="151" y="323"/>
                  <a:pt x="168" y="323"/>
                </a:cubicBezTo>
                <a:cubicBezTo>
                  <a:pt x="185" y="323"/>
                  <a:pt x="199" y="337"/>
                  <a:pt x="199" y="354"/>
                </a:cubicBezTo>
                <a:cubicBezTo>
                  <a:pt x="199" y="371"/>
                  <a:pt x="185" y="385"/>
                  <a:pt x="168" y="385"/>
                </a:cubicBezTo>
                <a:close/>
                <a:moveTo>
                  <a:pt x="366" y="385"/>
                </a:moveTo>
                <a:cubicBezTo>
                  <a:pt x="348" y="385"/>
                  <a:pt x="334" y="371"/>
                  <a:pt x="334" y="354"/>
                </a:cubicBezTo>
                <a:cubicBezTo>
                  <a:pt x="334" y="337"/>
                  <a:pt x="348" y="323"/>
                  <a:pt x="366" y="323"/>
                </a:cubicBezTo>
                <a:cubicBezTo>
                  <a:pt x="383" y="323"/>
                  <a:pt x="397" y="337"/>
                  <a:pt x="397" y="354"/>
                </a:cubicBezTo>
                <a:cubicBezTo>
                  <a:pt x="397" y="371"/>
                  <a:pt x="383" y="385"/>
                  <a:pt x="366" y="385"/>
                </a:cubicBezTo>
                <a:close/>
                <a:moveTo>
                  <a:pt x="91" y="269"/>
                </a:moveTo>
                <a:cubicBezTo>
                  <a:pt x="132" y="213"/>
                  <a:pt x="132" y="213"/>
                  <a:pt x="132" y="213"/>
                </a:cubicBezTo>
                <a:cubicBezTo>
                  <a:pt x="346" y="213"/>
                  <a:pt x="346" y="213"/>
                  <a:pt x="346" y="213"/>
                </a:cubicBezTo>
                <a:cubicBezTo>
                  <a:pt x="386" y="275"/>
                  <a:pt x="386" y="275"/>
                  <a:pt x="386" y="275"/>
                </a:cubicBezTo>
                <a:cubicBezTo>
                  <a:pt x="494" y="310"/>
                  <a:pt x="494" y="310"/>
                  <a:pt x="494" y="310"/>
                </a:cubicBezTo>
                <a:cubicBezTo>
                  <a:pt x="494" y="342"/>
                  <a:pt x="494" y="342"/>
                  <a:pt x="494" y="342"/>
                </a:cubicBezTo>
                <a:cubicBezTo>
                  <a:pt x="420" y="342"/>
                  <a:pt x="420" y="342"/>
                  <a:pt x="420" y="342"/>
                </a:cubicBezTo>
                <a:cubicBezTo>
                  <a:pt x="414" y="317"/>
                  <a:pt x="392" y="298"/>
                  <a:pt x="366" y="298"/>
                </a:cubicBezTo>
                <a:cubicBezTo>
                  <a:pt x="339" y="298"/>
                  <a:pt x="317" y="317"/>
                  <a:pt x="311" y="342"/>
                </a:cubicBezTo>
                <a:cubicBezTo>
                  <a:pt x="222" y="342"/>
                  <a:pt x="222" y="342"/>
                  <a:pt x="222" y="342"/>
                </a:cubicBezTo>
                <a:cubicBezTo>
                  <a:pt x="217" y="317"/>
                  <a:pt x="195" y="298"/>
                  <a:pt x="168" y="298"/>
                </a:cubicBezTo>
                <a:cubicBezTo>
                  <a:pt x="142" y="298"/>
                  <a:pt x="119" y="317"/>
                  <a:pt x="114" y="342"/>
                </a:cubicBezTo>
                <a:cubicBezTo>
                  <a:pt x="91" y="342"/>
                  <a:pt x="91" y="342"/>
                  <a:pt x="91" y="342"/>
                </a:cubicBezTo>
                <a:lnTo>
                  <a:pt x="91" y="269"/>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3" name="TextBox 22">
            <a:extLst>
              <a:ext uri="{FF2B5EF4-FFF2-40B4-BE49-F238E27FC236}">
                <a16:creationId xmlns:a16="http://schemas.microsoft.com/office/drawing/2014/main" id="{A2960AD8-F58D-4516-D53A-B72CDA4F9AE5}"/>
              </a:ext>
            </a:extLst>
          </p:cNvPr>
          <p:cNvSpPr txBox="1"/>
          <p:nvPr/>
        </p:nvSpPr>
        <p:spPr>
          <a:xfrm>
            <a:off x="1079076" y="2604692"/>
            <a:ext cx="5031912" cy="307777"/>
          </a:xfrm>
          <a:prstGeom prst="rect">
            <a:avLst/>
          </a:prstGeom>
          <a:noFill/>
        </p:spPr>
        <p:txBody>
          <a:bodyPr wrap="square" lIns="72000" tIns="72000" rIns="72000" bIns="72000">
            <a:noAutofit/>
          </a:bodyPr>
          <a:lstStyle/>
          <a:p>
            <a:r>
              <a:rPr lang="lv-LV" sz="1400" b="0" i="0" dirty="0">
                <a:effectLst/>
                <a:latin typeface="Arial" panose="020B0604020202020204" pitchFamily="34" charset="0"/>
              </a:rPr>
              <a:t>ražotāja vai būvuzņēmēja adrese, vārds un uzvārds vai firma</a:t>
            </a:r>
          </a:p>
        </p:txBody>
      </p:sp>
      <p:grpSp>
        <p:nvGrpSpPr>
          <p:cNvPr id="46" name="Group 45">
            <a:extLst>
              <a:ext uri="{FF2B5EF4-FFF2-40B4-BE49-F238E27FC236}">
                <a16:creationId xmlns:a16="http://schemas.microsoft.com/office/drawing/2014/main" id="{4F915BBE-C6C5-0C41-6654-80B11BC96113}"/>
              </a:ext>
            </a:extLst>
          </p:cNvPr>
          <p:cNvGrpSpPr/>
          <p:nvPr/>
        </p:nvGrpSpPr>
        <p:grpSpPr>
          <a:xfrm>
            <a:off x="442913" y="2542580"/>
            <a:ext cx="576263" cy="432000"/>
            <a:chOff x="442913" y="2552728"/>
            <a:chExt cx="576263" cy="432000"/>
          </a:xfrm>
        </p:grpSpPr>
        <p:sp>
          <p:nvSpPr>
            <p:cNvPr id="42" name="Rectangle 41">
              <a:extLst>
                <a:ext uri="{FF2B5EF4-FFF2-40B4-BE49-F238E27FC236}">
                  <a16:creationId xmlns:a16="http://schemas.microsoft.com/office/drawing/2014/main" id="{29C94C02-70CC-E793-8482-EBB7605227C4}"/>
                </a:ext>
              </a:extLst>
            </p:cNvPr>
            <p:cNvSpPr/>
            <p:nvPr/>
          </p:nvSpPr>
          <p:spPr>
            <a:xfrm>
              <a:off x="442913" y="2552728"/>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3" name="L-Shape 42">
              <a:extLst>
                <a:ext uri="{FF2B5EF4-FFF2-40B4-BE49-F238E27FC236}">
                  <a16:creationId xmlns:a16="http://schemas.microsoft.com/office/drawing/2014/main" id="{E0134F16-5C38-8F56-A0BC-6E06A6304444}"/>
                </a:ext>
              </a:extLst>
            </p:cNvPr>
            <p:cNvSpPr/>
            <p:nvPr/>
          </p:nvSpPr>
          <p:spPr>
            <a:xfrm rot="13500000">
              <a:off x="559307" y="26323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40" name="TextBox 39">
            <a:extLst>
              <a:ext uri="{FF2B5EF4-FFF2-40B4-BE49-F238E27FC236}">
                <a16:creationId xmlns:a16="http://schemas.microsoft.com/office/drawing/2014/main" id="{311652F0-0092-FB20-98C4-1899CF91D7AF}"/>
              </a:ext>
            </a:extLst>
          </p:cNvPr>
          <p:cNvSpPr txBox="1"/>
          <p:nvPr/>
        </p:nvSpPr>
        <p:spPr>
          <a:xfrm>
            <a:off x="1079076" y="2983607"/>
            <a:ext cx="5031912" cy="360850"/>
          </a:xfrm>
          <a:prstGeom prst="rect">
            <a:avLst/>
          </a:prstGeom>
          <a:noFill/>
        </p:spPr>
        <p:txBody>
          <a:bodyPr wrap="square" lIns="72000" tIns="72000" rIns="72000" bIns="72000">
            <a:spAutoFit/>
          </a:bodyPr>
          <a:lstStyle/>
          <a:p>
            <a:pPr marR="0" lvl="0" algn="l" defTabSz="914400" rtl="0" eaLnBrk="1" fontAlgn="auto" latinLnBrk="0" hangingPunct="1">
              <a:lnSpc>
                <a:spcPct val="100000"/>
              </a:lnSpc>
              <a:spcBef>
                <a:spcPts val="0"/>
              </a:spcBef>
              <a:spcAft>
                <a:spcPts val="0"/>
              </a:spcAft>
              <a:buClrTx/>
              <a:buSzTx/>
              <a:tabLst/>
              <a:defRPr/>
            </a:pPr>
            <a:r>
              <a:rPr kumimoji="0" lang="lv-LV"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rezervuāra izbūves vai izgatavošanas un uzstādīšanas gads</a:t>
            </a:r>
          </a:p>
        </p:txBody>
      </p:sp>
      <p:grpSp>
        <p:nvGrpSpPr>
          <p:cNvPr id="47" name="Group 46">
            <a:extLst>
              <a:ext uri="{FF2B5EF4-FFF2-40B4-BE49-F238E27FC236}">
                <a16:creationId xmlns:a16="http://schemas.microsoft.com/office/drawing/2014/main" id="{332810BF-C3BA-1FE6-F40A-3274413FD84C}"/>
              </a:ext>
            </a:extLst>
          </p:cNvPr>
          <p:cNvGrpSpPr/>
          <p:nvPr/>
        </p:nvGrpSpPr>
        <p:grpSpPr>
          <a:xfrm>
            <a:off x="442913" y="3087912"/>
            <a:ext cx="576263" cy="432000"/>
            <a:chOff x="442913" y="2552728"/>
            <a:chExt cx="576263" cy="432000"/>
          </a:xfrm>
        </p:grpSpPr>
        <p:sp>
          <p:nvSpPr>
            <p:cNvPr id="48" name="Rectangle 47">
              <a:extLst>
                <a:ext uri="{FF2B5EF4-FFF2-40B4-BE49-F238E27FC236}">
                  <a16:creationId xmlns:a16="http://schemas.microsoft.com/office/drawing/2014/main" id="{64E2A2E3-E5FE-C704-953A-5FBE9F72818D}"/>
                </a:ext>
              </a:extLst>
            </p:cNvPr>
            <p:cNvSpPr/>
            <p:nvPr/>
          </p:nvSpPr>
          <p:spPr>
            <a:xfrm>
              <a:off x="442913" y="2552728"/>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9" name="L-Shape 48">
              <a:extLst>
                <a:ext uri="{FF2B5EF4-FFF2-40B4-BE49-F238E27FC236}">
                  <a16:creationId xmlns:a16="http://schemas.microsoft.com/office/drawing/2014/main" id="{ACC69131-2715-2102-53FE-2DDE17A5F956}"/>
                </a:ext>
              </a:extLst>
            </p:cNvPr>
            <p:cNvSpPr/>
            <p:nvPr/>
          </p:nvSpPr>
          <p:spPr>
            <a:xfrm rot="13500000">
              <a:off x="559307" y="26323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32" name="TextBox 31">
            <a:extLst>
              <a:ext uri="{FF2B5EF4-FFF2-40B4-BE49-F238E27FC236}">
                <a16:creationId xmlns:a16="http://schemas.microsoft.com/office/drawing/2014/main" id="{619FA0BA-4957-CB85-305A-21771127C5F8}"/>
              </a:ext>
            </a:extLst>
          </p:cNvPr>
          <p:cNvSpPr txBox="1"/>
          <p:nvPr/>
        </p:nvSpPr>
        <p:spPr>
          <a:xfrm>
            <a:off x="1079076" y="5304814"/>
            <a:ext cx="5031912" cy="360850"/>
          </a:xfrm>
          <a:prstGeom prst="rect">
            <a:avLst/>
          </a:prstGeom>
          <a:noFill/>
        </p:spPr>
        <p:txBody>
          <a:bodyPr wrap="square" lIns="72000" tIns="72000" rIns="72000" bIns="72000">
            <a:spAutoFit/>
          </a:bodyPr>
          <a:lstStyle/>
          <a:p>
            <a:pPr marR="0" lvl="0" algn="l" defTabSz="914400" rtl="0" eaLnBrk="1" fontAlgn="auto" latinLnBrk="0" hangingPunct="1">
              <a:lnSpc>
                <a:spcPct val="100000"/>
              </a:lnSpc>
              <a:spcBef>
                <a:spcPts val="0"/>
              </a:spcBef>
              <a:spcAft>
                <a:spcPts val="0"/>
              </a:spcAft>
              <a:buClrTx/>
              <a:buSzTx/>
              <a:tabLst/>
              <a:defRPr/>
            </a:pPr>
            <a:r>
              <a:rPr kumimoji="0" lang="lv-LV"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ita informācija, kuru ražotājs uzskata par nepieciešamu</a:t>
            </a:r>
          </a:p>
        </p:txBody>
      </p:sp>
      <p:grpSp>
        <p:nvGrpSpPr>
          <p:cNvPr id="50" name="Group 49">
            <a:extLst>
              <a:ext uri="{FF2B5EF4-FFF2-40B4-BE49-F238E27FC236}">
                <a16:creationId xmlns:a16="http://schemas.microsoft.com/office/drawing/2014/main" id="{9E9D8580-EE76-6AE9-F625-A1278CC4D36B}"/>
              </a:ext>
            </a:extLst>
          </p:cNvPr>
          <p:cNvGrpSpPr/>
          <p:nvPr/>
        </p:nvGrpSpPr>
        <p:grpSpPr>
          <a:xfrm>
            <a:off x="442913" y="5269239"/>
            <a:ext cx="576263" cy="432000"/>
            <a:chOff x="442913" y="2552728"/>
            <a:chExt cx="576263" cy="432000"/>
          </a:xfrm>
        </p:grpSpPr>
        <p:sp>
          <p:nvSpPr>
            <p:cNvPr id="51" name="Rectangle 50">
              <a:extLst>
                <a:ext uri="{FF2B5EF4-FFF2-40B4-BE49-F238E27FC236}">
                  <a16:creationId xmlns:a16="http://schemas.microsoft.com/office/drawing/2014/main" id="{5DB48AB3-24F4-010A-8ED4-4C0F4A9047BD}"/>
                </a:ext>
              </a:extLst>
            </p:cNvPr>
            <p:cNvSpPr/>
            <p:nvPr/>
          </p:nvSpPr>
          <p:spPr>
            <a:xfrm>
              <a:off x="442913" y="2552728"/>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2" name="L-Shape 51">
              <a:extLst>
                <a:ext uri="{FF2B5EF4-FFF2-40B4-BE49-F238E27FC236}">
                  <a16:creationId xmlns:a16="http://schemas.microsoft.com/office/drawing/2014/main" id="{5245AC34-C807-4089-238B-6DDDDEDC2B3C}"/>
                </a:ext>
              </a:extLst>
            </p:cNvPr>
            <p:cNvSpPr/>
            <p:nvPr/>
          </p:nvSpPr>
          <p:spPr>
            <a:xfrm rot="13500000">
              <a:off x="559307" y="26323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38" name="TextBox 37">
            <a:extLst>
              <a:ext uri="{FF2B5EF4-FFF2-40B4-BE49-F238E27FC236}">
                <a16:creationId xmlns:a16="http://schemas.microsoft.com/office/drawing/2014/main" id="{52ADA19F-2469-2E18-9590-B2B06A192594}"/>
              </a:ext>
            </a:extLst>
          </p:cNvPr>
          <p:cNvSpPr txBox="1"/>
          <p:nvPr/>
        </p:nvSpPr>
        <p:spPr>
          <a:xfrm>
            <a:off x="1079076" y="3415595"/>
            <a:ext cx="5031912" cy="576293"/>
          </a:xfrm>
          <a:prstGeom prst="rect">
            <a:avLst/>
          </a:prstGeom>
          <a:noFill/>
        </p:spPr>
        <p:txBody>
          <a:bodyPr wrap="square" lIns="72000" tIns="72000" rIns="72000" bIns="72000">
            <a:spAutoFit/>
          </a:bodyPr>
          <a:lstStyle/>
          <a:p>
            <a:pPr marR="0" lvl="0" algn="l" defTabSz="914400" rtl="0" eaLnBrk="1" fontAlgn="auto" latinLnBrk="0" hangingPunct="1">
              <a:lnSpc>
                <a:spcPct val="100000"/>
              </a:lnSpc>
              <a:spcBef>
                <a:spcPts val="0"/>
              </a:spcBef>
              <a:spcAft>
                <a:spcPts val="0"/>
              </a:spcAft>
              <a:buClrTx/>
              <a:buSzTx/>
              <a:tabLst/>
              <a:defRPr/>
            </a:pPr>
            <a:r>
              <a:rPr kumimoji="0" lang="lv-LV"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rezervuāra identifikācijas dati atbilstoši tā raksturam (piemēram, rezervuāra tips, sērija, numurs)</a:t>
            </a:r>
          </a:p>
        </p:txBody>
      </p:sp>
      <p:grpSp>
        <p:nvGrpSpPr>
          <p:cNvPr id="63" name="Group 62">
            <a:extLst>
              <a:ext uri="{FF2B5EF4-FFF2-40B4-BE49-F238E27FC236}">
                <a16:creationId xmlns:a16="http://schemas.microsoft.com/office/drawing/2014/main" id="{916C54AF-20A2-5B74-2534-0D071CB3B547}"/>
              </a:ext>
            </a:extLst>
          </p:cNvPr>
          <p:cNvGrpSpPr/>
          <p:nvPr/>
        </p:nvGrpSpPr>
        <p:grpSpPr>
          <a:xfrm>
            <a:off x="442913" y="3633244"/>
            <a:ext cx="576263" cy="432000"/>
            <a:chOff x="442913" y="2552728"/>
            <a:chExt cx="576263" cy="432000"/>
          </a:xfrm>
        </p:grpSpPr>
        <p:sp>
          <p:nvSpPr>
            <p:cNvPr id="64" name="Rectangle 63">
              <a:extLst>
                <a:ext uri="{FF2B5EF4-FFF2-40B4-BE49-F238E27FC236}">
                  <a16:creationId xmlns:a16="http://schemas.microsoft.com/office/drawing/2014/main" id="{2A76BD97-C53C-104E-2F20-09E4F9FE2D93}"/>
                </a:ext>
              </a:extLst>
            </p:cNvPr>
            <p:cNvSpPr/>
            <p:nvPr/>
          </p:nvSpPr>
          <p:spPr>
            <a:xfrm>
              <a:off x="442913" y="2552728"/>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5" name="L-Shape 64">
              <a:extLst>
                <a:ext uri="{FF2B5EF4-FFF2-40B4-BE49-F238E27FC236}">
                  <a16:creationId xmlns:a16="http://schemas.microsoft.com/office/drawing/2014/main" id="{4417F7E4-11F5-38C7-9663-B6EC701FD642}"/>
                </a:ext>
              </a:extLst>
            </p:cNvPr>
            <p:cNvSpPr/>
            <p:nvPr/>
          </p:nvSpPr>
          <p:spPr>
            <a:xfrm rot="13500000">
              <a:off x="559307" y="26323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36" name="TextBox 35">
            <a:extLst>
              <a:ext uri="{FF2B5EF4-FFF2-40B4-BE49-F238E27FC236}">
                <a16:creationId xmlns:a16="http://schemas.microsoft.com/office/drawing/2014/main" id="{2CF66901-C75F-6740-56D3-00380F855F2A}"/>
              </a:ext>
            </a:extLst>
          </p:cNvPr>
          <p:cNvSpPr txBox="1"/>
          <p:nvPr/>
        </p:nvSpPr>
        <p:spPr>
          <a:xfrm>
            <a:off x="1079076" y="4063026"/>
            <a:ext cx="5031912" cy="576293"/>
          </a:xfrm>
          <a:prstGeom prst="rect">
            <a:avLst/>
          </a:prstGeom>
          <a:noFill/>
        </p:spPr>
        <p:txBody>
          <a:bodyPr wrap="square" lIns="72000" tIns="72000" rIns="72000" bIns="72000">
            <a:spAutoFit/>
          </a:bodyPr>
          <a:lstStyle/>
          <a:p>
            <a:pPr marR="0" lvl="0" algn="l" defTabSz="914400" rtl="0" eaLnBrk="1" fontAlgn="auto" latinLnBrk="0" hangingPunct="1">
              <a:lnSpc>
                <a:spcPct val="100000"/>
              </a:lnSpc>
              <a:spcBef>
                <a:spcPts val="0"/>
              </a:spcBef>
              <a:spcAft>
                <a:spcPts val="0"/>
              </a:spcAft>
              <a:buClrTx/>
              <a:buSzTx/>
              <a:tabLst/>
              <a:defRPr/>
            </a:pPr>
            <a:r>
              <a:rPr kumimoji="0" lang="lv-LV"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galvenās maksimālās un minimālās robežvērtības, darba temperatūra un uzglabāšanas tilpums</a:t>
            </a:r>
          </a:p>
        </p:txBody>
      </p:sp>
      <p:grpSp>
        <p:nvGrpSpPr>
          <p:cNvPr id="66" name="Group 65">
            <a:extLst>
              <a:ext uri="{FF2B5EF4-FFF2-40B4-BE49-F238E27FC236}">
                <a16:creationId xmlns:a16="http://schemas.microsoft.com/office/drawing/2014/main" id="{AC3E1359-9073-E6AC-C8F8-2B83D5EDC7DE}"/>
              </a:ext>
            </a:extLst>
          </p:cNvPr>
          <p:cNvGrpSpPr/>
          <p:nvPr/>
        </p:nvGrpSpPr>
        <p:grpSpPr>
          <a:xfrm>
            <a:off x="442913" y="4178576"/>
            <a:ext cx="576263" cy="432000"/>
            <a:chOff x="442913" y="2552728"/>
            <a:chExt cx="576263" cy="432000"/>
          </a:xfrm>
        </p:grpSpPr>
        <p:sp>
          <p:nvSpPr>
            <p:cNvPr id="67" name="Rectangle 66">
              <a:extLst>
                <a:ext uri="{FF2B5EF4-FFF2-40B4-BE49-F238E27FC236}">
                  <a16:creationId xmlns:a16="http://schemas.microsoft.com/office/drawing/2014/main" id="{58F4A0EE-D5CF-EEB3-2147-1F48ADCE9849}"/>
                </a:ext>
              </a:extLst>
            </p:cNvPr>
            <p:cNvSpPr/>
            <p:nvPr/>
          </p:nvSpPr>
          <p:spPr>
            <a:xfrm>
              <a:off x="442913" y="2552728"/>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8" name="L-Shape 67">
              <a:extLst>
                <a:ext uri="{FF2B5EF4-FFF2-40B4-BE49-F238E27FC236}">
                  <a16:creationId xmlns:a16="http://schemas.microsoft.com/office/drawing/2014/main" id="{3F9908E6-BF88-90AA-01D9-0358821F343C}"/>
                </a:ext>
              </a:extLst>
            </p:cNvPr>
            <p:cNvSpPr/>
            <p:nvPr/>
          </p:nvSpPr>
          <p:spPr>
            <a:xfrm rot="13500000">
              <a:off x="559307" y="26323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34" name="TextBox 33">
            <a:extLst>
              <a:ext uri="{FF2B5EF4-FFF2-40B4-BE49-F238E27FC236}">
                <a16:creationId xmlns:a16="http://schemas.microsoft.com/office/drawing/2014/main" id="{0FF9B437-CE1E-74AB-99FA-697A777E4E05}"/>
              </a:ext>
            </a:extLst>
          </p:cNvPr>
          <p:cNvSpPr txBox="1"/>
          <p:nvPr/>
        </p:nvSpPr>
        <p:spPr>
          <a:xfrm>
            <a:off x="1079076" y="4710457"/>
            <a:ext cx="5031912" cy="523220"/>
          </a:xfrm>
          <a:prstGeom prst="rect">
            <a:avLst/>
          </a:prstGeom>
          <a:noFill/>
        </p:spPr>
        <p:txBody>
          <a:bodyPr wrap="square" lIns="72000" tIns="72000" rIns="72000" bIns="72000">
            <a:noAutofit/>
          </a:bodyPr>
          <a:lstStyle/>
          <a:p>
            <a:pPr marR="0" lvl="0" algn="l" defTabSz="914400" rtl="0" eaLnBrk="1" fontAlgn="auto" latinLnBrk="0" hangingPunct="1">
              <a:lnSpc>
                <a:spcPct val="100000"/>
              </a:lnSpc>
              <a:spcBef>
                <a:spcPts val="0"/>
              </a:spcBef>
              <a:spcAft>
                <a:spcPts val="0"/>
              </a:spcAft>
              <a:buClrTx/>
              <a:buSzTx/>
              <a:tabLst/>
              <a:defRPr/>
            </a:pPr>
            <a:r>
              <a:rPr kumimoji="0" lang="lv-LV"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ās paziņotās institūcijas identifikācijas numurs, kura veikusi attiecīgā rezervuāra atbilstības novērtēšanu</a:t>
            </a:r>
          </a:p>
        </p:txBody>
      </p:sp>
      <p:grpSp>
        <p:nvGrpSpPr>
          <p:cNvPr id="69" name="Group 68">
            <a:extLst>
              <a:ext uri="{FF2B5EF4-FFF2-40B4-BE49-F238E27FC236}">
                <a16:creationId xmlns:a16="http://schemas.microsoft.com/office/drawing/2014/main" id="{8649E6C9-198C-FE2F-FCC2-EC209A4350C7}"/>
              </a:ext>
            </a:extLst>
          </p:cNvPr>
          <p:cNvGrpSpPr/>
          <p:nvPr/>
        </p:nvGrpSpPr>
        <p:grpSpPr>
          <a:xfrm>
            <a:off x="442913" y="4723908"/>
            <a:ext cx="576263" cy="432000"/>
            <a:chOff x="442913" y="2552728"/>
            <a:chExt cx="576263" cy="432000"/>
          </a:xfrm>
        </p:grpSpPr>
        <p:sp>
          <p:nvSpPr>
            <p:cNvPr id="70" name="Rectangle 69">
              <a:extLst>
                <a:ext uri="{FF2B5EF4-FFF2-40B4-BE49-F238E27FC236}">
                  <a16:creationId xmlns:a16="http://schemas.microsoft.com/office/drawing/2014/main" id="{61CA474D-160F-4916-9B90-CF9DDF93C972}"/>
                </a:ext>
              </a:extLst>
            </p:cNvPr>
            <p:cNvSpPr/>
            <p:nvPr/>
          </p:nvSpPr>
          <p:spPr>
            <a:xfrm>
              <a:off x="442913" y="2552728"/>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1" name="L-Shape 70">
              <a:extLst>
                <a:ext uri="{FF2B5EF4-FFF2-40B4-BE49-F238E27FC236}">
                  <a16:creationId xmlns:a16="http://schemas.microsoft.com/office/drawing/2014/main" id="{15D40372-FDB8-45F3-249D-23DE5FE3A26E}"/>
                </a:ext>
              </a:extLst>
            </p:cNvPr>
            <p:cNvSpPr/>
            <p:nvPr/>
          </p:nvSpPr>
          <p:spPr>
            <a:xfrm rot="13500000">
              <a:off x="559307" y="26323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cxnSp>
        <p:nvCxnSpPr>
          <p:cNvPr id="79" name="Straight Connector 78">
            <a:extLst>
              <a:ext uri="{FF2B5EF4-FFF2-40B4-BE49-F238E27FC236}">
                <a16:creationId xmlns:a16="http://schemas.microsoft.com/office/drawing/2014/main" id="{8B74B9CB-76FC-F454-71F6-27AF76011B73}"/>
              </a:ext>
            </a:extLst>
          </p:cNvPr>
          <p:cNvCxnSpPr>
            <a:cxnSpLocks/>
          </p:cNvCxnSpPr>
          <p:nvPr/>
        </p:nvCxnSpPr>
        <p:spPr>
          <a:xfrm>
            <a:off x="1107653" y="2948038"/>
            <a:ext cx="4988347"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80" name="Straight Connector 79">
            <a:extLst>
              <a:ext uri="{FF2B5EF4-FFF2-40B4-BE49-F238E27FC236}">
                <a16:creationId xmlns:a16="http://schemas.microsoft.com/office/drawing/2014/main" id="{7DA9F04E-3CFC-C985-BF0A-B8BE6206E411}"/>
              </a:ext>
            </a:extLst>
          </p:cNvPr>
          <p:cNvCxnSpPr>
            <a:cxnSpLocks/>
          </p:cNvCxnSpPr>
          <p:nvPr/>
        </p:nvCxnSpPr>
        <p:spPr>
          <a:xfrm>
            <a:off x="1107653" y="3380026"/>
            <a:ext cx="4988347"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81" name="Straight Connector 80">
            <a:extLst>
              <a:ext uri="{FF2B5EF4-FFF2-40B4-BE49-F238E27FC236}">
                <a16:creationId xmlns:a16="http://schemas.microsoft.com/office/drawing/2014/main" id="{D7777413-2DE9-2E65-4EF7-CF58F906EEBB}"/>
              </a:ext>
            </a:extLst>
          </p:cNvPr>
          <p:cNvCxnSpPr>
            <a:cxnSpLocks/>
          </p:cNvCxnSpPr>
          <p:nvPr/>
        </p:nvCxnSpPr>
        <p:spPr>
          <a:xfrm>
            <a:off x="1107653" y="4027457"/>
            <a:ext cx="4988347"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82" name="Straight Connector 81">
            <a:extLst>
              <a:ext uri="{FF2B5EF4-FFF2-40B4-BE49-F238E27FC236}">
                <a16:creationId xmlns:a16="http://schemas.microsoft.com/office/drawing/2014/main" id="{F7205737-0806-074E-7594-E651E52C8961}"/>
              </a:ext>
            </a:extLst>
          </p:cNvPr>
          <p:cNvCxnSpPr>
            <a:cxnSpLocks/>
          </p:cNvCxnSpPr>
          <p:nvPr/>
        </p:nvCxnSpPr>
        <p:spPr>
          <a:xfrm>
            <a:off x="1107653" y="4674888"/>
            <a:ext cx="4988347"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83" name="Straight Connector 82">
            <a:extLst>
              <a:ext uri="{FF2B5EF4-FFF2-40B4-BE49-F238E27FC236}">
                <a16:creationId xmlns:a16="http://schemas.microsoft.com/office/drawing/2014/main" id="{13FB988A-2E7F-6BFB-551B-09C9ECFE07BF}"/>
              </a:ext>
            </a:extLst>
          </p:cNvPr>
          <p:cNvCxnSpPr>
            <a:cxnSpLocks/>
          </p:cNvCxnSpPr>
          <p:nvPr/>
        </p:nvCxnSpPr>
        <p:spPr>
          <a:xfrm>
            <a:off x="1107653" y="5269246"/>
            <a:ext cx="4988347"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84" name="Group 83">
            <a:extLst>
              <a:ext uri="{FF2B5EF4-FFF2-40B4-BE49-F238E27FC236}">
                <a16:creationId xmlns:a16="http://schemas.microsoft.com/office/drawing/2014/main" id="{53B21A3F-1B07-6C84-519A-08F2488052FD}"/>
              </a:ext>
            </a:extLst>
          </p:cNvPr>
          <p:cNvGrpSpPr/>
          <p:nvPr/>
        </p:nvGrpSpPr>
        <p:grpSpPr>
          <a:xfrm>
            <a:off x="6275388" y="2542580"/>
            <a:ext cx="576263" cy="432000"/>
            <a:chOff x="442913" y="2552728"/>
            <a:chExt cx="576263" cy="432000"/>
          </a:xfrm>
        </p:grpSpPr>
        <p:sp>
          <p:nvSpPr>
            <p:cNvPr id="85" name="Rectangle 84">
              <a:extLst>
                <a:ext uri="{FF2B5EF4-FFF2-40B4-BE49-F238E27FC236}">
                  <a16:creationId xmlns:a16="http://schemas.microsoft.com/office/drawing/2014/main" id="{1C244401-AC88-6C9B-A974-7CF615D19BAB}"/>
                </a:ext>
              </a:extLst>
            </p:cNvPr>
            <p:cNvSpPr/>
            <p:nvPr/>
          </p:nvSpPr>
          <p:spPr>
            <a:xfrm>
              <a:off x="442913" y="2552728"/>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6" name="L-Shape 85">
              <a:extLst>
                <a:ext uri="{FF2B5EF4-FFF2-40B4-BE49-F238E27FC236}">
                  <a16:creationId xmlns:a16="http://schemas.microsoft.com/office/drawing/2014/main" id="{3BFE3407-23AA-E2A3-9B86-714A195FC782}"/>
                </a:ext>
              </a:extLst>
            </p:cNvPr>
            <p:cNvSpPr/>
            <p:nvPr/>
          </p:nvSpPr>
          <p:spPr>
            <a:xfrm rot="13500000">
              <a:off x="559307" y="26323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87" name="Group 86">
            <a:extLst>
              <a:ext uri="{FF2B5EF4-FFF2-40B4-BE49-F238E27FC236}">
                <a16:creationId xmlns:a16="http://schemas.microsoft.com/office/drawing/2014/main" id="{9AAB8724-EC4F-B804-3CFF-6F8E15097053}"/>
              </a:ext>
            </a:extLst>
          </p:cNvPr>
          <p:cNvGrpSpPr/>
          <p:nvPr/>
        </p:nvGrpSpPr>
        <p:grpSpPr>
          <a:xfrm>
            <a:off x="6275388" y="3087912"/>
            <a:ext cx="576263" cy="432000"/>
            <a:chOff x="442913" y="2552728"/>
            <a:chExt cx="576263" cy="432000"/>
          </a:xfrm>
        </p:grpSpPr>
        <p:sp>
          <p:nvSpPr>
            <p:cNvPr id="88" name="Rectangle 87">
              <a:extLst>
                <a:ext uri="{FF2B5EF4-FFF2-40B4-BE49-F238E27FC236}">
                  <a16:creationId xmlns:a16="http://schemas.microsoft.com/office/drawing/2014/main" id="{96E53407-C391-7751-4AA9-A63BAFC8A117}"/>
                </a:ext>
              </a:extLst>
            </p:cNvPr>
            <p:cNvSpPr/>
            <p:nvPr/>
          </p:nvSpPr>
          <p:spPr>
            <a:xfrm>
              <a:off x="442913" y="2552728"/>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9" name="L-Shape 88">
              <a:extLst>
                <a:ext uri="{FF2B5EF4-FFF2-40B4-BE49-F238E27FC236}">
                  <a16:creationId xmlns:a16="http://schemas.microsoft.com/office/drawing/2014/main" id="{375C7AF0-175E-CAF8-B992-FA2C7234D151}"/>
                </a:ext>
              </a:extLst>
            </p:cNvPr>
            <p:cNvSpPr/>
            <p:nvPr/>
          </p:nvSpPr>
          <p:spPr>
            <a:xfrm rot="13500000">
              <a:off x="559307" y="26323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90" name="Group 89">
            <a:extLst>
              <a:ext uri="{FF2B5EF4-FFF2-40B4-BE49-F238E27FC236}">
                <a16:creationId xmlns:a16="http://schemas.microsoft.com/office/drawing/2014/main" id="{5BDF9F3E-438C-5C71-2728-7001ACE529EC}"/>
              </a:ext>
            </a:extLst>
          </p:cNvPr>
          <p:cNvGrpSpPr/>
          <p:nvPr/>
        </p:nvGrpSpPr>
        <p:grpSpPr>
          <a:xfrm>
            <a:off x="6275388" y="3633244"/>
            <a:ext cx="576263" cy="432000"/>
            <a:chOff x="442913" y="2552728"/>
            <a:chExt cx="576263" cy="432000"/>
          </a:xfrm>
        </p:grpSpPr>
        <p:sp>
          <p:nvSpPr>
            <p:cNvPr id="91" name="Rectangle 90">
              <a:extLst>
                <a:ext uri="{FF2B5EF4-FFF2-40B4-BE49-F238E27FC236}">
                  <a16:creationId xmlns:a16="http://schemas.microsoft.com/office/drawing/2014/main" id="{20E54B75-747F-CFB4-E266-4C0D6A5305D2}"/>
                </a:ext>
              </a:extLst>
            </p:cNvPr>
            <p:cNvSpPr/>
            <p:nvPr/>
          </p:nvSpPr>
          <p:spPr>
            <a:xfrm>
              <a:off x="442913" y="2552728"/>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2" name="L-Shape 91">
              <a:extLst>
                <a:ext uri="{FF2B5EF4-FFF2-40B4-BE49-F238E27FC236}">
                  <a16:creationId xmlns:a16="http://schemas.microsoft.com/office/drawing/2014/main" id="{4BFBD9C4-3B7D-44EF-4B5E-A7E1A8CA1226}"/>
                </a:ext>
              </a:extLst>
            </p:cNvPr>
            <p:cNvSpPr/>
            <p:nvPr/>
          </p:nvSpPr>
          <p:spPr>
            <a:xfrm rot="13500000">
              <a:off x="559307" y="26323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93" name="Group 92">
            <a:extLst>
              <a:ext uri="{FF2B5EF4-FFF2-40B4-BE49-F238E27FC236}">
                <a16:creationId xmlns:a16="http://schemas.microsoft.com/office/drawing/2014/main" id="{3A0A75AB-2D45-548C-B69D-FE02CA2734BA}"/>
              </a:ext>
            </a:extLst>
          </p:cNvPr>
          <p:cNvGrpSpPr/>
          <p:nvPr/>
        </p:nvGrpSpPr>
        <p:grpSpPr>
          <a:xfrm>
            <a:off x="6275388" y="4178576"/>
            <a:ext cx="576263" cy="432000"/>
            <a:chOff x="442913" y="2552728"/>
            <a:chExt cx="576263" cy="432000"/>
          </a:xfrm>
        </p:grpSpPr>
        <p:sp>
          <p:nvSpPr>
            <p:cNvPr id="94" name="Rectangle 93">
              <a:extLst>
                <a:ext uri="{FF2B5EF4-FFF2-40B4-BE49-F238E27FC236}">
                  <a16:creationId xmlns:a16="http://schemas.microsoft.com/office/drawing/2014/main" id="{3EFDF656-37F4-9DCB-027F-722F0E1311EC}"/>
                </a:ext>
              </a:extLst>
            </p:cNvPr>
            <p:cNvSpPr/>
            <p:nvPr/>
          </p:nvSpPr>
          <p:spPr>
            <a:xfrm>
              <a:off x="442913" y="2552728"/>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5" name="L-Shape 94">
              <a:extLst>
                <a:ext uri="{FF2B5EF4-FFF2-40B4-BE49-F238E27FC236}">
                  <a16:creationId xmlns:a16="http://schemas.microsoft.com/office/drawing/2014/main" id="{2146118C-50BF-3BAB-5B68-FA4366BE8E93}"/>
                </a:ext>
              </a:extLst>
            </p:cNvPr>
            <p:cNvSpPr/>
            <p:nvPr/>
          </p:nvSpPr>
          <p:spPr>
            <a:xfrm rot="13500000">
              <a:off x="559307" y="26323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97" name="Rectangle 96">
            <a:extLst>
              <a:ext uri="{FF2B5EF4-FFF2-40B4-BE49-F238E27FC236}">
                <a16:creationId xmlns:a16="http://schemas.microsoft.com/office/drawing/2014/main" id="{CFD1E085-E06A-85C4-47E2-8C7978B1DB1D}"/>
              </a:ext>
            </a:extLst>
          </p:cNvPr>
          <p:cNvSpPr/>
          <p:nvPr/>
        </p:nvSpPr>
        <p:spPr>
          <a:xfrm>
            <a:off x="6275388" y="4750241"/>
            <a:ext cx="576263" cy="968208"/>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8" name="L-Shape 97">
            <a:extLst>
              <a:ext uri="{FF2B5EF4-FFF2-40B4-BE49-F238E27FC236}">
                <a16:creationId xmlns:a16="http://schemas.microsoft.com/office/drawing/2014/main" id="{3A44D43F-F5BB-84DF-5A6B-2784EB93AFAF}"/>
              </a:ext>
            </a:extLst>
          </p:cNvPr>
          <p:cNvSpPr/>
          <p:nvPr/>
        </p:nvSpPr>
        <p:spPr>
          <a:xfrm rot="13500000">
            <a:off x="6391782" y="510771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99" name="Straight Connector 98">
            <a:extLst>
              <a:ext uri="{FF2B5EF4-FFF2-40B4-BE49-F238E27FC236}">
                <a16:creationId xmlns:a16="http://schemas.microsoft.com/office/drawing/2014/main" id="{54488EEE-0D2F-ACC9-7228-CE9F3C2BD6EC}"/>
              </a:ext>
            </a:extLst>
          </p:cNvPr>
          <p:cNvCxnSpPr>
            <a:cxnSpLocks/>
          </p:cNvCxnSpPr>
          <p:nvPr/>
        </p:nvCxnSpPr>
        <p:spPr>
          <a:xfrm>
            <a:off x="6940550" y="3027363"/>
            <a:ext cx="4826000"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00" name="Straight Connector 99">
            <a:extLst>
              <a:ext uri="{FF2B5EF4-FFF2-40B4-BE49-F238E27FC236}">
                <a16:creationId xmlns:a16="http://schemas.microsoft.com/office/drawing/2014/main" id="{6BEC3E96-73BA-6C96-531D-098A90324809}"/>
              </a:ext>
            </a:extLst>
          </p:cNvPr>
          <p:cNvCxnSpPr>
            <a:cxnSpLocks/>
          </p:cNvCxnSpPr>
          <p:nvPr/>
        </p:nvCxnSpPr>
        <p:spPr>
          <a:xfrm>
            <a:off x="6940550" y="3565525"/>
            <a:ext cx="4826000"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01" name="Straight Connector 100">
            <a:extLst>
              <a:ext uri="{FF2B5EF4-FFF2-40B4-BE49-F238E27FC236}">
                <a16:creationId xmlns:a16="http://schemas.microsoft.com/office/drawing/2014/main" id="{7AE4B878-B660-7C58-B84D-0B380C459DC7}"/>
              </a:ext>
            </a:extLst>
          </p:cNvPr>
          <p:cNvCxnSpPr>
            <a:cxnSpLocks/>
          </p:cNvCxnSpPr>
          <p:nvPr/>
        </p:nvCxnSpPr>
        <p:spPr>
          <a:xfrm>
            <a:off x="6940550" y="4103688"/>
            <a:ext cx="4826000"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02" name="Straight Connector 101">
            <a:extLst>
              <a:ext uri="{FF2B5EF4-FFF2-40B4-BE49-F238E27FC236}">
                <a16:creationId xmlns:a16="http://schemas.microsoft.com/office/drawing/2014/main" id="{4AD81276-8BC7-B85D-A07D-F9A400BC5A05}"/>
              </a:ext>
            </a:extLst>
          </p:cNvPr>
          <p:cNvCxnSpPr>
            <a:cxnSpLocks/>
          </p:cNvCxnSpPr>
          <p:nvPr/>
        </p:nvCxnSpPr>
        <p:spPr>
          <a:xfrm>
            <a:off x="6940550" y="4641850"/>
            <a:ext cx="4826000"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03" name="TextBox 102">
            <a:extLst>
              <a:ext uri="{FF2B5EF4-FFF2-40B4-BE49-F238E27FC236}">
                <a16:creationId xmlns:a16="http://schemas.microsoft.com/office/drawing/2014/main" id="{0CB10DB3-C32A-C934-424C-A6462DB38993}"/>
              </a:ext>
            </a:extLst>
          </p:cNvPr>
          <p:cNvSpPr txBox="1"/>
          <p:nvPr/>
        </p:nvSpPr>
        <p:spPr>
          <a:xfrm>
            <a:off x="6940127" y="2578155"/>
            <a:ext cx="4825701" cy="360850"/>
          </a:xfrm>
          <a:prstGeom prst="rect">
            <a:avLst/>
          </a:prstGeom>
          <a:noFill/>
        </p:spPr>
        <p:txBody>
          <a:bodyPr wrap="square" lIns="72000" tIns="72000" rIns="72000" bIns="72000">
            <a:spAutoFit/>
          </a:bodyPr>
          <a:lstStyle/>
          <a:p>
            <a:r>
              <a:rPr lang="lv-LV" sz="1400" b="0" i="0" dirty="0">
                <a:effectLst/>
                <a:latin typeface="Arial" panose="020B0604020202020204" pitchFamily="34" charset="0"/>
              </a:rPr>
              <a:t>rezervuāra tilpums</a:t>
            </a:r>
          </a:p>
        </p:txBody>
      </p:sp>
      <p:sp>
        <p:nvSpPr>
          <p:cNvPr id="104" name="TextBox 103">
            <a:extLst>
              <a:ext uri="{FF2B5EF4-FFF2-40B4-BE49-F238E27FC236}">
                <a16:creationId xmlns:a16="http://schemas.microsoft.com/office/drawing/2014/main" id="{EEC1DA6E-99FD-1837-B5B2-A784F9A949C2}"/>
              </a:ext>
            </a:extLst>
          </p:cNvPr>
          <p:cNvSpPr txBox="1"/>
          <p:nvPr/>
        </p:nvSpPr>
        <p:spPr>
          <a:xfrm>
            <a:off x="6940127" y="3116305"/>
            <a:ext cx="4825701" cy="360850"/>
          </a:xfrm>
          <a:prstGeom prst="rect">
            <a:avLst/>
          </a:prstGeom>
          <a:noFill/>
        </p:spPr>
        <p:txBody>
          <a:bodyPr wrap="square" lIns="72000" tIns="72000" rIns="72000" bIns="72000">
            <a:spAutoFit/>
          </a:bodyPr>
          <a:lstStyle/>
          <a:p>
            <a:pPr marR="0" lvl="0" algn="l" defTabSz="914400" rtl="0" eaLnBrk="1" fontAlgn="auto" latinLnBrk="0" hangingPunct="1">
              <a:lnSpc>
                <a:spcPct val="100000"/>
              </a:lnSpc>
              <a:spcBef>
                <a:spcPts val="0"/>
              </a:spcBef>
              <a:spcAft>
                <a:spcPts val="0"/>
              </a:spcAft>
              <a:buClrTx/>
              <a:buSzTx/>
              <a:tabLst/>
              <a:defRPr/>
            </a:pPr>
            <a:r>
              <a:rPr kumimoji="0" lang="fr-FR"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pārbaudes</a:t>
            </a:r>
            <a:r>
              <a:rPr kumimoji="0" lang="fr-FR"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fr-FR"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spiediens</a:t>
            </a:r>
            <a:r>
              <a:rPr kumimoji="0" lang="fr-FR"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 </a:t>
            </a:r>
            <a:r>
              <a:rPr kumimoji="0" lang="fr-FR"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pārbaudes</a:t>
            </a:r>
            <a:r>
              <a:rPr kumimoji="0" lang="fr-FR"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fr-FR"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datums</a:t>
            </a:r>
            <a:endParaRPr kumimoji="0" lang="fr-FR"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05" name="TextBox 104">
            <a:extLst>
              <a:ext uri="{FF2B5EF4-FFF2-40B4-BE49-F238E27FC236}">
                <a16:creationId xmlns:a16="http://schemas.microsoft.com/office/drawing/2014/main" id="{A254D817-C77D-6AE0-2A95-5FBB4DB654A5}"/>
              </a:ext>
            </a:extLst>
          </p:cNvPr>
          <p:cNvSpPr txBox="1"/>
          <p:nvPr/>
        </p:nvSpPr>
        <p:spPr>
          <a:xfrm>
            <a:off x="6940127" y="3654455"/>
            <a:ext cx="4825701" cy="360850"/>
          </a:xfrm>
          <a:prstGeom prst="rect">
            <a:avLst/>
          </a:prstGeom>
          <a:noFill/>
        </p:spPr>
        <p:txBody>
          <a:bodyPr wrap="square" lIns="72000" tIns="72000" rIns="72000" bIns="72000">
            <a:spAutoFit/>
          </a:bodyPr>
          <a:lstStyle/>
          <a:p>
            <a:pPr marR="0" lvl="0" algn="l" defTabSz="914400" rtl="0" eaLnBrk="1" fontAlgn="auto" latinLnBrk="0" hangingPunct="1">
              <a:lnSpc>
                <a:spcPct val="100000"/>
              </a:lnSpc>
              <a:spcBef>
                <a:spcPts val="0"/>
              </a:spcBef>
              <a:spcAft>
                <a:spcPts val="0"/>
              </a:spcAft>
              <a:buClrTx/>
              <a:buSzTx/>
              <a:tabLst/>
              <a:defRPr/>
            </a:pPr>
            <a:r>
              <a:rPr kumimoji="0" lang="lv-LV"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oregulētais drošības ierīču spiediens</a:t>
            </a:r>
          </a:p>
        </p:txBody>
      </p:sp>
      <p:sp>
        <p:nvSpPr>
          <p:cNvPr id="106" name="TextBox 105">
            <a:extLst>
              <a:ext uri="{FF2B5EF4-FFF2-40B4-BE49-F238E27FC236}">
                <a16:creationId xmlns:a16="http://schemas.microsoft.com/office/drawing/2014/main" id="{0D3EAF7B-AFDD-C05A-2731-B506FD390B73}"/>
              </a:ext>
            </a:extLst>
          </p:cNvPr>
          <p:cNvSpPr txBox="1"/>
          <p:nvPr/>
        </p:nvSpPr>
        <p:spPr>
          <a:xfrm>
            <a:off x="6940127" y="4192605"/>
            <a:ext cx="4825701" cy="360850"/>
          </a:xfrm>
          <a:prstGeom prst="rect">
            <a:avLst/>
          </a:prstGeom>
          <a:noFill/>
        </p:spPr>
        <p:txBody>
          <a:bodyPr wrap="square" lIns="72000" tIns="72000" rIns="72000" bIns="72000">
            <a:spAutoFit/>
          </a:bodyPr>
          <a:lstStyle/>
          <a:p>
            <a:pPr marR="0" lvl="0" algn="l" defTabSz="914400" rtl="0" eaLnBrk="1" fontAlgn="auto" latinLnBrk="0" hangingPunct="1">
              <a:lnSpc>
                <a:spcPct val="100000"/>
              </a:lnSpc>
              <a:spcBef>
                <a:spcPts val="0"/>
              </a:spcBef>
              <a:spcAft>
                <a:spcPts val="0"/>
              </a:spcAft>
              <a:buClrTx/>
              <a:buSzTx/>
              <a:tabLst/>
              <a:defRPr/>
            </a:pPr>
            <a:r>
              <a:rPr kumimoji="0" lang="lv-LV"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maksimālā uzpildījuma pakāpe vai augstums</a:t>
            </a:r>
          </a:p>
        </p:txBody>
      </p:sp>
      <p:sp>
        <p:nvSpPr>
          <p:cNvPr id="107" name="TextBox 106">
            <a:extLst>
              <a:ext uri="{FF2B5EF4-FFF2-40B4-BE49-F238E27FC236}">
                <a16:creationId xmlns:a16="http://schemas.microsoft.com/office/drawing/2014/main" id="{F54E59B6-84D1-08C6-5CB7-F6E9C5DFAB1D}"/>
              </a:ext>
            </a:extLst>
          </p:cNvPr>
          <p:cNvSpPr txBox="1"/>
          <p:nvPr/>
        </p:nvSpPr>
        <p:spPr>
          <a:xfrm>
            <a:off x="6935432" y="4730755"/>
            <a:ext cx="4813655" cy="1007181"/>
          </a:xfrm>
          <a:prstGeom prst="rect">
            <a:avLst/>
          </a:prstGeom>
          <a:noFill/>
        </p:spPr>
        <p:txBody>
          <a:bodyPr wrap="square" lIns="72000" tIns="72000" rIns="72000" bIns="72000">
            <a:spAutoFit/>
          </a:bodyPr>
          <a:lstStyle/>
          <a:p>
            <a:pPr marR="0" lvl="0" algn="l" defTabSz="914400" rtl="0" eaLnBrk="1" fontAlgn="auto" latinLnBrk="0" hangingPunct="1">
              <a:lnSpc>
                <a:spcPct val="100000"/>
              </a:lnSpc>
              <a:spcBef>
                <a:spcPts val="0"/>
              </a:spcBef>
              <a:spcAft>
                <a:spcPts val="0"/>
              </a:spcAft>
              <a:buClrTx/>
              <a:buSzTx/>
              <a:tabLst/>
              <a:defRPr/>
            </a:pPr>
            <a:r>
              <a:rPr kumimoji="0" lang="lv-LV"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uzglabājamo bīstamo ķīmisko vielu vai ķīmisko preparātu (produktu) marķējums atbilstoši normatīvajiem aktiem par ķīmisko vielu un ķīmisko preparātu (produktu) klasificēšanas, marķēšanas un iepakošanas kārtību</a:t>
            </a:r>
          </a:p>
        </p:txBody>
      </p:sp>
      <p:grpSp>
        <p:nvGrpSpPr>
          <p:cNvPr id="7" name="Group 6">
            <a:extLst>
              <a:ext uri="{FF2B5EF4-FFF2-40B4-BE49-F238E27FC236}">
                <a16:creationId xmlns:a16="http://schemas.microsoft.com/office/drawing/2014/main" id="{1E7233CA-CEB6-C0AE-8AE0-84F7CEFCF889}"/>
              </a:ext>
            </a:extLst>
          </p:cNvPr>
          <p:cNvGrpSpPr/>
          <p:nvPr/>
        </p:nvGrpSpPr>
        <p:grpSpPr>
          <a:xfrm>
            <a:off x="8801454" y="159786"/>
            <a:ext cx="2947634" cy="217488"/>
            <a:chOff x="8559627" y="684914"/>
            <a:chExt cx="2947634" cy="217488"/>
          </a:xfrm>
        </p:grpSpPr>
        <p:sp>
          <p:nvSpPr>
            <p:cNvPr id="8" name="Rectangle 7">
              <a:extLst>
                <a:ext uri="{FF2B5EF4-FFF2-40B4-BE49-F238E27FC236}">
                  <a16:creationId xmlns:a16="http://schemas.microsoft.com/office/drawing/2014/main" id="{739DD232-E73D-B1C8-5C45-B5C8FAEF150E}"/>
                </a:ext>
              </a:extLst>
            </p:cNvPr>
            <p:cNvSpPr/>
            <p:nvPr/>
          </p:nvSpPr>
          <p:spPr>
            <a:xfrm>
              <a:off x="9285434" y="68491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5</a:t>
              </a:r>
              <a:r>
                <a:rPr kumimoji="0" lang="lv-LV" sz="800" b="1" i="0" u="none" strike="noStrike" kern="0" cap="none" spc="0" normalizeH="0" baseline="0" dirty="0">
                  <a:ln>
                    <a:noFill/>
                  </a:ln>
                  <a:effectLst/>
                  <a:uLnTx/>
                  <a:uFillTx/>
                  <a:ea typeface="Georgia"/>
                  <a:cs typeface="Georgia"/>
                  <a:sym typeface="Georgia"/>
                </a:rPr>
                <a:t>.</a:t>
              </a:r>
              <a:r>
                <a:rPr kumimoji="0" lang="en-US" sz="800" b="1" i="0" u="none" strike="noStrike" kern="0" cap="none" spc="0" normalizeH="0" baseline="0" dirty="0">
                  <a:ln>
                    <a:noFill/>
                  </a:ln>
                  <a:effectLst/>
                  <a:uLnTx/>
                  <a:uFillTx/>
                  <a:ea typeface="Georgia"/>
                  <a:cs typeface="Georgia"/>
                  <a:sym typeface="Georgia"/>
                </a:rPr>
                <a:t>4</a:t>
              </a:r>
              <a:endParaRPr kumimoji="0" lang="lv-LV" sz="800" b="1" i="0" u="none" strike="noStrike" kern="0" cap="none" spc="0" normalizeH="0" baseline="0" dirty="0">
                <a:ln>
                  <a:noFill/>
                </a:ln>
                <a:effectLst/>
                <a:uLnTx/>
                <a:uFillTx/>
                <a:ea typeface="Georgia"/>
                <a:cs typeface="Georgia"/>
                <a:sym typeface="Georgia"/>
              </a:endParaRPr>
            </a:p>
          </p:txBody>
        </p:sp>
        <p:sp>
          <p:nvSpPr>
            <p:cNvPr id="24" name="Rectangle 23">
              <a:extLst>
                <a:ext uri="{FF2B5EF4-FFF2-40B4-BE49-F238E27FC236}">
                  <a16:creationId xmlns:a16="http://schemas.microsoft.com/office/drawing/2014/main" id="{EC632266-1D94-1035-CAFF-5F43356ABCE5}"/>
                </a:ext>
              </a:extLst>
            </p:cNvPr>
            <p:cNvSpPr/>
            <p:nvPr/>
          </p:nvSpPr>
          <p:spPr>
            <a:xfrm>
              <a:off x="9527261" y="684914"/>
              <a:ext cx="198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err="1">
                  <a:ln>
                    <a:noFill/>
                  </a:ln>
                  <a:effectLst/>
                  <a:uLnTx/>
                  <a:uFillTx/>
                  <a:ea typeface="Georgia"/>
                  <a:cs typeface="Georgia"/>
                  <a:sym typeface="Georgia"/>
                </a:rPr>
                <a:t>Drošības</a:t>
              </a:r>
              <a:r>
                <a:rPr kumimoji="0" lang="en-US" sz="800" b="1" i="0" u="none" strike="noStrike" kern="0" cap="none" spc="0" normalizeH="0" baseline="0" dirty="0">
                  <a:ln>
                    <a:noFill/>
                  </a:ln>
                  <a:effectLst/>
                  <a:uLnTx/>
                  <a:uFillTx/>
                  <a:ea typeface="Georgia"/>
                  <a:cs typeface="Georgia"/>
                  <a:sym typeface="Georgia"/>
                </a:rPr>
                <a:t> </a:t>
              </a:r>
              <a:r>
                <a:rPr kumimoji="0" lang="en-US" sz="800" b="1" i="0" u="none" strike="noStrike" kern="0" cap="none" spc="0" normalizeH="0" baseline="0" dirty="0" err="1">
                  <a:ln>
                    <a:noFill/>
                  </a:ln>
                  <a:effectLst/>
                  <a:uLnTx/>
                  <a:uFillTx/>
                  <a:ea typeface="Georgia"/>
                  <a:cs typeface="Georgia"/>
                  <a:sym typeface="Georgia"/>
                </a:rPr>
                <a:t>pasākumi</a:t>
              </a:r>
              <a:endParaRPr kumimoji="0" lang="en-US" sz="800" b="1" i="0" u="none" strike="noStrike" kern="0" cap="none" spc="0" normalizeH="0" baseline="0" dirty="0">
                <a:ln>
                  <a:noFill/>
                </a:ln>
                <a:effectLst/>
                <a:uLnTx/>
                <a:uFillTx/>
                <a:ea typeface="Georgia"/>
                <a:cs typeface="Georgia"/>
                <a:sym typeface="Georgia"/>
              </a:endParaRPr>
            </a:p>
          </p:txBody>
        </p:sp>
        <p:sp>
          <p:nvSpPr>
            <p:cNvPr id="31" name="Rectangle 30">
              <a:extLst>
                <a:ext uri="{FF2B5EF4-FFF2-40B4-BE49-F238E27FC236}">
                  <a16:creationId xmlns:a16="http://schemas.microsoft.com/office/drawing/2014/main" id="{82C84122-BA0D-180B-C506-E7027F7CE680}"/>
                </a:ext>
              </a:extLst>
            </p:cNvPr>
            <p:cNvSpPr/>
            <p:nvPr/>
          </p:nvSpPr>
          <p:spPr>
            <a:xfrm>
              <a:off x="9043607"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3</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33" name="Rectangle 32">
              <a:extLst>
                <a:ext uri="{FF2B5EF4-FFF2-40B4-BE49-F238E27FC236}">
                  <a16:creationId xmlns:a16="http://schemas.microsoft.com/office/drawing/2014/main" id="{53966B6F-F4B9-811C-7DD3-725D544C09B2}"/>
                </a:ext>
              </a:extLst>
            </p:cNvPr>
            <p:cNvSpPr/>
            <p:nvPr/>
          </p:nvSpPr>
          <p:spPr>
            <a:xfrm>
              <a:off x="8801780"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2</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35" name="Rectangle 34">
              <a:extLst>
                <a:ext uri="{FF2B5EF4-FFF2-40B4-BE49-F238E27FC236}">
                  <a16:creationId xmlns:a16="http://schemas.microsoft.com/office/drawing/2014/main" id="{07918611-6DC8-AE31-8268-19F8F7BD1222}"/>
                </a:ext>
              </a:extLst>
            </p:cNvPr>
            <p:cNvSpPr/>
            <p:nvPr/>
          </p:nvSpPr>
          <p:spPr>
            <a:xfrm>
              <a:off x="8559627"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4047185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6B256467-97F4-106E-4CD9-2DDF75273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7" name="think-cell data - do not delete" hidden="1">
                        <a:extLst>
                          <a:ext uri="{FF2B5EF4-FFF2-40B4-BE49-F238E27FC236}">
                            <a16:creationId xmlns:a16="http://schemas.microsoft.com/office/drawing/2014/main" id="{6B256467-97F4-106E-4CD9-2DDF75273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0" name="Picture 39">
            <a:extLst>
              <a:ext uri="{FF2B5EF4-FFF2-40B4-BE49-F238E27FC236}">
                <a16:creationId xmlns:a16="http://schemas.microsoft.com/office/drawing/2014/main" id="{DCC3CB06-14D1-5B18-F149-C6C085E5B312}"/>
              </a:ext>
            </a:extLst>
          </p:cNvPr>
          <p:cNvPicPr>
            <a:picLocks noChangeAspect="1"/>
          </p:cNvPicPr>
          <p:nvPr/>
        </p:nvPicPr>
        <p:blipFill rotWithShape="1">
          <a:blip r:embed="rId6"/>
          <a:srcRect l="14667" t="527" b="-1688"/>
          <a:stretch/>
        </p:blipFill>
        <p:spPr>
          <a:xfrm>
            <a:off x="6275361" y="1819276"/>
            <a:ext cx="5473726" cy="4348478"/>
          </a:xfrm>
          <a:prstGeom prst="rect">
            <a:avLst/>
          </a:prstGeom>
          <a:ln>
            <a:noFill/>
          </a:ln>
          <a:effectLst/>
        </p:spPr>
      </p:pic>
      <p:sp>
        <p:nvSpPr>
          <p:cNvPr id="3" name="Title 2">
            <a:extLst>
              <a:ext uri="{FF2B5EF4-FFF2-40B4-BE49-F238E27FC236}">
                <a16:creationId xmlns:a16="http://schemas.microsoft.com/office/drawing/2014/main" id="{A3927C76-FDBA-40A0-AFF7-28CE47086AA0}"/>
              </a:ext>
            </a:extLst>
          </p:cNvPr>
          <p:cNvSpPr>
            <a:spLocks noGrp="1"/>
          </p:cNvSpPr>
          <p:nvPr>
            <p:ph type="title"/>
          </p:nvPr>
        </p:nvSpPr>
        <p:spPr>
          <a:xfrm>
            <a:off x="442913" y="432001"/>
            <a:ext cx="11306175" cy="1387274"/>
          </a:xfrm>
        </p:spPr>
        <p:txBody>
          <a:bodyPr vert="horz"/>
          <a:lstStyle/>
          <a:p>
            <a:r>
              <a:rPr lang="lv-LV" dirty="0"/>
              <a:t>Bīstamās vielas</a:t>
            </a:r>
            <a:br>
              <a:rPr lang="lv-LV" dirty="0"/>
            </a:br>
            <a:r>
              <a:rPr lang="lv-LV" dirty="0">
                <a:solidFill>
                  <a:srgbClr val="A8192D"/>
                </a:solidFill>
              </a:rPr>
              <a:t>Bīstamo vielu un maisījumu uzglabāšanas un lietošanas prasības</a:t>
            </a:r>
          </a:p>
        </p:txBody>
      </p:sp>
      <p:sp>
        <p:nvSpPr>
          <p:cNvPr id="4" name="Slide Number Placeholder 3">
            <a:extLst>
              <a:ext uri="{FF2B5EF4-FFF2-40B4-BE49-F238E27FC236}">
                <a16:creationId xmlns:a16="http://schemas.microsoft.com/office/drawing/2014/main" id="{91733835-026E-B2DD-02B4-13EDC260924D}"/>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4</a:t>
            </a:fld>
            <a:endParaRPr lang="en-GB"/>
          </a:p>
        </p:txBody>
      </p:sp>
      <p:sp>
        <p:nvSpPr>
          <p:cNvPr id="5" name="Date Placeholder 4">
            <a:extLst>
              <a:ext uri="{FF2B5EF4-FFF2-40B4-BE49-F238E27FC236}">
                <a16:creationId xmlns:a16="http://schemas.microsoft.com/office/drawing/2014/main" id="{AE653CD9-FF5B-1A11-7AD6-D225F379BA6F}"/>
              </a:ext>
            </a:extLst>
          </p:cNvPr>
          <p:cNvSpPr>
            <a:spLocks noGrp="1"/>
          </p:cNvSpPr>
          <p:nvPr>
            <p:ph type="dt" sz="half" idx="12"/>
          </p:nvPr>
        </p:nvSpPr>
        <p:spPr>
          <a:xfrm>
            <a:off x="9984296" y="6355080"/>
            <a:ext cx="1764792" cy="137160"/>
          </a:xfrm>
        </p:spPr>
        <p:txBody>
          <a:bodyPr/>
          <a:lstStyle/>
          <a:p>
            <a:r>
              <a:rPr lang="en-US"/>
              <a:t>Date</a:t>
            </a:r>
          </a:p>
        </p:txBody>
      </p:sp>
      <p:sp>
        <p:nvSpPr>
          <p:cNvPr id="6" name="Footer Placeholder 5">
            <a:extLst>
              <a:ext uri="{FF2B5EF4-FFF2-40B4-BE49-F238E27FC236}">
                <a16:creationId xmlns:a16="http://schemas.microsoft.com/office/drawing/2014/main" id="{A92B1F1A-526C-1819-E8B4-D932B104C4BF}"/>
              </a:ext>
            </a:extLst>
          </p:cNvPr>
          <p:cNvSpPr>
            <a:spLocks noGrp="1"/>
          </p:cNvSpPr>
          <p:nvPr>
            <p:ph type="ftr" sz="quarter" idx="13"/>
          </p:nvPr>
        </p:nvSpPr>
        <p:spPr>
          <a:xfrm>
            <a:off x="442912" y="6355080"/>
            <a:ext cx="5473701" cy="137160"/>
          </a:xfrm>
        </p:spPr>
        <p:txBody>
          <a:bodyPr/>
          <a:lstStyle/>
          <a:p>
            <a:r>
              <a:rPr lang="en-US"/>
              <a:t>Presentation Title</a:t>
            </a:r>
          </a:p>
        </p:txBody>
      </p:sp>
      <p:sp>
        <p:nvSpPr>
          <p:cNvPr id="9" name="Rectangle 8">
            <a:extLst>
              <a:ext uri="{FF2B5EF4-FFF2-40B4-BE49-F238E27FC236}">
                <a16:creationId xmlns:a16="http://schemas.microsoft.com/office/drawing/2014/main" id="{C1ACD93E-357A-99B1-B057-2C8D0D6BE9C8}"/>
              </a:ext>
            </a:extLst>
          </p:cNvPr>
          <p:cNvSpPr/>
          <p:nvPr/>
        </p:nvSpPr>
        <p:spPr>
          <a:xfrm>
            <a:off x="6275388" y="5580176"/>
            <a:ext cx="5473700" cy="587578"/>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0" name="Freeform 50">
            <a:extLst>
              <a:ext uri="{FF2B5EF4-FFF2-40B4-BE49-F238E27FC236}">
                <a16:creationId xmlns:a16="http://schemas.microsoft.com/office/drawing/2014/main" id="{D86A447D-0E97-D190-41E9-21F1E0F6DE70}"/>
              </a:ext>
            </a:extLst>
          </p:cNvPr>
          <p:cNvSpPr>
            <a:spLocks noChangeAspect="1"/>
          </p:cNvSpPr>
          <p:nvPr/>
        </p:nvSpPr>
        <p:spPr bwMode="auto">
          <a:xfrm>
            <a:off x="6406902" y="573235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1" name="Google Shape;2685;p25">
            <a:extLst>
              <a:ext uri="{FF2B5EF4-FFF2-40B4-BE49-F238E27FC236}">
                <a16:creationId xmlns:a16="http://schemas.microsoft.com/office/drawing/2014/main" id="{519F180F-70C7-E50C-F1BF-747AEDFF768D}"/>
              </a:ext>
            </a:extLst>
          </p:cNvPr>
          <p:cNvSpPr txBox="1"/>
          <p:nvPr/>
        </p:nvSpPr>
        <p:spPr>
          <a:xfrm>
            <a:off x="6819770" y="5775492"/>
            <a:ext cx="4797803" cy="169277"/>
          </a:xfrm>
          <a:prstGeom prst="rect">
            <a:avLst/>
          </a:prstGeom>
          <a:noFill/>
          <a:ln>
            <a:noFill/>
          </a:ln>
        </p:spPr>
        <p:txBody>
          <a:bodyPr spcFirstLastPara="1" wrap="square" lIns="0" tIns="0" rIns="72000" bIns="0" anchor="ctr" anchorCtr="0">
            <a:spAutoFit/>
          </a:bodyPr>
          <a:lstStyle/>
          <a:p>
            <a:r>
              <a:rPr lang="lv-LV" sz="1100" dirty="0">
                <a:effectLst/>
                <a:hlinkClick r:id="rId7">
                  <a:extLst>
                    <a:ext uri="{A12FA001-AC4F-418D-AE19-62706E023703}">
                      <ahyp:hlinkClr xmlns:ahyp="http://schemas.microsoft.com/office/drawing/2018/hyperlinkcolor" val="tx"/>
                    </a:ext>
                  </a:extLst>
                </a:hlinkClick>
              </a:rPr>
              <a:t>Darba aizsardzības prasības darbā ar ķīmiskām vielām un maisījumiem</a:t>
            </a:r>
            <a:endParaRPr lang="lv-LV" sz="1100" dirty="0">
              <a:effectLst/>
            </a:endParaRPr>
          </a:p>
        </p:txBody>
      </p:sp>
      <p:sp>
        <p:nvSpPr>
          <p:cNvPr id="24" name="TextBox 23">
            <a:extLst>
              <a:ext uri="{FF2B5EF4-FFF2-40B4-BE49-F238E27FC236}">
                <a16:creationId xmlns:a16="http://schemas.microsoft.com/office/drawing/2014/main" id="{CBB19B4A-CC4B-0F12-24BF-7DEC56F4B09A}"/>
              </a:ext>
            </a:extLst>
          </p:cNvPr>
          <p:cNvSpPr txBox="1"/>
          <p:nvPr/>
        </p:nvSpPr>
        <p:spPr>
          <a:xfrm>
            <a:off x="1130904" y="1980070"/>
            <a:ext cx="4963987" cy="430887"/>
          </a:xfrm>
          <a:prstGeom prst="rect">
            <a:avLst/>
          </a:prstGeom>
          <a:noFill/>
        </p:spPr>
        <p:txBody>
          <a:bodyPr wrap="square" lIns="0" tIns="0" rIns="0" bIns="0">
            <a:noAutofit/>
          </a:bodyPr>
          <a:lstStyle/>
          <a:p>
            <a:r>
              <a:rPr lang="lv-LV" sz="1400" dirty="0">
                <a:solidFill>
                  <a:schemeClr val="tx1"/>
                </a:solidFill>
              </a:rPr>
              <a:t>Bīstamās vielas uzglabā atsevišķi, stingri noteiktās vietās, kas aprīkotas ar lokālo nosūces ventilāciju</a:t>
            </a:r>
          </a:p>
        </p:txBody>
      </p:sp>
      <p:sp>
        <p:nvSpPr>
          <p:cNvPr id="32" name="TextBox 31">
            <a:extLst>
              <a:ext uri="{FF2B5EF4-FFF2-40B4-BE49-F238E27FC236}">
                <a16:creationId xmlns:a16="http://schemas.microsoft.com/office/drawing/2014/main" id="{E8212121-E3E1-B7F3-7177-9C31DC81E435}"/>
              </a:ext>
            </a:extLst>
          </p:cNvPr>
          <p:cNvSpPr txBox="1"/>
          <p:nvPr/>
        </p:nvSpPr>
        <p:spPr>
          <a:xfrm>
            <a:off x="1130300" y="5471367"/>
            <a:ext cx="4964614" cy="646331"/>
          </a:xfrm>
          <a:prstGeom prst="rect">
            <a:avLst/>
          </a:prstGeom>
          <a:noFill/>
        </p:spPr>
        <p:txBody>
          <a:bodyPr wrap="square" lIns="0" tIns="0" rIns="0" bIns="0">
            <a:noAutofit/>
          </a:bodyPr>
          <a:lstStyle/>
          <a:p>
            <a:pPr marR="0" lvl="0" algn="l" defTabSz="914400" rtl="0" eaLnBrk="1" fontAlgn="auto" latinLnBrk="0" hangingPunct="1">
              <a:lnSpc>
                <a:spcPct val="100000"/>
              </a:lnSpc>
              <a:spcBef>
                <a:spcPts val="0"/>
              </a:spcBef>
              <a:spcAft>
                <a:spcPts val="0"/>
              </a:spcAft>
              <a:buClrTx/>
              <a:buSzTx/>
              <a:tabLst/>
              <a:defRPr/>
            </a:pPr>
            <a:r>
              <a:rPr kumimoji="0" lang="lv-LV" sz="1400" b="0" i="0" u="none" strike="noStrike" kern="1200" cap="none" spc="0" normalizeH="0" baseline="0" noProof="0" dirty="0">
                <a:ln>
                  <a:noFill/>
                </a:ln>
                <a:solidFill>
                  <a:srgbClr val="000000"/>
                </a:solidFill>
                <a:effectLst/>
                <a:uLnTx/>
                <a:uFillTx/>
                <a:latin typeface="Arial"/>
                <a:ea typeface="+mn-ea"/>
                <a:cs typeface="+mn-cs"/>
              </a:rPr>
              <a:t>Izlijušas vai izbirušas vielas nekavējoties savāc – cietas vielas saslauka, šķidrumus savāc ar piemērotu absorbējošu materiālu (granulām, smiltīm, lupatu u.tml.) un droši utilizē</a:t>
            </a:r>
          </a:p>
        </p:txBody>
      </p:sp>
      <p:sp>
        <p:nvSpPr>
          <p:cNvPr id="34" name="TextBox 33">
            <a:extLst>
              <a:ext uri="{FF2B5EF4-FFF2-40B4-BE49-F238E27FC236}">
                <a16:creationId xmlns:a16="http://schemas.microsoft.com/office/drawing/2014/main" id="{46BADFAC-CB74-9158-F40F-1023FAF12EF7}"/>
              </a:ext>
            </a:extLst>
          </p:cNvPr>
          <p:cNvSpPr txBox="1"/>
          <p:nvPr/>
        </p:nvSpPr>
        <p:spPr>
          <a:xfrm>
            <a:off x="1130300" y="4679215"/>
            <a:ext cx="4964614" cy="430887"/>
          </a:xfrm>
          <a:prstGeom prst="rect">
            <a:avLst/>
          </a:prstGeom>
          <a:noFill/>
        </p:spPr>
        <p:txBody>
          <a:bodyPr wrap="square" lIns="0" tIns="0" rIns="0" bIns="0">
            <a:noAutofit/>
          </a:bodyPr>
          <a:lstStyle/>
          <a:p>
            <a:pPr marR="0" lvl="0" algn="l" defTabSz="914400" rtl="0" eaLnBrk="1" fontAlgn="auto" latinLnBrk="0" hangingPunct="1">
              <a:lnSpc>
                <a:spcPct val="100000"/>
              </a:lnSpc>
              <a:spcBef>
                <a:spcPts val="0"/>
              </a:spcBef>
              <a:spcAft>
                <a:spcPts val="0"/>
              </a:spcAft>
              <a:buClrTx/>
              <a:buSzTx/>
              <a:tabLst/>
              <a:defRPr/>
            </a:pPr>
            <a:r>
              <a:rPr kumimoji="0" lang="lv-LV" sz="1400" b="0" i="0" u="none" strike="noStrike" kern="1200" cap="none" spc="0" normalizeH="0" baseline="0" noProof="0" dirty="0">
                <a:ln>
                  <a:noFill/>
                </a:ln>
                <a:solidFill>
                  <a:srgbClr val="000000"/>
                </a:solidFill>
                <a:effectLst/>
                <a:uLnTx/>
                <a:uFillTx/>
                <a:latin typeface="Arial"/>
                <a:ea typeface="+mn-ea"/>
                <a:cs typeface="+mn-cs"/>
              </a:rPr>
              <a:t>Aizliegts blakus uzglabāt viegli degošas vielas </a:t>
            </a:r>
            <a:br>
              <a:rPr kumimoji="0" lang="en-US" sz="1400" b="0" i="0" u="none" strike="noStrike" kern="1200" cap="none" spc="0" normalizeH="0" baseline="0" noProof="0" dirty="0">
                <a:ln>
                  <a:noFill/>
                </a:ln>
                <a:solidFill>
                  <a:srgbClr val="000000"/>
                </a:solidFill>
                <a:effectLst/>
                <a:uLnTx/>
                <a:uFillTx/>
                <a:latin typeface="Arial"/>
                <a:ea typeface="+mn-ea"/>
                <a:cs typeface="+mn-cs"/>
              </a:rPr>
            </a:br>
            <a:r>
              <a:rPr kumimoji="0" lang="lv-LV" sz="1400" b="0" i="0" u="none" strike="noStrike" kern="1200" cap="none" spc="0" normalizeH="0" baseline="0" noProof="0" dirty="0">
                <a:ln>
                  <a:noFill/>
                </a:ln>
                <a:solidFill>
                  <a:srgbClr val="000000"/>
                </a:solidFill>
                <a:effectLst/>
                <a:uLnTx/>
                <a:uFillTx/>
                <a:latin typeface="Arial"/>
                <a:ea typeface="+mn-ea"/>
                <a:cs typeface="+mn-cs"/>
              </a:rPr>
              <a:t>un oksidējošas vielas</a:t>
            </a:r>
          </a:p>
        </p:txBody>
      </p:sp>
      <p:sp>
        <p:nvSpPr>
          <p:cNvPr id="36" name="TextBox 35">
            <a:extLst>
              <a:ext uri="{FF2B5EF4-FFF2-40B4-BE49-F238E27FC236}">
                <a16:creationId xmlns:a16="http://schemas.microsoft.com/office/drawing/2014/main" id="{FE3D082F-1C1E-450D-B439-73485B02B409}"/>
              </a:ext>
            </a:extLst>
          </p:cNvPr>
          <p:cNvSpPr txBox="1"/>
          <p:nvPr/>
        </p:nvSpPr>
        <p:spPr>
          <a:xfrm>
            <a:off x="1130300" y="3779500"/>
            <a:ext cx="4964614" cy="430887"/>
          </a:xfrm>
          <a:prstGeom prst="rect">
            <a:avLst/>
          </a:prstGeom>
          <a:noFill/>
        </p:spPr>
        <p:txBody>
          <a:bodyPr wrap="square" lIns="0" tIns="0" rIns="0" bIns="0">
            <a:noAutofit/>
          </a:bodyPr>
          <a:lstStyle/>
          <a:p>
            <a:pPr marR="0" lvl="0" algn="l" defTabSz="914400" rtl="0" eaLnBrk="1" fontAlgn="auto" latinLnBrk="0" hangingPunct="1">
              <a:lnSpc>
                <a:spcPct val="100000"/>
              </a:lnSpc>
              <a:spcBef>
                <a:spcPts val="0"/>
              </a:spcBef>
              <a:spcAft>
                <a:spcPts val="0"/>
              </a:spcAft>
              <a:buClrTx/>
              <a:buSzTx/>
              <a:tabLst/>
              <a:defRPr/>
            </a:pPr>
            <a:r>
              <a:rPr kumimoji="0" lang="lv-LV" sz="1400" b="0" i="0" u="none" strike="noStrike" kern="1200" cap="none" spc="0" normalizeH="0" baseline="0" noProof="0" dirty="0">
                <a:ln>
                  <a:noFill/>
                </a:ln>
                <a:solidFill>
                  <a:srgbClr val="000000"/>
                </a:solidFill>
                <a:effectLst/>
                <a:uLnTx/>
                <a:uFillTx/>
                <a:latin typeface="Arial"/>
                <a:ea typeface="+mn-ea"/>
                <a:cs typeface="+mn-cs"/>
              </a:rPr>
              <a:t>Šķidrās skābes neuzglabā augstāk par acu līmeni, tās novieto uz zemākiem plauktiem</a:t>
            </a:r>
          </a:p>
        </p:txBody>
      </p:sp>
      <p:sp>
        <p:nvSpPr>
          <p:cNvPr id="38" name="TextBox 37">
            <a:extLst>
              <a:ext uri="{FF2B5EF4-FFF2-40B4-BE49-F238E27FC236}">
                <a16:creationId xmlns:a16="http://schemas.microsoft.com/office/drawing/2014/main" id="{A7DF3B11-BA6E-BF26-D755-31F6FC381532}"/>
              </a:ext>
            </a:extLst>
          </p:cNvPr>
          <p:cNvSpPr txBox="1"/>
          <p:nvPr/>
        </p:nvSpPr>
        <p:spPr>
          <a:xfrm>
            <a:off x="1130300" y="2880649"/>
            <a:ext cx="4964614" cy="430887"/>
          </a:xfrm>
          <a:prstGeom prst="rect">
            <a:avLst/>
          </a:prstGeom>
          <a:noFill/>
        </p:spPr>
        <p:txBody>
          <a:bodyPr wrap="square" lIns="0" tIns="0" rIns="0" bIns="0">
            <a:noAutofit/>
          </a:bodyPr>
          <a:lstStyle/>
          <a:p>
            <a:pPr marR="0" lvl="0" algn="l" defTabSz="914400" rtl="0" eaLnBrk="1" fontAlgn="auto" latinLnBrk="0" hangingPunct="1">
              <a:lnSpc>
                <a:spcPct val="100000"/>
              </a:lnSpc>
              <a:spcBef>
                <a:spcPts val="0"/>
              </a:spcBef>
              <a:spcAft>
                <a:spcPts val="0"/>
              </a:spcAft>
              <a:buClrTx/>
              <a:buSzTx/>
              <a:tabLst/>
              <a:defRPr/>
            </a:pPr>
            <a:r>
              <a:rPr kumimoji="0" lang="lv-LV" sz="1400" b="0" i="0" u="none" strike="noStrike" kern="1200" cap="none" spc="0" normalizeH="0" baseline="0" noProof="0" dirty="0">
                <a:ln>
                  <a:noFill/>
                </a:ln>
                <a:solidFill>
                  <a:srgbClr val="000000"/>
                </a:solidFill>
                <a:effectLst/>
                <a:uLnTx/>
                <a:uFillTx/>
                <a:latin typeface="Arial"/>
                <a:ea typeface="+mn-ea"/>
                <a:cs typeface="+mn-cs"/>
              </a:rPr>
              <a:t>Noliktavu plauktos tās uzglabā pēc to bīstamības </a:t>
            </a:r>
            <a:br>
              <a:rPr kumimoji="0" lang="en-US" sz="1400" b="0" i="0" u="none" strike="noStrike" kern="1200" cap="none" spc="0" normalizeH="0" baseline="0" noProof="0" dirty="0">
                <a:ln>
                  <a:noFill/>
                </a:ln>
                <a:solidFill>
                  <a:srgbClr val="000000"/>
                </a:solidFill>
                <a:effectLst/>
                <a:uLnTx/>
                <a:uFillTx/>
                <a:latin typeface="Arial"/>
                <a:ea typeface="+mn-ea"/>
                <a:cs typeface="+mn-cs"/>
              </a:rPr>
            </a:br>
            <a:r>
              <a:rPr kumimoji="0" lang="lv-LV" sz="1400" b="0" i="0" u="none" strike="noStrike" kern="1200" cap="none" spc="0" normalizeH="0" baseline="0" noProof="0" dirty="0">
                <a:ln>
                  <a:noFill/>
                </a:ln>
                <a:solidFill>
                  <a:srgbClr val="000000"/>
                </a:solidFill>
                <a:effectLst/>
                <a:uLnTx/>
                <a:uFillTx/>
                <a:latin typeface="Arial"/>
                <a:ea typeface="+mn-ea"/>
                <a:cs typeface="+mn-cs"/>
              </a:rPr>
              <a:t>klases un saderības</a:t>
            </a:r>
          </a:p>
        </p:txBody>
      </p:sp>
      <p:sp>
        <p:nvSpPr>
          <p:cNvPr id="42" name="Rectangle 41">
            <a:extLst>
              <a:ext uri="{FF2B5EF4-FFF2-40B4-BE49-F238E27FC236}">
                <a16:creationId xmlns:a16="http://schemas.microsoft.com/office/drawing/2014/main" id="{BCFD7289-482F-2258-D335-A2CFB58201F0}"/>
              </a:ext>
            </a:extLst>
          </p:cNvPr>
          <p:cNvSpPr/>
          <p:nvPr/>
        </p:nvSpPr>
        <p:spPr>
          <a:xfrm>
            <a:off x="442913" y="1819275"/>
            <a:ext cx="576263" cy="74612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3" name="L-Shape 42">
            <a:extLst>
              <a:ext uri="{FF2B5EF4-FFF2-40B4-BE49-F238E27FC236}">
                <a16:creationId xmlns:a16="http://schemas.microsoft.com/office/drawing/2014/main" id="{338E0D05-29BB-C8C1-1725-28B25F69FC8A}"/>
              </a:ext>
            </a:extLst>
          </p:cNvPr>
          <p:cNvSpPr/>
          <p:nvPr/>
        </p:nvSpPr>
        <p:spPr>
          <a:xfrm rot="13500000">
            <a:off x="559307" y="205912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8" name="Rectangle 47">
            <a:extLst>
              <a:ext uri="{FF2B5EF4-FFF2-40B4-BE49-F238E27FC236}">
                <a16:creationId xmlns:a16="http://schemas.microsoft.com/office/drawing/2014/main" id="{29DD82ED-C99D-BE72-4E6D-121607E4B403}"/>
              </a:ext>
            </a:extLst>
          </p:cNvPr>
          <p:cNvSpPr/>
          <p:nvPr/>
        </p:nvSpPr>
        <p:spPr>
          <a:xfrm>
            <a:off x="442913" y="2722166"/>
            <a:ext cx="576263" cy="74612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9" name="Rectangle 48">
            <a:extLst>
              <a:ext uri="{FF2B5EF4-FFF2-40B4-BE49-F238E27FC236}">
                <a16:creationId xmlns:a16="http://schemas.microsoft.com/office/drawing/2014/main" id="{20D957C9-255D-2C0B-8572-71253CDD3BF7}"/>
              </a:ext>
            </a:extLst>
          </p:cNvPr>
          <p:cNvSpPr/>
          <p:nvPr/>
        </p:nvSpPr>
        <p:spPr>
          <a:xfrm>
            <a:off x="442913" y="3621881"/>
            <a:ext cx="576263" cy="74612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0" name="Rectangle 49">
            <a:extLst>
              <a:ext uri="{FF2B5EF4-FFF2-40B4-BE49-F238E27FC236}">
                <a16:creationId xmlns:a16="http://schemas.microsoft.com/office/drawing/2014/main" id="{38E17CE2-94FC-1599-5A79-8529EACD2FB3}"/>
              </a:ext>
            </a:extLst>
          </p:cNvPr>
          <p:cNvSpPr/>
          <p:nvPr/>
        </p:nvSpPr>
        <p:spPr>
          <a:xfrm>
            <a:off x="442913" y="4521596"/>
            <a:ext cx="576263" cy="74612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1" name="Rectangle 50">
            <a:extLst>
              <a:ext uri="{FF2B5EF4-FFF2-40B4-BE49-F238E27FC236}">
                <a16:creationId xmlns:a16="http://schemas.microsoft.com/office/drawing/2014/main" id="{7290867C-51CA-2A86-AD85-236FEFBD9038}"/>
              </a:ext>
            </a:extLst>
          </p:cNvPr>
          <p:cNvSpPr/>
          <p:nvPr/>
        </p:nvSpPr>
        <p:spPr>
          <a:xfrm>
            <a:off x="442913" y="5421310"/>
            <a:ext cx="576263" cy="746444"/>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2" name="L-Shape 51">
            <a:extLst>
              <a:ext uri="{FF2B5EF4-FFF2-40B4-BE49-F238E27FC236}">
                <a16:creationId xmlns:a16="http://schemas.microsoft.com/office/drawing/2014/main" id="{6D479FA4-C35E-3622-BD8F-E30453F8BD48}"/>
              </a:ext>
            </a:extLst>
          </p:cNvPr>
          <p:cNvSpPr/>
          <p:nvPr/>
        </p:nvSpPr>
        <p:spPr>
          <a:xfrm rot="13500000">
            <a:off x="559308" y="29588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3" name="L-Shape 52">
            <a:extLst>
              <a:ext uri="{FF2B5EF4-FFF2-40B4-BE49-F238E27FC236}">
                <a16:creationId xmlns:a16="http://schemas.microsoft.com/office/drawing/2014/main" id="{C98992F0-F029-6E79-B60A-8547E5CAD1DA}"/>
              </a:ext>
            </a:extLst>
          </p:cNvPr>
          <p:cNvSpPr/>
          <p:nvPr/>
        </p:nvSpPr>
        <p:spPr>
          <a:xfrm rot="13500000">
            <a:off x="559308" y="385855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4" name="L-Shape 53">
            <a:extLst>
              <a:ext uri="{FF2B5EF4-FFF2-40B4-BE49-F238E27FC236}">
                <a16:creationId xmlns:a16="http://schemas.microsoft.com/office/drawing/2014/main" id="{F73E543B-76CF-12EE-74C6-6E0044627F56}"/>
              </a:ext>
            </a:extLst>
          </p:cNvPr>
          <p:cNvSpPr/>
          <p:nvPr/>
        </p:nvSpPr>
        <p:spPr>
          <a:xfrm rot="13500000">
            <a:off x="559309" y="475827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5" name="L-Shape 54">
            <a:extLst>
              <a:ext uri="{FF2B5EF4-FFF2-40B4-BE49-F238E27FC236}">
                <a16:creationId xmlns:a16="http://schemas.microsoft.com/office/drawing/2014/main" id="{772DD707-CD8F-CD49-A288-2582746BDF01}"/>
              </a:ext>
            </a:extLst>
          </p:cNvPr>
          <p:cNvSpPr/>
          <p:nvPr/>
        </p:nvSpPr>
        <p:spPr>
          <a:xfrm rot="13500000">
            <a:off x="559310" y="565814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56" name="Straight Connector 55">
            <a:extLst>
              <a:ext uri="{FF2B5EF4-FFF2-40B4-BE49-F238E27FC236}">
                <a16:creationId xmlns:a16="http://schemas.microsoft.com/office/drawing/2014/main" id="{5B4CB349-8ED4-27B3-A3EC-81AB04A94711}"/>
              </a:ext>
            </a:extLst>
          </p:cNvPr>
          <p:cNvCxnSpPr>
            <a:cxnSpLocks/>
          </p:cNvCxnSpPr>
          <p:nvPr/>
        </p:nvCxnSpPr>
        <p:spPr>
          <a:xfrm>
            <a:off x="1108075" y="2644775"/>
            <a:ext cx="4964614" cy="2521"/>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7" name="Straight Connector 56">
            <a:extLst>
              <a:ext uri="{FF2B5EF4-FFF2-40B4-BE49-F238E27FC236}">
                <a16:creationId xmlns:a16="http://schemas.microsoft.com/office/drawing/2014/main" id="{4917C8AA-61E9-D6A3-26C2-6255FC5FEF29}"/>
              </a:ext>
            </a:extLst>
          </p:cNvPr>
          <p:cNvCxnSpPr>
            <a:cxnSpLocks/>
          </p:cNvCxnSpPr>
          <p:nvPr/>
        </p:nvCxnSpPr>
        <p:spPr>
          <a:xfrm>
            <a:off x="1108075" y="3544888"/>
            <a:ext cx="4964614" cy="2521"/>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8" name="Straight Connector 57">
            <a:extLst>
              <a:ext uri="{FF2B5EF4-FFF2-40B4-BE49-F238E27FC236}">
                <a16:creationId xmlns:a16="http://schemas.microsoft.com/office/drawing/2014/main" id="{334E4DEF-4EBA-1CC7-8B88-023B3020B82B}"/>
              </a:ext>
            </a:extLst>
          </p:cNvPr>
          <p:cNvCxnSpPr>
            <a:cxnSpLocks/>
          </p:cNvCxnSpPr>
          <p:nvPr/>
        </p:nvCxnSpPr>
        <p:spPr>
          <a:xfrm>
            <a:off x="1108075" y="4445000"/>
            <a:ext cx="4964614" cy="2521"/>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9" name="Straight Connector 58">
            <a:extLst>
              <a:ext uri="{FF2B5EF4-FFF2-40B4-BE49-F238E27FC236}">
                <a16:creationId xmlns:a16="http://schemas.microsoft.com/office/drawing/2014/main" id="{ECCD505A-02C9-A3A8-91D1-B8C0EB195468}"/>
              </a:ext>
            </a:extLst>
          </p:cNvPr>
          <p:cNvCxnSpPr>
            <a:cxnSpLocks/>
          </p:cNvCxnSpPr>
          <p:nvPr/>
        </p:nvCxnSpPr>
        <p:spPr>
          <a:xfrm>
            <a:off x="1108075" y="5345113"/>
            <a:ext cx="4964614" cy="2521"/>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2" name="Group 1">
            <a:extLst>
              <a:ext uri="{FF2B5EF4-FFF2-40B4-BE49-F238E27FC236}">
                <a16:creationId xmlns:a16="http://schemas.microsoft.com/office/drawing/2014/main" id="{03632791-2E50-5F02-0269-E8FDF24979FF}"/>
              </a:ext>
            </a:extLst>
          </p:cNvPr>
          <p:cNvGrpSpPr/>
          <p:nvPr/>
        </p:nvGrpSpPr>
        <p:grpSpPr>
          <a:xfrm>
            <a:off x="8801454" y="159786"/>
            <a:ext cx="2947634" cy="217488"/>
            <a:chOff x="8559627" y="684914"/>
            <a:chExt cx="2947634" cy="217488"/>
          </a:xfrm>
        </p:grpSpPr>
        <p:sp>
          <p:nvSpPr>
            <p:cNvPr id="7" name="Rectangle 6">
              <a:extLst>
                <a:ext uri="{FF2B5EF4-FFF2-40B4-BE49-F238E27FC236}">
                  <a16:creationId xmlns:a16="http://schemas.microsoft.com/office/drawing/2014/main" id="{87954E5E-FC4F-6911-D591-C5811F58C2EF}"/>
                </a:ext>
              </a:extLst>
            </p:cNvPr>
            <p:cNvSpPr/>
            <p:nvPr/>
          </p:nvSpPr>
          <p:spPr>
            <a:xfrm>
              <a:off x="9285434" y="68491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5</a:t>
              </a:r>
              <a:r>
                <a:rPr kumimoji="0" lang="lv-LV" sz="800" b="1" i="0" u="none" strike="noStrike" kern="0" cap="none" spc="0" normalizeH="0" baseline="0" dirty="0">
                  <a:ln>
                    <a:noFill/>
                  </a:ln>
                  <a:effectLst/>
                  <a:uLnTx/>
                  <a:uFillTx/>
                  <a:ea typeface="Georgia"/>
                  <a:cs typeface="Georgia"/>
                  <a:sym typeface="Georgia"/>
                </a:rPr>
                <a:t>.</a:t>
              </a:r>
              <a:r>
                <a:rPr kumimoji="0" lang="en-US" sz="800" b="1" i="0" u="none" strike="noStrike" kern="0" cap="none" spc="0" normalizeH="0" baseline="0" dirty="0">
                  <a:ln>
                    <a:noFill/>
                  </a:ln>
                  <a:effectLst/>
                  <a:uLnTx/>
                  <a:uFillTx/>
                  <a:ea typeface="Georgia"/>
                  <a:cs typeface="Georgia"/>
                  <a:sym typeface="Georgia"/>
                </a:rPr>
                <a:t>4</a:t>
              </a:r>
              <a:endParaRPr kumimoji="0" lang="lv-LV" sz="800" b="1" i="0" u="none" strike="noStrike" kern="0" cap="none" spc="0" normalizeH="0" baseline="0" dirty="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BD40C194-172E-6C64-2A2F-91078411F29D}"/>
                </a:ext>
              </a:extLst>
            </p:cNvPr>
            <p:cNvSpPr/>
            <p:nvPr/>
          </p:nvSpPr>
          <p:spPr>
            <a:xfrm>
              <a:off x="9527261" y="684914"/>
              <a:ext cx="198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err="1">
                  <a:ln>
                    <a:noFill/>
                  </a:ln>
                  <a:effectLst/>
                  <a:uLnTx/>
                  <a:uFillTx/>
                  <a:ea typeface="Georgia"/>
                  <a:cs typeface="Georgia"/>
                  <a:sym typeface="Georgia"/>
                </a:rPr>
                <a:t>Drošības</a:t>
              </a:r>
              <a:r>
                <a:rPr kumimoji="0" lang="en-US" sz="800" b="1" i="0" u="none" strike="noStrike" kern="0" cap="none" spc="0" normalizeH="0" baseline="0" dirty="0">
                  <a:ln>
                    <a:noFill/>
                  </a:ln>
                  <a:effectLst/>
                  <a:uLnTx/>
                  <a:uFillTx/>
                  <a:ea typeface="Georgia"/>
                  <a:cs typeface="Georgia"/>
                  <a:sym typeface="Georgia"/>
                </a:rPr>
                <a:t> </a:t>
              </a:r>
              <a:r>
                <a:rPr kumimoji="0" lang="en-US" sz="800" b="1" i="0" u="none" strike="noStrike" kern="0" cap="none" spc="0" normalizeH="0" baseline="0" dirty="0" err="1">
                  <a:ln>
                    <a:noFill/>
                  </a:ln>
                  <a:effectLst/>
                  <a:uLnTx/>
                  <a:uFillTx/>
                  <a:ea typeface="Georgia"/>
                  <a:cs typeface="Georgia"/>
                  <a:sym typeface="Georgia"/>
                </a:rPr>
                <a:t>pasākumi</a:t>
              </a:r>
              <a:endParaRPr kumimoji="0" lang="en-US" sz="800" b="1" i="0" u="none" strike="noStrike" kern="0" cap="none" spc="0" normalizeH="0" baseline="0" dirty="0">
                <a:ln>
                  <a:noFill/>
                </a:ln>
                <a:effectLst/>
                <a:uLnTx/>
                <a:uFillTx/>
                <a:ea typeface="Georgia"/>
                <a:cs typeface="Georgia"/>
                <a:sym typeface="Georgia"/>
              </a:endParaRPr>
            </a:p>
          </p:txBody>
        </p:sp>
        <p:sp>
          <p:nvSpPr>
            <p:cNvPr id="18" name="Rectangle 17">
              <a:extLst>
                <a:ext uri="{FF2B5EF4-FFF2-40B4-BE49-F238E27FC236}">
                  <a16:creationId xmlns:a16="http://schemas.microsoft.com/office/drawing/2014/main" id="{141A0721-054E-E531-1815-5DF3EA610A29}"/>
                </a:ext>
              </a:extLst>
            </p:cNvPr>
            <p:cNvSpPr/>
            <p:nvPr/>
          </p:nvSpPr>
          <p:spPr>
            <a:xfrm>
              <a:off x="9043607"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3</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F07BFC78-2E67-30D8-BEA4-5B6418A21CCB}"/>
                </a:ext>
              </a:extLst>
            </p:cNvPr>
            <p:cNvSpPr/>
            <p:nvPr/>
          </p:nvSpPr>
          <p:spPr>
            <a:xfrm>
              <a:off x="8801780"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2</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21612FE9-F6A7-47CC-4ABA-8CE2EB8D38EC}"/>
                </a:ext>
              </a:extLst>
            </p:cNvPr>
            <p:cNvSpPr/>
            <p:nvPr/>
          </p:nvSpPr>
          <p:spPr>
            <a:xfrm>
              <a:off x="8559627"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2508107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3658C67-06FE-257A-C8C5-E5F5C7F266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3" name="think-cell data - do not delete" hidden="1">
                        <a:extLst>
                          <a:ext uri="{FF2B5EF4-FFF2-40B4-BE49-F238E27FC236}">
                            <a16:creationId xmlns:a16="http://schemas.microsoft.com/office/drawing/2014/main" id="{B3658C67-06FE-257A-C8C5-E5F5C7F266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67E25744-369C-8ECF-48C2-BA646A011CB9}"/>
              </a:ext>
            </a:extLst>
          </p:cNvPr>
          <p:cNvSpPr/>
          <p:nvPr/>
        </p:nvSpPr>
        <p:spPr>
          <a:xfrm>
            <a:off x="442913" y="1819275"/>
            <a:ext cx="1675254" cy="1798379"/>
          </a:xfrm>
          <a:prstGeom prst="rect">
            <a:avLst/>
          </a:prstGeom>
          <a:solidFill>
            <a:srgbClr val="525A72"/>
          </a:solidFill>
          <a:ln w="3175">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Rectangle 7">
            <a:extLst>
              <a:ext uri="{FF2B5EF4-FFF2-40B4-BE49-F238E27FC236}">
                <a16:creationId xmlns:a16="http://schemas.microsoft.com/office/drawing/2014/main" id="{36AA5830-FF28-852E-7BFC-DD6F7DFDD84D}"/>
              </a:ext>
            </a:extLst>
          </p:cNvPr>
          <p:cNvSpPr/>
          <p:nvPr/>
        </p:nvSpPr>
        <p:spPr>
          <a:xfrm>
            <a:off x="442913" y="4038959"/>
            <a:ext cx="1675254" cy="2133243"/>
          </a:xfrm>
          <a:prstGeom prst="rect">
            <a:avLst/>
          </a:prstGeom>
          <a:solidFill>
            <a:srgbClr val="525A72"/>
          </a:solidFill>
          <a:ln w="3175">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 name="Rectangle 2">
            <a:extLst>
              <a:ext uri="{FF2B5EF4-FFF2-40B4-BE49-F238E27FC236}">
                <a16:creationId xmlns:a16="http://schemas.microsoft.com/office/drawing/2014/main" id="{BC665405-C8B8-8EFC-718A-E4AF6783D94B}"/>
              </a:ext>
            </a:extLst>
          </p:cNvPr>
          <p:cNvSpPr/>
          <p:nvPr/>
        </p:nvSpPr>
        <p:spPr>
          <a:xfrm>
            <a:off x="442913" y="1819275"/>
            <a:ext cx="5473700" cy="1798379"/>
          </a:xfrm>
          <a:prstGeom prst="rect">
            <a:avLst/>
          </a:prstGeom>
          <a:no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 name="Rectangle 4">
            <a:extLst>
              <a:ext uri="{FF2B5EF4-FFF2-40B4-BE49-F238E27FC236}">
                <a16:creationId xmlns:a16="http://schemas.microsoft.com/office/drawing/2014/main" id="{71CEEBB9-85E0-DF40-1B5B-E87558A4F5DD}"/>
              </a:ext>
            </a:extLst>
          </p:cNvPr>
          <p:cNvSpPr/>
          <p:nvPr/>
        </p:nvSpPr>
        <p:spPr>
          <a:xfrm>
            <a:off x="442913" y="4038959"/>
            <a:ext cx="5473700" cy="2133243"/>
          </a:xfrm>
          <a:prstGeom prst="rect">
            <a:avLst/>
          </a:prstGeom>
          <a:no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dirty="0"/>
              <a:t>Bīstamās vielas</a:t>
            </a:r>
            <a:br>
              <a:rPr lang="lv-LV" dirty="0"/>
            </a:br>
            <a:r>
              <a:rPr lang="lv-LV" dirty="0">
                <a:solidFill>
                  <a:srgbClr val="A8192D"/>
                </a:solidFill>
              </a:rPr>
              <a:t>Bīstamo kravu atpazīstamības un rīcības kodeksa plāksnes</a:t>
            </a:r>
            <a:endParaRPr lang="en-GB" dirty="0">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5</a:t>
            </a:fld>
            <a:endParaRPr lang="en-GB"/>
          </a:p>
        </p:txBody>
      </p:sp>
      <p:sp>
        <p:nvSpPr>
          <p:cNvPr id="19" name="Title 1">
            <a:extLst>
              <a:ext uri="{FF2B5EF4-FFF2-40B4-BE49-F238E27FC236}">
                <a16:creationId xmlns:a16="http://schemas.microsoft.com/office/drawing/2014/main" id="{C89757B6-C2A0-0384-62A5-8CC71F9B43FB}"/>
              </a:ext>
            </a:extLst>
          </p:cNvPr>
          <p:cNvSpPr txBox="1">
            <a:spLocks/>
          </p:cNvSpPr>
          <p:nvPr/>
        </p:nvSpPr>
        <p:spPr>
          <a:xfrm>
            <a:off x="442913" y="2092831"/>
            <a:ext cx="1675254" cy="1251267"/>
          </a:xfrm>
          <a:prstGeom prst="rect">
            <a:avLst/>
          </a:prstGeom>
        </p:spPr>
        <p:txBody>
          <a:bodyPr vert="horz" lIns="72000" tIns="0" rIns="0" bIns="0" rtlCol="0" anchor="ctr" anchorCtr="0">
            <a:normAutofit fontScale="97500"/>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r>
              <a:rPr lang="lv-LV" altLang="lv-LV" sz="1400" b="1">
                <a:solidFill>
                  <a:schemeClr val="bg1"/>
                </a:solidFill>
                <a:latin typeface="+mn-lt"/>
              </a:rPr>
              <a:t>Bīstamo kravu vielu atpazīstamības plāksne</a:t>
            </a:r>
            <a:endParaRPr lang="en-US" altLang="lv-LV" sz="1400" b="1">
              <a:solidFill>
                <a:schemeClr val="bg1"/>
              </a:solidFill>
              <a:latin typeface="+mn-lt"/>
            </a:endParaRPr>
          </a:p>
        </p:txBody>
      </p:sp>
      <p:sp>
        <p:nvSpPr>
          <p:cNvPr id="25" name="Title 1">
            <a:extLst>
              <a:ext uri="{FF2B5EF4-FFF2-40B4-BE49-F238E27FC236}">
                <a16:creationId xmlns:a16="http://schemas.microsoft.com/office/drawing/2014/main" id="{3422CE71-D41D-4F80-55EA-C4379F84ECCC}"/>
              </a:ext>
            </a:extLst>
          </p:cNvPr>
          <p:cNvSpPr txBox="1">
            <a:spLocks/>
          </p:cNvSpPr>
          <p:nvPr/>
        </p:nvSpPr>
        <p:spPr>
          <a:xfrm>
            <a:off x="442913" y="4378960"/>
            <a:ext cx="1675254" cy="1453240"/>
          </a:xfrm>
          <a:prstGeom prst="rect">
            <a:avLst/>
          </a:prstGeom>
        </p:spPr>
        <p:txBody>
          <a:bodyPr vert="horz" lIns="72000" tIns="0" rIns="0" bIns="0" rtlCol="0" anchor="ctr" anchorCtr="0">
            <a:normAutofit fontScale="97500"/>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r>
              <a:rPr lang="lv-LV" altLang="lv-LV" sz="1400" b="1">
                <a:solidFill>
                  <a:schemeClr val="bg1"/>
                </a:solidFill>
                <a:latin typeface="+mn-lt"/>
              </a:rPr>
              <a:t>Ārkārtas rīcības kodeksa plāksnes</a:t>
            </a:r>
            <a:endParaRPr lang="en-US" altLang="lv-LV" sz="1400" b="1">
              <a:solidFill>
                <a:schemeClr val="bg1"/>
              </a:solidFill>
              <a:latin typeface="+mn-lt"/>
            </a:endParaRPr>
          </a:p>
        </p:txBody>
      </p:sp>
      <p:graphicFrame>
        <p:nvGraphicFramePr>
          <p:cNvPr id="26" name="Content Placeholder 4">
            <a:extLst>
              <a:ext uri="{FF2B5EF4-FFF2-40B4-BE49-F238E27FC236}">
                <a16:creationId xmlns:a16="http://schemas.microsoft.com/office/drawing/2014/main" id="{44BE9D2E-C3DE-91DC-CCD6-16E558E7EE4F}"/>
              </a:ext>
            </a:extLst>
          </p:cNvPr>
          <p:cNvGraphicFramePr>
            <a:graphicFrameLocks/>
          </p:cNvGraphicFramePr>
          <p:nvPr/>
        </p:nvGraphicFramePr>
        <p:xfrm>
          <a:off x="6275387" y="1819275"/>
          <a:ext cx="5473698" cy="4352927"/>
        </p:xfrm>
        <a:graphic>
          <a:graphicData uri="http://schemas.openxmlformats.org/drawingml/2006/table">
            <a:tbl>
              <a:tblPr firstRow="1" firstCol="1" bandRow="1">
                <a:tableStyleId>{5940675A-B579-460E-94D1-54222C63F5DA}</a:tableStyleId>
              </a:tblPr>
              <a:tblGrid>
                <a:gridCol w="377351">
                  <a:extLst>
                    <a:ext uri="{9D8B030D-6E8A-4147-A177-3AD203B41FA5}">
                      <a16:colId xmlns:a16="http://schemas.microsoft.com/office/drawing/2014/main" val="20000"/>
                    </a:ext>
                  </a:extLst>
                </a:gridCol>
                <a:gridCol w="548818">
                  <a:extLst>
                    <a:ext uri="{9D8B030D-6E8A-4147-A177-3AD203B41FA5}">
                      <a16:colId xmlns:a16="http://schemas.microsoft.com/office/drawing/2014/main" val="20001"/>
                    </a:ext>
                  </a:extLst>
                </a:gridCol>
                <a:gridCol w="941920">
                  <a:extLst>
                    <a:ext uri="{9D8B030D-6E8A-4147-A177-3AD203B41FA5}">
                      <a16:colId xmlns:a16="http://schemas.microsoft.com/office/drawing/2014/main" val="20002"/>
                    </a:ext>
                  </a:extLst>
                </a:gridCol>
                <a:gridCol w="883827">
                  <a:extLst>
                    <a:ext uri="{9D8B030D-6E8A-4147-A177-3AD203B41FA5}">
                      <a16:colId xmlns:a16="http://schemas.microsoft.com/office/drawing/2014/main" val="20003"/>
                    </a:ext>
                  </a:extLst>
                </a:gridCol>
                <a:gridCol w="2721782">
                  <a:extLst>
                    <a:ext uri="{9D8B030D-6E8A-4147-A177-3AD203B41FA5}">
                      <a16:colId xmlns:a16="http://schemas.microsoft.com/office/drawing/2014/main" val="20004"/>
                    </a:ext>
                  </a:extLst>
                </a:gridCol>
              </a:tblGrid>
              <a:tr h="1984565">
                <a:tc gridSpan="4">
                  <a:txBody>
                    <a:bodyPr/>
                    <a:lstStyle/>
                    <a:p>
                      <a:pPr marL="0" marR="0">
                        <a:lnSpc>
                          <a:spcPct val="100000"/>
                        </a:lnSpc>
                        <a:spcBef>
                          <a:spcPts val="0"/>
                        </a:spcBef>
                        <a:spcAft>
                          <a:spcPts val="0"/>
                        </a:spcAft>
                      </a:pPr>
                      <a:r>
                        <a:rPr lang="lv-LV" sz="1400" b="1">
                          <a:effectLst/>
                        </a:rPr>
                        <a:t>Ārkārtas rīcības kodeksa karte (Emergency Action Code Card) ugunsgrēka vai noplūdes gadījumā</a:t>
                      </a:r>
                      <a:endParaRPr lang="en-US" sz="1400" b="1">
                        <a:effectLst/>
                      </a:endParaRPr>
                    </a:p>
                    <a:p>
                      <a:pPr marL="342900" marR="0" lvl="0" indent="-342900">
                        <a:lnSpc>
                          <a:spcPct val="100000"/>
                        </a:lnSpc>
                        <a:spcBef>
                          <a:spcPts val="0"/>
                        </a:spcBef>
                        <a:spcAft>
                          <a:spcPts val="0"/>
                        </a:spcAft>
                        <a:buFont typeface="+mj-lt"/>
                        <a:buAutoNum type="arabicPeriod"/>
                      </a:pPr>
                      <a:r>
                        <a:rPr lang="lv-LV" sz="1400">
                          <a:effectLst/>
                        </a:rPr>
                        <a:t>Rupja smidzināšana.</a:t>
                      </a:r>
                      <a:endParaRPr lang="en-US" sz="1400">
                        <a:effectLst/>
                      </a:endParaRPr>
                    </a:p>
                    <a:p>
                      <a:pPr marL="342900" marR="0" lvl="0" indent="-342900">
                        <a:lnSpc>
                          <a:spcPct val="100000"/>
                        </a:lnSpc>
                        <a:spcBef>
                          <a:spcPts val="0"/>
                        </a:spcBef>
                        <a:spcAft>
                          <a:spcPts val="0"/>
                        </a:spcAft>
                        <a:buFont typeface="+mj-lt"/>
                        <a:buAutoNum type="arabicPeriod"/>
                      </a:pPr>
                      <a:r>
                        <a:rPr lang="lv-LV" sz="1400">
                          <a:effectLst/>
                        </a:rPr>
                        <a:t>Smalka smidzināšana.</a:t>
                      </a:r>
                      <a:endParaRPr lang="en-US" sz="1400">
                        <a:effectLst/>
                      </a:endParaRPr>
                    </a:p>
                    <a:p>
                      <a:pPr marL="342900" marR="0" lvl="0" indent="-342900">
                        <a:lnSpc>
                          <a:spcPct val="100000"/>
                        </a:lnSpc>
                        <a:spcBef>
                          <a:spcPts val="0"/>
                        </a:spcBef>
                        <a:spcAft>
                          <a:spcPts val="0"/>
                        </a:spcAft>
                        <a:buFont typeface="+mj-lt"/>
                        <a:buAutoNum type="arabicPeriod"/>
                      </a:pPr>
                      <a:r>
                        <a:rPr lang="lv-LV" sz="1400">
                          <a:effectLst/>
                        </a:rPr>
                        <a:t>Putas.</a:t>
                      </a:r>
                      <a:endParaRPr lang="en-US" sz="1400">
                        <a:effectLst/>
                      </a:endParaRPr>
                    </a:p>
                    <a:p>
                      <a:pPr marL="342900" marR="0" lvl="0" indent="-342900">
                        <a:lnSpc>
                          <a:spcPct val="100000"/>
                        </a:lnSpc>
                        <a:spcBef>
                          <a:spcPts val="0"/>
                        </a:spcBef>
                        <a:spcAft>
                          <a:spcPts val="0"/>
                        </a:spcAft>
                        <a:buFont typeface="+mj-lt"/>
                        <a:buAutoNum type="arabicPeriod"/>
                      </a:pPr>
                      <a:r>
                        <a:rPr lang="lv-LV" sz="1400">
                          <a:effectLst/>
                        </a:rPr>
                        <a:t>Sauss absorbents.</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72000" marR="72000" marT="0" marB="0" anchor="ctr">
                    <a:lnL w="12700" cmpd="sng">
                      <a:noFill/>
                    </a:lnL>
                    <a:lnR w="3175" cap="flat" cmpd="sng" algn="ctr">
                      <a:solidFill>
                        <a:srgbClr val="525A72"/>
                      </a:solidFill>
                      <a:prstDash val="solid"/>
                      <a:round/>
                      <a:headEnd type="none" w="med" len="med"/>
                      <a:tailEnd type="none" w="med" len="med"/>
                    </a:lnR>
                    <a:lnT w="12700" cmpd="sng">
                      <a:noFill/>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CFD6E8"/>
                    </a:solidFill>
                  </a:tcPr>
                </a:tc>
                <a:tc hMerge="1">
                  <a:txBody>
                    <a:bodyPr/>
                    <a:lstStyle/>
                    <a:p>
                      <a:endParaRPr lang="en-US"/>
                    </a:p>
                  </a:txBody>
                  <a:tcPr/>
                </a:tc>
                <a:tc hMerge="1">
                  <a:txBody>
                    <a:bodyPr/>
                    <a:lstStyle/>
                    <a:p>
                      <a:endParaRPr lang="en-US"/>
                    </a:p>
                  </a:txBody>
                  <a:tcPr/>
                </a:tc>
                <a:tc hMerge="1">
                  <a:txBody>
                    <a:bodyPr/>
                    <a:lstStyle/>
                    <a:p>
                      <a:endParaRPr lang="en-US"/>
                    </a:p>
                  </a:txBody>
                  <a:tcPr/>
                </a:tc>
                <a:tc rowSpan="10">
                  <a:txBody>
                    <a:bodyPr/>
                    <a:lstStyle/>
                    <a:p>
                      <a:pPr marL="0" marR="0">
                        <a:lnSpc>
                          <a:spcPct val="100000"/>
                        </a:lnSpc>
                        <a:spcBef>
                          <a:spcPts val="0"/>
                        </a:spcBef>
                        <a:spcAft>
                          <a:spcPts val="0"/>
                        </a:spcAft>
                      </a:pPr>
                      <a:r>
                        <a:rPr lang="lv-LV" sz="1400">
                          <a:effectLst/>
                        </a:rPr>
                        <a:t>Papildu informācija:</a:t>
                      </a:r>
                    </a:p>
                    <a:p>
                      <a:pPr marL="0" marR="0">
                        <a:lnSpc>
                          <a:spcPct val="100000"/>
                        </a:lnSpc>
                        <a:spcBef>
                          <a:spcPts val="0"/>
                        </a:spcBef>
                        <a:spcAft>
                          <a:spcPts val="0"/>
                        </a:spcAft>
                      </a:pPr>
                      <a:r>
                        <a:rPr lang="lv-LV" sz="1400" b="1">
                          <a:effectLst/>
                        </a:rPr>
                        <a:t>Sauss absorbents </a:t>
                      </a:r>
                      <a:r>
                        <a:rPr lang="lv-LV" sz="1400">
                          <a:effectLst/>
                        </a:rPr>
                        <a:t>– ūdens nedrīkst nonākt kontaktā ar vielu vai maisījumu.</a:t>
                      </a:r>
                      <a:endParaRPr lang="en-US" sz="1400">
                        <a:effectLst/>
                      </a:endParaRPr>
                    </a:p>
                    <a:p>
                      <a:pPr marL="0" marR="0">
                        <a:lnSpc>
                          <a:spcPct val="100000"/>
                        </a:lnSpc>
                        <a:spcBef>
                          <a:spcPts val="0"/>
                        </a:spcBef>
                        <a:spcAft>
                          <a:spcPts val="0"/>
                        </a:spcAft>
                      </a:pPr>
                      <a:r>
                        <a:rPr lang="lv-LV" sz="1400" b="1">
                          <a:effectLst/>
                        </a:rPr>
                        <a:t>V</a:t>
                      </a:r>
                      <a:r>
                        <a:rPr lang="lv-LV" sz="1400">
                          <a:effectLst/>
                        </a:rPr>
                        <a:t> – Aizdegšanās gadījumā viela var strauji reaģēt un izraisīt sprādzienu.</a:t>
                      </a:r>
                      <a:endParaRPr lang="en-US" sz="1400">
                        <a:effectLst/>
                      </a:endParaRPr>
                    </a:p>
                    <a:p>
                      <a:pPr marL="0" marR="0">
                        <a:lnSpc>
                          <a:spcPct val="100000"/>
                        </a:lnSpc>
                        <a:spcBef>
                          <a:spcPts val="0"/>
                        </a:spcBef>
                        <a:spcAft>
                          <a:spcPts val="0"/>
                        </a:spcAft>
                      </a:pPr>
                      <a:r>
                        <a:rPr lang="lv-LV" sz="1400" b="1">
                          <a:effectLst/>
                        </a:rPr>
                        <a:t>LTS </a:t>
                      </a:r>
                      <a:r>
                        <a:rPr lang="lv-LV" sz="1400">
                          <a:effectLst/>
                        </a:rPr>
                        <a:t>– viegls ķīmiskais aizsargtērps ar saspiesta gaisa elpošanas aparātu (BA).</a:t>
                      </a:r>
                      <a:endParaRPr lang="en-US" sz="1400">
                        <a:effectLst/>
                      </a:endParaRPr>
                    </a:p>
                    <a:p>
                      <a:pPr marL="0" marR="0">
                        <a:lnSpc>
                          <a:spcPct val="100000"/>
                        </a:lnSpc>
                        <a:spcBef>
                          <a:spcPts val="0"/>
                        </a:spcBef>
                        <a:spcAft>
                          <a:spcPts val="0"/>
                        </a:spcAft>
                      </a:pPr>
                      <a:r>
                        <a:rPr lang="lv-LV" sz="1400" b="1" err="1">
                          <a:effectLst/>
                        </a:rPr>
                        <a:t>Dilute</a:t>
                      </a:r>
                      <a:r>
                        <a:rPr lang="lv-LV" sz="1400">
                          <a:effectLst/>
                        </a:rPr>
                        <a:t> – var tikt nomazgāts ar lielu daudzumu ūdens.</a:t>
                      </a:r>
                      <a:endParaRPr lang="en-US" sz="1400">
                        <a:effectLst/>
                      </a:endParaRPr>
                    </a:p>
                    <a:p>
                      <a:pPr marL="0" marR="0">
                        <a:lnSpc>
                          <a:spcPct val="100000"/>
                        </a:lnSpc>
                        <a:spcBef>
                          <a:spcPts val="0"/>
                        </a:spcBef>
                        <a:spcAft>
                          <a:spcPts val="0"/>
                        </a:spcAft>
                      </a:pPr>
                      <a:r>
                        <a:rPr lang="lv-LV" sz="1400" b="1" err="1">
                          <a:effectLst/>
                        </a:rPr>
                        <a:t>Contain</a:t>
                      </a:r>
                      <a:r>
                        <a:rPr lang="lv-LV" sz="1400">
                          <a:effectLst/>
                        </a:rPr>
                        <a:t> – Nepieļaut vielas nokļūšanu kanalizācijā vai ūdens tilpnēs.</a:t>
                      </a:r>
                      <a:endParaRPr lang="en-US" sz="1400">
                        <a:effectLst/>
                      </a:endParaRPr>
                    </a:p>
                    <a:p>
                      <a:pPr marL="0" marR="0">
                        <a:lnSpc>
                          <a:spcPct val="100000"/>
                        </a:lnSpc>
                        <a:spcBef>
                          <a:spcPts val="0"/>
                        </a:spcBef>
                        <a:spcAft>
                          <a:spcPts val="0"/>
                        </a:spcAft>
                      </a:pPr>
                      <a:r>
                        <a:rPr lang="lv-LV" sz="1400" b="1">
                          <a:effectLst/>
                        </a:rPr>
                        <a:t>E</a:t>
                      </a:r>
                      <a:r>
                        <a:rPr lang="lv-LV" sz="1400">
                          <a:effectLst/>
                        </a:rPr>
                        <a:t> – Jābrīdina cilvēki, ka nepieciešams palikt noslēgtās iekštelpās ar iespējamu evakuāciju.</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72000" marR="72000" marT="0" marB="0" anchor="ctr">
                    <a:lnL w="3175" cap="flat" cmpd="sng" algn="ctr">
                      <a:solidFill>
                        <a:srgbClr val="525A7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239208">
                <a:tc>
                  <a:txBody>
                    <a:bodyPr/>
                    <a:lstStyle/>
                    <a:p>
                      <a:pPr marL="0" marR="0" algn="ctr">
                        <a:lnSpc>
                          <a:spcPct val="100000"/>
                        </a:lnSpc>
                        <a:spcBef>
                          <a:spcPts val="0"/>
                        </a:spcBef>
                        <a:spcAft>
                          <a:spcPts val="0"/>
                        </a:spcAft>
                      </a:pPr>
                      <a:r>
                        <a:rPr lang="lv-LV" sz="1400">
                          <a:effectLst/>
                        </a:rPr>
                        <a:t>P</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12700" cmpd="sng">
                      <a:noFill/>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pPr marL="0" marR="0" algn="ctr">
                        <a:lnSpc>
                          <a:spcPct val="100000"/>
                        </a:lnSpc>
                        <a:spcBef>
                          <a:spcPts val="0"/>
                        </a:spcBef>
                        <a:spcAft>
                          <a:spcPts val="0"/>
                        </a:spcAft>
                      </a:pPr>
                      <a:r>
                        <a:rPr lang="lv-LV" sz="1400">
                          <a:effectLst/>
                        </a:rPr>
                        <a:t>V</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3175" cap="flat" cmpd="sng" algn="ctr">
                      <a:solidFill>
                        <a:srgbClr val="525A72"/>
                      </a:solidFill>
                      <a:prstDash val="solid"/>
                      <a:round/>
                      <a:headEnd type="none" w="med" len="med"/>
                      <a:tailEnd type="none" w="med" len="med"/>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rowSpan="2">
                  <a:txBody>
                    <a:bodyPr/>
                    <a:lstStyle/>
                    <a:p>
                      <a:pPr marL="0" marR="0" algn="ctr">
                        <a:lnSpc>
                          <a:spcPct val="100000"/>
                        </a:lnSpc>
                        <a:spcBef>
                          <a:spcPts val="0"/>
                        </a:spcBef>
                        <a:spcAft>
                          <a:spcPts val="0"/>
                        </a:spcAft>
                      </a:pPr>
                      <a:r>
                        <a:rPr lang="lv-LV" sz="1400">
                          <a:effectLst/>
                        </a:rPr>
                        <a:t>LTS</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3175" cap="flat" cmpd="sng" algn="ctr">
                      <a:solidFill>
                        <a:srgbClr val="525A72"/>
                      </a:solidFill>
                      <a:prstDash val="solid"/>
                      <a:round/>
                      <a:headEnd type="none" w="med" len="med"/>
                      <a:tailEnd type="none" w="med" len="med"/>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rowSpan="4">
                  <a:txBody>
                    <a:bodyPr/>
                    <a:lstStyle/>
                    <a:p>
                      <a:pPr marL="0" marR="0" algn="ctr">
                        <a:lnSpc>
                          <a:spcPct val="100000"/>
                        </a:lnSpc>
                        <a:spcBef>
                          <a:spcPts val="0"/>
                        </a:spcBef>
                        <a:spcAft>
                          <a:spcPts val="0"/>
                        </a:spcAft>
                      </a:pPr>
                      <a:r>
                        <a:rPr lang="lv-LV" sz="1400">
                          <a:effectLst/>
                        </a:rPr>
                        <a:t>DILUTE</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3175" cap="flat" cmpd="sng" algn="ctr">
                      <a:solidFill>
                        <a:srgbClr val="525A72"/>
                      </a:solidFill>
                      <a:prstDash val="solid"/>
                      <a:round/>
                      <a:headEnd type="none" w="med" len="med"/>
                      <a:tailEnd type="none" w="med" len="med"/>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vMerge="1">
                  <a:txBody>
                    <a:bodyPr/>
                    <a:lstStyle/>
                    <a:p>
                      <a:endParaRPr lang="en-US"/>
                    </a:p>
                  </a:txBody>
                  <a:tcPr/>
                </a:tc>
                <a:extLst>
                  <a:ext uri="{0D108BD9-81ED-4DB2-BD59-A6C34878D82A}">
                    <a16:rowId xmlns:a16="http://schemas.microsoft.com/office/drawing/2014/main" val="10001"/>
                  </a:ext>
                </a:extLst>
              </a:tr>
              <a:tr h="239208">
                <a:tc>
                  <a:txBody>
                    <a:bodyPr/>
                    <a:lstStyle/>
                    <a:p>
                      <a:pPr marL="0" marR="0" algn="ctr">
                        <a:lnSpc>
                          <a:spcPct val="100000"/>
                        </a:lnSpc>
                        <a:spcBef>
                          <a:spcPts val="0"/>
                        </a:spcBef>
                        <a:spcAft>
                          <a:spcPts val="0"/>
                        </a:spcAft>
                      </a:pPr>
                      <a:r>
                        <a:rPr lang="lv-LV" sz="1400">
                          <a:effectLst/>
                        </a:rPr>
                        <a:t>R</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12700" cmpd="sng">
                      <a:noFill/>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pPr marL="0" marR="0" algn="ctr">
                        <a:lnSpc>
                          <a:spcPct val="100000"/>
                        </a:lnSpc>
                        <a:spcBef>
                          <a:spcPts val="0"/>
                        </a:spcBef>
                        <a:spcAft>
                          <a:spcPts val="0"/>
                        </a:spcAft>
                      </a:pPr>
                      <a:r>
                        <a:rPr lang="lv-LV" sz="1400">
                          <a:effectLst/>
                        </a:rPr>
                        <a:t> </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3175" cap="flat" cmpd="sng" algn="ctr">
                      <a:solidFill>
                        <a:srgbClr val="525A72"/>
                      </a:solidFill>
                      <a:prstDash val="solid"/>
                      <a:round/>
                      <a:headEnd type="none" w="med" len="med"/>
                      <a:tailEnd type="none" w="med" len="med"/>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2"/>
                  </a:ext>
                </a:extLst>
              </a:tr>
              <a:tr h="239208">
                <a:tc>
                  <a:txBody>
                    <a:bodyPr/>
                    <a:lstStyle/>
                    <a:p>
                      <a:pPr marL="0" marR="0" algn="ctr">
                        <a:lnSpc>
                          <a:spcPct val="100000"/>
                        </a:lnSpc>
                        <a:spcBef>
                          <a:spcPts val="0"/>
                        </a:spcBef>
                        <a:spcAft>
                          <a:spcPts val="0"/>
                        </a:spcAft>
                      </a:pPr>
                      <a:r>
                        <a:rPr lang="lv-LV" sz="1400">
                          <a:effectLst/>
                        </a:rPr>
                        <a:t>S</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12700" cmpd="sng">
                      <a:noFill/>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pPr marL="0" marR="0" algn="ctr">
                        <a:lnSpc>
                          <a:spcPct val="100000"/>
                        </a:lnSpc>
                        <a:spcBef>
                          <a:spcPts val="0"/>
                        </a:spcBef>
                        <a:spcAft>
                          <a:spcPts val="0"/>
                        </a:spcAft>
                      </a:pPr>
                      <a:r>
                        <a:rPr lang="lv-LV" sz="1400">
                          <a:effectLst/>
                        </a:rPr>
                        <a:t>V</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3175" cap="flat" cmpd="sng" algn="ctr">
                      <a:solidFill>
                        <a:srgbClr val="525A72"/>
                      </a:solidFill>
                      <a:prstDash val="solid"/>
                      <a:round/>
                      <a:headEnd type="none" w="med" len="med"/>
                      <a:tailEnd type="none" w="med" len="med"/>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rowSpan="2">
                  <a:txBody>
                    <a:bodyPr/>
                    <a:lstStyle/>
                    <a:p>
                      <a:pPr marL="0" marR="0" algn="ctr">
                        <a:lnSpc>
                          <a:spcPct val="100000"/>
                        </a:lnSpc>
                        <a:spcBef>
                          <a:spcPts val="0"/>
                        </a:spcBef>
                        <a:spcAft>
                          <a:spcPts val="0"/>
                        </a:spcAft>
                      </a:pPr>
                      <a:r>
                        <a:rPr lang="lv-LV" sz="1400">
                          <a:effectLst/>
                        </a:rPr>
                        <a:t>BA&amp;</a:t>
                      </a:r>
                      <a:endParaRPr lang="en-US" sz="1400">
                        <a:effectLst/>
                      </a:endParaRPr>
                    </a:p>
                    <a:p>
                      <a:pPr marL="0" marR="0" algn="ctr">
                        <a:lnSpc>
                          <a:spcPct val="100000"/>
                        </a:lnSpc>
                        <a:spcBef>
                          <a:spcPts val="0"/>
                        </a:spcBef>
                        <a:spcAft>
                          <a:spcPts val="0"/>
                        </a:spcAft>
                      </a:pPr>
                      <a:r>
                        <a:rPr lang="lv-LV" sz="1400">
                          <a:effectLst/>
                        </a:rPr>
                        <a:t>FIRE KIT</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3175" cap="flat" cmpd="sng" algn="ctr">
                      <a:solidFill>
                        <a:srgbClr val="525A72"/>
                      </a:solidFill>
                      <a:prstDash val="solid"/>
                      <a:round/>
                      <a:headEnd type="none" w="med" len="med"/>
                      <a:tailEnd type="none" w="med" len="med"/>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3"/>
                  </a:ext>
                </a:extLst>
              </a:tr>
              <a:tr h="241709">
                <a:tc>
                  <a:txBody>
                    <a:bodyPr/>
                    <a:lstStyle/>
                    <a:p>
                      <a:pPr marL="0" marR="0" algn="ctr">
                        <a:lnSpc>
                          <a:spcPct val="100000"/>
                        </a:lnSpc>
                        <a:spcBef>
                          <a:spcPts val="0"/>
                        </a:spcBef>
                        <a:spcAft>
                          <a:spcPts val="0"/>
                        </a:spcAft>
                      </a:pPr>
                      <a:r>
                        <a:rPr lang="lv-LV" sz="1400">
                          <a:effectLst/>
                        </a:rPr>
                        <a:t>T</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12700" cmpd="sng">
                      <a:noFill/>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pPr marL="0" marR="0" algn="ctr">
                        <a:lnSpc>
                          <a:spcPct val="100000"/>
                        </a:lnSpc>
                        <a:spcBef>
                          <a:spcPts val="0"/>
                        </a:spcBef>
                        <a:spcAft>
                          <a:spcPts val="0"/>
                        </a:spcAft>
                      </a:pPr>
                      <a:r>
                        <a:rPr lang="lv-LV" sz="1400">
                          <a:effectLst/>
                        </a:rPr>
                        <a:t> </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3175" cap="flat" cmpd="sng" algn="ctr">
                      <a:solidFill>
                        <a:srgbClr val="525A72"/>
                      </a:solidFill>
                      <a:prstDash val="solid"/>
                      <a:round/>
                      <a:headEnd type="none" w="med" len="med"/>
                      <a:tailEnd type="none" w="med" len="med"/>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4"/>
                  </a:ext>
                </a:extLst>
              </a:tr>
              <a:tr h="239208">
                <a:tc>
                  <a:txBody>
                    <a:bodyPr/>
                    <a:lstStyle/>
                    <a:p>
                      <a:pPr marL="0" marR="0" algn="ctr">
                        <a:lnSpc>
                          <a:spcPct val="100000"/>
                        </a:lnSpc>
                        <a:spcBef>
                          <a:spcPts val="0"/>
                        </a:spcBef>
                        <a:spcAft>
                          <a:spcPts val="0"/>
                        </a:spcAft>
                      </a:pPr>
                      <a:r>
                        <a:rPr lang="lv-LV" sz="1400">
                          <a:effectLst/>
                        </a:rPr>
                        <a:t>W</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12700" cmpd="sng">
                      <a:noFill/>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pPr marL="0" marR="0" algn="ctr">
                        <a:lnSpc>
                          <a:spcPct val="100000"/>
                        </a:lnSpc>
                        <a:spcBef>
                          <a:spcPts val="0"/>
                        </a:spcBef>
                        <a:spcAft>
                          <a:spcPts val="0"/>
                        </a:spcAft>
                      </a:pPr>
                      <a:r>
                        <a:rPr lang="lv-LV" sz="1400">
                          <a:effectLst/>
                        </a:rPr>
                        <a:t>V</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3175" cap="flat" cmpd="sng" algn="ctr">
                      <a:solidFill>
                        <a:srgbClr val="525A72"/>
                      </a:solidFill>
                      <a:prstDash val="solid"/>
                      <a:round/>
                      <a:headEnd type="none" w="med" len="med"/>
                      <a:tailEnd type="none" w="med" len="med"/>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rowSpan="2">
                  <a:txBody>
                    <a:bodyPr/>
                    <a:lstStyle/>
                    <a:p>
                      <a:pPr marL="0" marR="0" algn="ctr">
                        <a:lnSpc>
                          <a:spcPct val="100000"/>
                        </a:lnSpc>
                        <a:spcBef>
                          <a:spcPts val="0"/>
                        </a:spcBef>
                        <a:spcAft>
                          <a:spcPts val="0"/>
                        </a:spcAft>
                      </a:pPr>
                      <a:r>
                        <a:rPr lang="lv-LV" sz="1400">
                          <a:effectLst/>
                        </a:rPr>
                        <a:t>LTS</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3175" cap="flat" cmpd="sng" algn="ctr">
                      <a:solidFill>
                        <a:srgbClr val="525A72"/>
                      </a:solidFill>
                      <a:prstDash val="solid"/>
                      <a:round/>
                      <a:headEnd type="none" w="med" len="med"/>
                      <a:tailEnd type="none" w="med" len="med"/>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rowSpan="5">
                  <a:txBody>
                    <a:bodyPr/>
                    <a:lstStyle/>
                    <a:p>
                      <a:pPr marL="0" marR="0" algn="ctr">
                        <a:lnSpc>
                          <a:spcPct val="100000"/>
                        </a:lnSpc>
                        <a:spcBef>
                          <a:spcPts val="0"/>
                        </a:spcBef>
                        <a:spcAft>
                          <a:spcPts val="0"/>
                        </a:spcAft>
                      </a:pPr>
                      <a:r>
                        <a:rPr lang="lv-LV" sz="1400">
                          <a:effectLst/>
                        </a:rPr>
                        <a:t>CONTAIN</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3175" cap="flat" cmpd="sng" algn="ctr">
                      <a:solidFill>
                        <a:srgbClr val="525A72"/>
                      </a:solidFill>
                      <a:prstDash val="solid"/>
                      <a:round/>
                      <a:headEnd type="none" w="med" len="med"/>
                      <a:tailEnd type="none" w="med" len="med"/>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18D85"/>
                    </a:solidFill>
                  </a:tcPr>
                </a:tc>
                <a:tc vMerge="1">
                  <a:txBody>
                    <a:bodyPr/>
                    <a:lstStyle/>
                    <a:p>
                      <a:endParaRPr lang="en-US"/>
                    </a:p>
                  </a:txBody>
                  <a:tcPr/>
                </a:tc>
                <a:extLst>
                  <a:ext uri="{0D108BD9-81ED-4DB2-BD59-A6C34878D82A}">
                    <a16:rowId xmlns:a16="http://schemas.microsoft.com/office/drawing/2014/main" val="10005"/>
                  </a:ext>
                </a:extLst>
              </a:tr>
              <a:tr h="239208">
                <a:tc>
                  <a:txBody>
                    <a:bodyPr/>
                    <a:lstStyle/>
                    <a:p>
                      <a:pPr marL="0" marR="0" algn="ctr">
                        <a:lnSpc>
                          <a:spcPct val="100000"/>
                        </a:lnSpc>
                        <a:spcBef>
                          <a:spcPts val="0"/>
                        </a:spcBef>
                        <a:spcAft>
                          <a:spcPts val="0"/>
                        </a:spcAft>
                      </a:pPr>
                      <a:r>
                        <a:rPr lang="lv-LV" sz="1400">
                          <a:effectLst/>
                        </a:rPr>
                        <a:t>X</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12700" cmpd="sng">
                      <a:noFill/>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pPr marL="0" marR="0" algn="ctr">
                        <a:lnSpc>
                          <a:spcPct val="100000"/>
                        </a:lnSpc>
                        <a:spcBef>
                          <a:spcPts val="0"/>
                        </a:spcBef>
                        <a:spcAft>
                          <a:spcPts val="0"/>
                        </a:spcAft>
                      </a:pPr>
                      <a:r>
                        <a:rPr lang="lv-LV" sz="1400">
                          <a:effectLst/>
                        </a:rPr>
                        <a:t> </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3175" cap="flat" cmpd="sng" algn="ctr">
                      <a:solidFill>
                        <a:srgbClr val="525A72"/>
                      </a:solidFill>
                      <a:prstDash val="solid"/>
                      <a:round/>
                      <a:headEnd type="none" w="med" len="med"/>
                      <a:tailEnd type="none" w="med" len="med"/>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6"/>
                  </a:ext>
                </a:extLst>
              </a:tr>
              <a:tr h="239208">
                <a:tc>
                  <a:txBody>
                    <a:bodyPr/>
                    <a:lstStyle/>
                    <a:p>
                      <a:pPr marL="0" marR="0" algn="ctr">
                        <a:lnSpc>
                          <a:spcPct val="100000"/>
                        </a:lnSpc>
                        <a:spcBef>
                          <a:spcPts val="0"/>
                        </a:spcBef>
                        <a:spcAft>
                          <a:spcPts val="0"/>
                        </a:spcAft>
                      </a:pPr>
                      <a:r>
                        <a:rPr lang="lv-LV" sz="1400">
                          <a:effectLst/>
                        </a:rPr>
                        <a:t>Y</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12700" cmpd="sng">
                      <a:noFill/>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pPr marL="0" marR="0" algn="ctr">
                        <a:lnSpc>
                          <a:spcPct val="100000"/>
                        </a:lnSpc>
                        <a:spcBef>
                          <a:spcPts val="0"/>
                        </a:spcBef>
                        <a:spcAft>
                          <a:spcPts val="0"/>
                        </a:spcAft>
                      </a:pPr>
                      <a:r>
                        <a:rPr lang="lv-LV" sz="1400">
                          <a:effectLst/>
                        </a:rPr>
                        <a:t>V</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3175" cap="flat" cmpd="sng" algn="ctr">
                      <a:solidFill>
                        <a:srgbClr val="525A72"/>
                      </a:solidFill>
                      <a:prstDash val="solid"/>
                      <a:round/>
                      <a:headEnd type="none" w="med" len="med"/>
                      <a:tailEnd type="none" w="med" len="med"/>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rowSpan="2">
                  <a:txBody>
                    <a:bodyPr/>
                    <a:lstStyle/>
                    <a:p>
                      <a:pPr marL="0" marR="0" algn="ctr">
                        <a:lnSpc>
                          <a:spcPct val="100000"/>
                        </a:lnSpc>
                        <a:spcBef>
                          <a:spcPts val="0"/>
                        </a:spcBef>
                        <a:spcAft>
                          <a:spcPts val="0"/>
                        </a:spcAft>
                      </a:pPr>
                      <a:r>
                        <a:rPr lang="lv-LV" sz="1400">
                          <a:effectLst/>
                        </a:rPr>
                        <a:t>BA&amp;</a:t>
                      </a:r>
                      <a:endParaRPr lang="en-US" sz="1400">
                        <a:effectLst/>
                      </a:endParaRPr>
                    </a:p>
                    <a:p>
                      <a:pPr marL="0" marR="0" algn="ctr">
                        <a:lnSpc>
                          <a:spcPct val="100000"/>
                        </a:lnSpc>
                        <a:spcBef>
                          <a:spcPts val="0"/>
                        </a:spcBef>
                        <a:spcAft>
                          <a:spcPts val="0"/>
                        </a:spcAft>
                      </a:pPr>
                      <a:r>
                        <a:rPr lang="lv-LV" sz="1400">
                          <a:effectLst/>
                        </a:rPr>
                        <a:t>FIRE KIT</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3175" cap="flat" cmpd="sng" algn="ctr">
                      <a:solidFill>
                        <a:srgbClr val="525A72"/>
                      </a:solidFill>
                      <a:prstDash val="solid"/>
                      <a:round/>
                      <a:headEnd type="none" w="med" len="med"/>
                      <a:tailEnd type="none" w="med" len="med"/>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7"/>
                  </a:ext>
                </a:extLst>
              </a:tr>
              <a:tr h="256192">
                <a:tc>
                  <a:txBody>
                    <a:bodyPr/>
                    <a:lstStyle/>
                    <a:p>
                      <a:pPr marL="0" marR="0" algn="ctr">
                        <a:lnSpc>
                          <a:spcPct val="100000"/>
                        </a:lnSpc>
                        <a:spcBef>
                          <a:spcPts val="0"/>
                        </a:spcBef>
                        <a:spcAft>
                          <a:spcPts val="0"/>
                        </a:spcAft>
                      </a:pPr>
                      <a:r>
                        <a:rPr lang="lv-LV" sz="1400">
                          <a:effectLst/>
                        </a:rPr>
                        <a:t>Z</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12700" cmpd="sng">
                      <a:noFill/>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pPr marL="0" marR="0" algn="ctr">
                        <a:lnSpc>
                          <a:spcPct val="100000"/>
                        </a:lnSpc>
                        <a:spcBef>
                          <a:spcPts val="0"/>
                        </a:spcBef>
                        <a:spcAft>
                          <a:spcPts val="0"/>
                        </a:spcAft>
                      </a:pPr>
                      <a:r>
                        <a:rPr lang="lv-LV" sz="1400">
                          <a:effectLst/>
                        </a:rPr>
                        <a:t> </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3175" cap="flat" cmpd="sng" algn="ctr">
                      <a:solidFill>
                        <a:srgbClr val="525A72"/>
                      </a:solidFill>
                      <a:prstDash val="solid"/>
                      <a:round/>
                      <a:headEnd type="none" w="med" len="med"/>
                      <a:tailEnd type="none" w="med" len="med"/>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8"/>
                  </a:ext>
                </a:extLst>
              </a:tr>
              <a:tr h="435213">
                <a:tc gridSpan="3">
                  <a:txBody>
                    <a:bodyPr/>
                    <a:lstStyle/>
                    <a:p>
                      <a:pPr marL="0" marR="0" algn="ctr">
                        <a:lnSpc>
                          <a:spcPct val="100000"/>
                        </a:lnSpc>
                        <a:spcBef>
                          <a:spcPts val="0"/>
                        </a:spcBef>
                        <a:spcAft>
                          <a:spcPts val="0"/>
                        </a:spcAft>
                      </a:pPr>
                      <a:r>
                        <a:rPr lang="lv-LV" sz="1400">
                          <a:effectLst/>
                        </a:rPr>
                        <a:t>E </a:t>
                      </a:r>
                      <a:r>
                        <a:rPr lang="lv-LV" sz="1400" err="1">
                          <a:effectLst/>
                        </a:rPr>
                        <a:t>Public</a:t>
                      </a:r>
                      <a:r>
                        <a:rPr lang="lv-LV" sz="1400">
                          <a:effectLst/>
                        </a:rPr>
                        <a:t> </a:t>
                      </a:r>
                      <a:endParaRPr lang="en-US" sz="1400">
                        <a:effectLst/>
                      </a:endParaRPr>
                    </a:p>
                    <a:p>
                      <a:pPr marL="0" marR="0" algn="ctr">
                        <a:lnSpc>
                          <a:spcPct val="100000"/>
                        </a:lnSpc>
                        <a:spcBef>
                          <a:spcPts val="0"/>
                        </a:spcBef>
                        <a:spcAft>
                          <a:spcPts val="0"/>
                        </a:spcAft>
                      </a:pPr>
                      <a:r>
                        <a:rPr lang="lv-LV" sz="1400" err="1">
                          <a:effectLst/>
                        </a:rPr>
                        <a:t>Safety</a:t>
                      </a:r>
                      <a:r>
                        <a:rPr lang="lv-LV" sz="1400">
                          <a:effectLst/>
                        </a:rPr>
                        <a:t> </a:t>
                      </a:r>
                      <a:r>
                        <a:rPr lang="lv-LV" sz="1400" err="1">
                          <a:effectLst/>
                        </a:rPr>
                        <a:t>Hazard</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12700" cmpd="sng">
                      <a:noFill/>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18D85"/>
                    </a:solidFill>
                  </a:tcPr>
                </a:tc>
                <a:tc hMerge="1">
                  <a:txBody>
                    <a:bodyPr/>
                    <a:lstStyle/>
                    <a:p>
                      <a:endParaRPr lang="en-US"/>
                    </a:p>
                  </a:txBody>
                  <a:tcPr/>
                </a:tc>
                <a:tc h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9"/>
                  </a:ext>
                </a:extLst>
              </a:tr>
            </a:tbl>
          </a:graphicData>
        </a:graphic>
      </p:graphicFrame>
      <p:pic>
        <p:nvPicPr>
          <p:cNvPr id="10" name="Picture 9">
            <a:extLst>
              <a:ext uri="{FF2B5EF4-FFF2-40B4-BE49-F238E27FC236}">
                <a16:creationId xmlns:a16="http://schemas.microsoft.com/office/drawing/2014/main" id="{63CABA95-32A2-FBC0-B896-71EFFD110614}"/>
              </a:ext>
            </a:extLst>
          </p:cNvPr>
          <p:cNvPicPr>
            <a:picLocks noChangeAspect="1"/>
          </p:cNvPicPr>
          <p:nvPr/>
        </p:nvPicPr>
        <p:blipFill>
          <a:blip r:embed="rId6"/>
          <a:stretch>
            <a:fillRect/>
          </a:stretch>
        </p:blipFill>
        <p:spPr>
          <a:xfrm>
            <a:off x="2202505" y="1916802"/>
            <a:ext cx="3629770" cy="1596239"/>
          </a:xfrm>
          <a:prstGeom prst="rect">
            <a:avLst/>
          </a:prstGeom>
        </p:spPr>
      </p:pic>
      <p:pic>
        <p:nvPicPr>
          <p:cNvPr id="13" name="Picture 12">
            <a:extLst>
              <a:ext uri="{FF2B5EF4-FFF2-40B4-BE49-F238E27FC236}">
                <a16:creationId xmlns:a16="http://schemas.microsoft.com/office/drawing/2014/main" id="{DAF13510-2E69-FDD1-C32F-B71847634F61}"/>
              </a:ext>
            </a:extLst>
          </p:cNvPr>
          <p:cNvPicPr>
            <a:picLocks noChangeAspect="1"/>
          </p:cNvPicPr>
          <p:nvPr/>
        </p:nvPicPr>
        <p:blipFill>
          <a:blip r:embed="rId7"/>
          <a:stretch>
            <a:fillRect/>
          </a:stretch>
        </p:blipFill>
        <p:spPr>
          <a:xfrm>
            <a:off x="2202505" y="4171746"/>
            <a:ext cx="3633632" cy="1867668"/>
          </a:xfrm>
          <a:prstGeom prst="rect">
            <a:avLst/>
          </a:prstGeom>
        </p:spPr>
      </p:pic>
      <p:grpSp>
        <p:nvGrpSpPr>
          <p:cNvPr id="16" name="Group 15">
            <a:extLst>
              <a:ext uri="{FF2B5EF4-FFF2-40B4-BE49-F238E27FC236}">
                <a16:creationId xmlns:a16="http://schemas.microsoft.com/office/drawing/2014/main" id="{BD8EFA9C-2C55-A77B-21F4-2251D1A87FA2}"/>
              </a:ext>
            </a:extLst>
          </p:cNvPr>
          <p:cNvGrpSpPr/>
          <p:nvPr/>
        </p:nvGrpSpPr>
        <p:grpSpPr>
          <a:xfrm>
            <a:off x="8801454" y="159786"/>
            <a:ext cx="2947634" cy="217488"/>
            <a:chOff x="8559627" y="684914"/>
            <a:chExt cx="2947634" cy="217488"/>
          </a:xfrm>
        </p:grpSpPr>
        <p:sp>
          <p:nvSpPr>
            <p:cNvPr id="17" name="Rectangle 16">
              <a:extLst>
                <a:ext uri="{FF2B5EF4-FFF2-40B4-BE49-F238E27FC236}">
                  <a16:creationId xmlns:a16="http://schemas.microsoft.com/office/drawing/2014/main" id="{239699CB-053D-20E9-77ED-8B19BB51FCDD}"/>
                </a:ext>
              </a:extLst>
            </p:cNvPr>
            <p:cNvSpPr/>
            <p:nvPr/>
          </p:nvSpPr>
          <p:spPr>
            <a:xfrm>
              <a:off x="9285434" y="68491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5</a:t>
              </a:r>
              <a:r>
                <a:rPr kumimoji="0" lang="lv-LV" sz="800" b="1" i="0" u="none" strike="noStrike" kern="0" cap="none" spc="0" normalizeH="0" baseline="0" dirty="0">
                  <a:ln>
                    <a:noFill/>
                  </a:ln>
                  <a:effectLst/>
                  <a:uLnTx/>
                  <a:uFillTx/>
                  <a:ea typeface="Georgia"/>
                  <a:cs typeface="Georgia"/>
                  <a:sym typeface="Georgia"/>
                </a:rPr>
                <a:t>.</a:t>
              </a:r>
              <a:r>
                <a:rPr kumimoji="0" lang="en-US" sz="800" b="1" i="0" u="none" strike="noStrike" kern="0" cap="none" spc="0" normalizeH="0" baseline="0" dirty="0">
                  <a:ln>
                    <a:noFill/>
                  </a:ln>
                  <a:effectLst/>
                  <a:uLnTx/>
                  <a:uFillTx/>
                  <a:ea typeface="Georgia"/>
                  <a:cs typeface="Georgia"/>
                  <a:sym typeface="Georgia"/>
                </a:rPr>
                <a:t>4</a:t>
              </a:r>
              <a:endParaRPr kumimoji="0" lang="lv-LV" sz="800" b="1" i="0" u="none" strike="noStrike" kern="0" cap="none" spc="0" normalizeH="0" baseline="0" dirty="0">
                <a:ln>
                  <a:noFill/>
                </a:ln>
                <a:effectLst/>
                <a:uLnTx/>
                <a:uFillTx/>
                <a:ea typeface="Georgia"/>
                <a:cs typeface="Georgia"/>
                <a:sym typeface="Georgia"/>
              </a:endParaRPr>
            </a:p>
          </p:txBody>
        </p:sp>
        <p:sp>
          <p:nvSpPr>
            <p:cNvPr id="18" name="Rectangle 17">
              <a:extLst>
                <a:ext uri="{FF2B5EF4-FFF2-40B4-BE49-F238E27FC236}">
                  <a16:creationId xmlns:a16="http://schemas.microsoft.com/office/drawing/2014/main" id="{C6669D7F-A96F-2110-EAFE-E1C1D65AB9DF}"/>
                </a:ext>
              </a:extLst>
            </p:cNvPr>
            <p:cNvSpPr/>
            <p:nvPr/>
          </p:nvSpPr>
          <p:spPr>
            <a:xfrm>
              <a:off x="9527261" y="684914"/>
              <a:ext cx="198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err="1">
                  <a:ln>
                    <a:noFill/>
                  </a:ln>
                  <a:effectLst/>
                  <a:uLnTx/>
                  <a:uFillTx/>
                  <a:ea typeface="Georgia"/>
                  <a:cs typeface="Georgia"/>
                  <a:sym typeface="Georgia"/>
                </a:rPr>
                <a:t>Drošības</a:t>
              </a:r>
              <a:r>
                <a:rPr kumimoji="0" lang="en-US" sz="800" b="1" i="0" u="none" strike="noStrike" kern="0" cap="none" spc="0" normalizeH="0" baseline="0" dirty="0">
                  <a:ln>
                    <a:noFill/>
                  </a:ln>
                  <a:effectLst/>
                  <a:uLnTx/>
                  <a:uFillTx/>
                  <a:ea typeface="Georgia"/>
                  <a:cs typeface="Georgia"/>
                  <a:sym typeface="Georgia"/>
                </a:rPr>
                <a:t> </a:t>
              </a:r>
              <a:r>
                <a:rPr kumimoji="0" lang="en-US" sz="800" b="1" i="0" u="none" strike="noStrike" kern="0" cap="none" spc="0" normalizeH="0" baseline="0" dirty="0" err="1">
                  <a:ln>
                    <a:noFill/>
                  </a:ln>
                  <a:effectLst/>
                  <a:uLnTx/>
                  <a:uFillTx/>
                  <a:ea typeface="Georgia"/>
                  <a:cs typeface="Georgia"/>
                  <a:sym typeface="Georgia"/>
                </a:rPr>
                <a:t>pasākumi</a:t>
              </a:r>
              <a:endParaRPr kumimoji="0" lang="en-US" sz="800" b="1" i="0" u="none" strike="noStrike" kern="0" cap="none" spc="0" normalizeH="0" baseline="0" dirty="0">
                <a:ln>
                  <a:noFill/>
                </a:ln>
                <a:effectLst/>
                <a:uLnTx/>
                <a:uFillTx/>
                <a:ea typeface="Georgia"/>
                <a:cs typeface="Georgia"/>
                <a:sym typeface="Georgia"/>
              </a:endParaRPr>
            </a:p>
          </p:txBody>
        </p:sp>
        <p:sp>
          <p:nvSpPr>
            <p:cNvPr id="20" name="Rectangle 19">
              <a:extLst>
                <a:ext uri="{FF2B5EF4-FFF2-40B4-BE49-F238E27FC236}">
                  <a16:creationId xmlns:a16="http://schemas.microsoft.com/office/drawing/2014/main" id="{EF81CF4D-DB87-781E-16D2-F1FADF0D4756}"/>
                </a:ext>
              </a:extLst>
            </p:cNvPr>
            <p:cNvSpPr/>
            <p:nvPr/>
          </p:nvSpPr>
          <p:spPr>
            <a:xfrm>
              <a:off x="9043607"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3</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30C96F9B-9679-C59A-30C5-A767B0FC175A}"/>
                </a:ext>
              </a:extLst>
            </p:cNvPr>
            <p:cNvSpPr/>
            <p:nvPr/>
          </p:nvSpPr>
          <p:spPr>
            <a:xfrm>
              <a:off x="8801780"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2</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22" name="Rectangle 21">
              <a:extLst>
                <a:ext uri="{FF2B5EF4-FFF2-40B4-BE49-F238E27FC236}">
                  <a16:creationId xmlns:a16="http://schemas.microsoft.com/office/drawing/2014/main" id="{106B7337-B5CA-FC1D-44C4-4CD162E009ED}"/>
                </a:ext>
              </a:extLst>
            </p:cNvPr>
            <p:cNvSpPr/>
            <p:nvPr/>
          </p:nvSpPr>
          <p:spPr>
            <a:xfrm>
              <a:off x="8559627"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24048957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dirty="0"/>
              <a:t>Bīstamās vielas</a:t>
            </a:r>
            <a:br>
              <a:rPr lang="lv-LV" dirty="0"/>
            </a:br>
            <a:r>
              <a:rPr lang="lv-LV" dirty="0">
                <a:solidFill>
                  <a:srgbClr val="A8192D"/>
                </a:solidFill>
              </a:rPr>
              <a:t>Vielu drošības darba lapa</a:t>
            </a:r>
            <a:endParaRPr lang="en-GB" dirty="0">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6</a:t>
            </a:fld>
            <a:endParaRPr lang="en-GB"/>
          </a:p>
        </p:txBody>
      </p:sp>
      <p:sp>
        <p:nvSpPr>
          <p:cNvPr id="14" name="Rectangle 13">
            <a:extLst>
              <a:ext uri="{FF2B5EF4-FFF2-40B4-BE49-F238E27FC236}">
                <a16:creationId xmlns:a16="http://schemas.microsoft.com/office/drawing/2014/main" id="{B91C97FF-FB2F-6174-F010-0BE3D08CAB18}"/>
              </a:ext>
            </a:extLst>
          </p:cNvPr>
          <p:cNvSpPr/>
          <p:nvPr/>
        </p:nvSpPr>
        <p:spPr>
          <a:xfrm>
            <a:off x="1100137" y="1824658"/>
            <a:ext cx="10648951"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dirty="0">
                <a:solidFill>
                  <a:schemeClr val="tx1"/>
                </a:solidFill>
                <a:effectLst/>
              </a:rPr>
              <a:t>Drošības datu lapas ir galvenais instruments, lai nodrošinātu, ka ražotāji un importētāji piegādes ķēdē paziņo pietiekamu informāciju, kas ļauj vielas un maisījumus lietot (uzglabāt un iznīcināt) droši. </a:t>
            </a:r>
          </a:p>
        </p:txBody>
      </p:sp>
      <p:sp>
        <p:nvSpPr>
          <p:cNvPr id="15" name="Rectangle 14">
            <a:extLst>
              <a:ext uri="{FF2B5EF4-FFF2-40B4-BE49-F238E27FC236}">
                <a16:creationId xmlns:a16="http://schemas.microsoft.com/office/drawing/2014/main" id="{84AA04F5-C3D4-3AC7-1340-57203F7BFB6D}"/>
              </a:ext>
            </a:extLst>
          </p:cNvPr>
          <p:cNvSpPr/>
          <p:nvPr/>
        </p:nvSpPr>
        <p:spPr>
          <a:xfrm>
            <a:off x="442913" y="2519603"/>
            <a:ext cx="10659287"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DDL nav jāpiegādā plašākai sabiedrībai</a:t>
            </a:r>
          </a:p>
        </p:txBody>
      </p:sp>
      <p:sp>
        <p:nvSpPr>
          <p:cNvPr id="16" name="Rectangle 15">
            <a:extLst>
              <a:ext uri="{FF2B5EF4-FFF2-40B4-BE49-F238E27FC236}">
                <a16:creationId xmlns:a16="http://schemas.microsoft.com/office/drawing/2014/main" id="{0198F400-2627-59F2-48AF-AEFA24DB7A66}"/>
              </a:ext>
            </a:extLst>
          </p:cNvPr>
          <p:cNvSpPr/>
          <p:nvPr/>
        </p:nvSpPr>
        <p:spPr>
          <a:xfrm>
            <a:off x="11173088" y="2519603"/>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7" name="Rectangle 16">
            <a:extLst>
              <a:ext uri="{FF2B5EF4-FFF2-40B4-BE49-F238E27FC236}">
                <a16:creationId xmlns:a16="http://schemas.microsoft.com/office/drawing/2014/main" id="{13ED87D0-7138-9B77-B29E-2D2F417FEB5C}"/>
              </a:ext>
            </a:extLst>
          </p:cNvPr>
          <p:cNvSpPr/>
          <p:nvPr/>
        </p:nvSpPr>
        <p:spPr>
          <a:xfrm>
            <a:off x="11102200" y="2519603"/>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18" name="Google Shape;974;p84">
            <a:extLst>
              <a:ext uri="{FF2B5EF4-FFF2-40B4-BE49-F238E27FC236}">
                <a16:creationId xmlns:a16="http://schemas.microsoft.com/office/drawing/2014/main" id="{E1659033-C433-BFF2-449D-CE56930947D2}"/>
              </a:ext>
            </a:extLst>
          </p:cNvPr>
          <p:cNvGrpSpPr/>
          <p:nvPr/>
        </p:nvGrpSpPr>
        <p:grpSpPr>
          <a:xfrm>
            <a:off x="11317088" y="2663603"/>
            <a:ext cx="288000" cy="288000"/>
            <a:chOff x="7458182" y="1867103"/>
            <a:chExt cx="457200" cy="457200"/>
          </a:xfrm>
          <a:solidFill>
            <a:schemeClr val="bg1"/>
          </a:solidFill>
        </p:grpSpPr>
        <p:sp>
          <p:nvSpPr>
            <p:cNvPr id="19" name="Google Shape;975;p84">
              <a:extLst>
                <a:ext uri="{FF2B5EF4-FFF2-40B4-BE49-F238E27FC236}">
                  <a16:creationId xmlns:a16="http://schemas.microsoft.com/office/drawing/2014/main" id="{2C7194B9-B73F-C6D5-B285-1F6CA7C3E07A}"/>
                </a:ext>
              </a:extLst>
            </p:cNvPr>
            <p:cNvSpPr/>
            <p:nvPr/>
          </p:nvSpPr>
          <p:spPr>
            <a:xfrm>
              <a:off x="7458182" y="1867103"/>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sp>
          <p:nvSpPr>
            <p:cNvPr id="20" name="Google Shape;976;p84">
              <a:extLst>
                <a:ext uri="{FF2B5EF4-FFF2-40B4-BE49-F238E27FC236}">
                  <a16:creationId xmlns:a16="http://schemas.microsoft.com/office/drawing/2014/main" id="{D443B861-A6FB-0D7C-B431-C72C3F59406F}"/>
                </a:ext>
              </a:extLst>
            </p:cNvPr>
            <p:cNvSpPr/>
            <p:nvPr/>
          </p:nvSpPr>
          <p:spPr>
            <a:xfrm>
              <a:off x="7563782" y="1923395"/>
              <a:ext cx="245618" cy="342773"/>
            </a:xfrm>
            <a:custGeom>
              <a:avLst/>
              <a:gdLst/>
              <a:ahLst/>
              <a:cxnLst/>
              <a:rect l="l" t="t" r="r" b="b"/>
              <a:pathLst>
                <a:path w="245618" h="342773" extrusionOk="0">
                  <a:moveTo>
                    <a:pt x="245618" y="44577"/>
                  </a:moveTo>
                  <a:lnTo>
                    <a:pt x="245618" y="25051"/>
                  </a:lnTo>
                  <a:lnTo>
                    <a:pt x="203168" y="25051"/>
                  </a:lnTo>
                  <a:lnTo>
                    <a:pt x="203168" y="0"/>
                  </a:lnTo>
                  <a:lnTo>
                    <a:pt x="147574" y="0"/>
                  </a:lnTo>
                  <a:lnTo>
                    <a:pt x="147574" y="25051"/>
                  </a:lnTo>
                  <a:lnTo>
                    <a:pt x="318" y="25051"/>
                  </a:lnTo>
                  <a:lnTo>
                    <a:pt x="318" y="44577"/>
                  </a:lnTo>
                  <a:lnTo>
                    <a:pt x="6445" y="44577"/>
                  </a:lnTo>
                  <a:lnTo>
                    <a:pt x="7525" y="117888"/>
                  </a:lnTo>
                  <a:lnTo>
                    <a:pt x="0" y="117888"/>
                  </a:lnTo>
                  <a:lnTo>
                    <a:pt x="0" y="137382"/>
                  </a:lnTo>
                  <a:lnTo>
                    <a:pt x="7811" y="137382"/>
                  </a:lnTo>
                  <a:lnTo>
                    <a:pt x="8985" y="225298"/>
                  </a:lnTo>
                  <a:lnTo>
                    <a:pt x="0" y="225298"/>
                  </a:lnTo>
                  <a:lnTo>
                    <a:pt x="0" y="244888"/>
                  </a:lnTo>
                  <a:lnTo>
                    <a:pt x="9525" y="244888"/>
                  </a:lnTo>
                  <a:lnTo>
                    <a:pt x="10668" y="323183"/>
                  </a:lnTo>
                  <a:lnTo>
                    <a:pt x="0" y="323183"/>
                  </a:lnTo>
                  <a:lnTo>
                    <a:pt x="0" y="342773"/>
                  </a:lnTo>
                  <a:lnTo>
                    <a:pt x="245491" y="342773"/>
                  </a:lnTo>
                  <a:lnTo>
                    <a:pt x="245491" y="323183"/>
                  </a:lnTo>
                  <a:lnTo>
                    <a:pt x="238347" y="323183"/>
                  </a:lnTo>
                  <a:lnTo>
                    <a:pt x="238665" y="244888"/>
                  </a:lnTo>
                  <a:lnTo>
                    <a:pt x="245491" y="244888"/>
                  </a:lnTo>
                  <a:lnTo>
                    <a:pt x="245491" y="225298"/>
                  </a:lnTo>
                  <a:lnTo>
                    <a:pt x="238760" y="225298"/>
                  </a:lnTo>
                  <a:lnTo>
                    <a:pt x="239141" y="137382"/>
                  </a:lnTo>
                  <a:lnTo>
                    <a:pt x="245491" y="137382"/>
                  </a:lnTo>
                  <a:lnTo>
                    <a:pt x="245491" y="117888"/>
                  </a:lnTo>
                  <a:lnTo>
                    <a:pt x="239141" y="117888"/>
                  </a:lnTo>
                  <a:lnTo>
                    <a:pt x="239459" y="44577"/>
                  </a:lnTo>
                  <a:close/>
                  <a:moveTo>
                    <a:pt x="161195" y="13716"/>
                  </a:moveTo>
                  <a:lnTo>
                    <a:pt x="189960" y="13716"/>
                  </a:lnTo>
                  <a:lnTo>
                    <a:pt x="189960" y="25019"/>
                  </a:lnTo>
                  <a:lnTo>
                    <a:pt x="161195" y="25019"/>
                  </a:lnTo>
                  <a:close/>
                  <a:moveTo>
                    <a:pt x="26035" y="44577"/>
                  </a:moveTo>
                  <a:lnTo>
                    <a:pt x="219901" y="44577"/>
                  </a:lnTo>
                  <a:lnTo>
                    <a:pt x="219901" y="117888"/>
                  </a:lnTo>
                  <a:lnTo>
                    <a:pt x="26765" y="117888"/>
                  </a:lnTo>
                  <a:close/>
                  <a:moveTo>
                    <a:pt x="26956" y="137382"/>
                  </a:moveTo>
                  <a:lnTo>
                    <a:pt x="220091" y="137382"/>
                  </a:lnTo>
                  <a:lnTo>
                    <a:pt x="220250" y="225235"/>
                  </a:lnTo>
                  <a:lnTo>
                    <a:pt x="27781" y="225235"/>
                  </a:lnTo>
                  <a:close/>
                  <a:moveTo>
                    <a:pt x="28734" y="322707"/>
                  </a:moveTo>
                  <a:lnTo>
                    <a:pt x="28035" y="244888"/>
                  </a:lnTo>
                  <a:lnTo>
                    <a:pt x="220345" y="244888"/>
                  </a:lnTo>
                  <a:lnTo>
                    <a:pt x="220345" y="322771"/>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grpSp>
      <p:sp>
        <p:nvSpPr>
          <p:cNvPr id="22" name="Rectangle 21">
            <a:extLst>
              <a:ext uri="{FF2B5EF4-FFF2-40B4-BE49-F238E27FC236}">
                <a16:creationId xmlns:a16="http://schemas.microsoft.com/office/drawing/2014/main" id="{3B5CE70C-F4C7-DB7F-0C85-496C32159F3D}"/>
              </a:ext>
            </a:extLst>
          </p:cNvPr>
          <p:cNvSpPr/>
          <p:nvPr/>
        </p:nvSpPr>
        <p:spPr>
          <a:xfrm>
            <a:off x="442913" y="1825293"/>
            <a:ext cx="576263" cy="53865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4" name="L-Shape 23">
            <a:extLst>
              <a:ext uri="{FF2B5EF4-FFF2-40B4-BE49-F238E27FC236}">
                <a16:creationId xmlns:a16="http://schemas.microsoft.com/office/drawing/2014/main" id="{362AA45A-D3DD-2743-636B-04D7D6C24AC1}"/>
              </a:ext>
            </a:extLst>
          </p:cNvPr>
          <p:cNvSpPr/>
          <p:nvPr/>
        </p:nvSpPr>
        <p:spPr>
          <a:xfrm rot="13500000">
            <a:off x="559307" y="1958233"/>
            <a:ext cx="272777" cy="272777"/>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5" name="Rectangle 24">
            <a:extLst>
              <a:ext uri="{FF2B5EF4-FFF2-40B4-BE49-F238E27FC236}">
                <a16:creationId xmlns:a16="http://schemas.microsoft.com/office/drawing/2014/main" id="{C3170C49-6319-5264-67D1-D706BB4168CF}"/>
              </a:ext>
            </a:extLst>
          </p:cNvPr>
          <p:cNvSpPr/>
          <p:nvPr/>
        </p:nvSpPr>
        <p:spPr>
          <a:xfrm>
            <a:off x="1107653" y="3246370"/>
            <a:ext cx="4808960"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Par DDL saturu atbildīgs jebkurš piegādātājs</a:t>
            </a:r>
          </a:p>
        </p:txBody>
      </p:sp>
      <p:sp>
        <p:nvSpPr>
          <p:cNvPr id="26" name="Rectangle 25">
            <a:extLst>
              <a:ext uri="{FF2B5EF4-FFF2-40B4-BE49-F238E27FC236}">
                <a16:creationId xmlns:a16="http://schemas.microsoft.com/office/drawing/2014/main" id="{39FDC61A-F7F3-8B3F-A11D-3AB22B02FAB7}"/>
              </a:ext>
            </a:extLst>
          </p:cNvPr>
          <p:cNvSpPr/>
          <p:nvPr/>
        </p:nvSpPr>
        <p:spPr>
          <a:xfrm>
            <a:off x="442913" y="3246436"/>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7" name="L-Shape 26">
            <a:extLst>
              <a:ext uri="{FF2B5EF4-FFF2-40B4-BE49-F238E27FC236}">
                <a16:creationId xmlns:a16="http://schemas.microsoft.com/office/drawing/2014/main" id="{549AB47E-7FE5-AD11-DC80-948326E2060C}"/>
              </a:ext>
            </a:extLst>
          </p:cNvPr>
          <p:cNvSpPr/>
          <p:nvPr/>
        </p:nvSpPr>
        <p:spPr>
          <a:xfrm rot="13500000">
            <a:off x="559307" y="337998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28" name="Straight Connector 27">
            <a:extLst>
              <a:ext uri="{FF2B5EF4-FFF2-40B4-BE49-F238E27FC236}">
                <a16:creationId xmlns:a16="http://schemas.microsoft.com/office/drawing/2014/main" id="{E57514DC-0E67-B613-BFD2-1DE53833FE2C}"/>
              </a:ext>
            </a:extLst>
          </p:cNvPr>
          <p:cNvCxnSpPr>
            <a:cxnSpLocks/>
          </p:cNvCxnSpPr>
          <p:nvPr/>
        </p:nvCxnSpPr>
        <p:spPr>
          <a:xfrm>
            <a:off x="1107653" y="3815016"/>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9" name="Straight Connector 28">
            <a:extLst>
              <a:ext uri="{FF2B5EF4-FFF2-40B4-BE49-F238E27FC236}">
                <a16:creationId xmlns:a16="http://schemas.microsoft.com/office/drawing/2014/main" id="{464C85EA-270B-F1D5-DC5C-EEE77591A297}"/>
              </a:ext>
            </a:extLst>
          </p:cNvPr>
          <p:cNvCxnSpPr>
            <a:cxnSpLocks/>
          </p:cNvCxnSpPr>
          <p:nvPr/>
        </p:nvCxnSpPr>
        <p:spPr>
          <a:xfrm>
            <a:off x="1107653" y="4412308"/>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0" name="Rectangle 29">
            <a:extLst>
              <a:ext uri="{FF2B5EF4-FFF2-40B4-BE49-F238E27FC236}">
                <a16:creationId xmlns:a16="http://schemas.microsoft.com/office/drawing/2014/main" id="{AF4E4513-61B9-0B55-CA1B-41EF6FC42E81}"/>
              </a:ext>
            </a:extLst>
          </p:cNvPr>
          <p:cNvSpPr/>
          <p:nvPr/>
        </p:nvSpPr>
        <p:spPr>
          <a:xfrm>
            <a:off x="1107653" y="3843339"/>
            <a:ext cx="4808538" cy="5397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Piegādātājs pārbauda DDL piemērotību vai papildina to (darot to zināmu ražotājam)</a:t>
            </a:r>
          </a:p>
        </p:txBody>
      </p:sp>
      <p:cxnSp>
        <p:nvCxnSpPr>
          <p:cNvPr id="44" name="Straight Connector 43">
            <a:extLst>
              <a:ext uri="{FF2B5EF4-FFF2-40B4-BE49-F238E27FC236}">
                <a16:creationId xmlns:a16="http://schemas.microsoft.com/office/drawing/2014/main" id="{62A6ECEB-D086-EFE1-20EF-0558160C2053}"/>
              </a:ext>
            </a:extLst>
          </p:cNvPr>
          <p:cNvCxnSpPr>
            <a:cxnSpLocks/>
          </p:cNvCxnSpPr>
          <p:nvPr/>
        </p:nvCxnSpPr>
        <p:spPr>
          <a:xfrm>
            <a:off x="1108075" y="5012052"/>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5" name="Rectangle 44">
            <a:extLst>
              <a:ext uri="{FF2B5EF4-FFF2-40B4-BE49-F238E27FC236}">
                <a16:creationId xmlns:a16="http://schemas.microsoft.com/office/drawing/2014/main" id="{C3E7C803-7ED6-8485-A99B-8FA189078282}"/>
              </a:ext>
            </a:extLst>
          </p:cNvPr>
          <p:cNvSpPr/>
          <p:nvPr/>
        </p:nvSpPr>
        <p:spPr>
          <a:xfrm>
            <a:off x="1108075" y="4443406"/>
            <a:ext cx="4808538"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DDL jāglabā vismaz 10 gadus</a:t>
            </a:r>
          </a:p>
        </p:txBody>
      </p:sp>
      <p:sp>
        <p:nvSpPr>
          <p:cNvPr id="46" name="Rectangle 45">
            <a:extLst>
              <a:ext uri="{FF2B5EF4-FFF2-40B4-BE49-F238E27FC236}">
                <a16:creationId xmlns:a16="http://schemas.microsoft.com/office/drawing/2014/main" id="{626E2296-F48F-5929-6F51-9D248BC3565B}"/>
              </a:ext>
            </a:extLst>
          </p:cNvPr>
          <p:cNvSpPr/>
          <p:nvPr/>
        </p:nvSpPr>
        <p:spPr>
          <a:xfrm>
            <a:off x="1108075" y="5043489"/>
            <a:ext cx="4808538" cy="5397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Atjauno un izsniedz bez maksas. Visiem, kam piegādāts pēdējo 12 mēnešu laikā</a:t>
            </a:r>
          </a:p>
        </p:txBody>
      </p:sp>
      <p:sp>
        <p:nvSpPr>
          <p:cNvPr id="50" name="Rectangle 49">
            <a:extLst>
              <a:ext uri="{FF2B5EF4-FFF2-40B4-BE49-F238E27FC236}">
                <a16:creationId xmlns:a16="http://schemas.microsoft.com/office/drawing/2014/main" id="{0F5938D6-E587-39D7-69EC-8AD4BEE05B53}"/>
              </a:ext>
            </a:extLst>
          </p:cNvPr>
          <p:cNvSpPr/>
          <p:nvPr/>
        </p:nvSpPr>
        <p:spPr>
          <a:xfrm>
            <a:off x="442913" y="3845738"/>
            <a:ext cx="576263" cy="53975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1" name="L-Shape 50">
            <a:extLst>
              <a:ext uri="{FF2B5EF4-FFF2-40B4-BE49-F238E27FC236}">
                <a16:creationId xmlns:a16="http://schemas.microsoft.com/office/drawing/2014/main" id="{D45B74D1-D05B-FFEE-922B-FB4B49FB904F}"/>
              </a:ext>
            </a:extLst>
          </p:cNvPr>
          <p:cNvSpPr/>
          <p:nvPr/>
        </p:nvSpPr>
        <p:spPr>
          <a:xfrm rot="13500000">
            <a:off x="559307" y="395490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3" name="Rectangle 52">
            <a:extLst>
              <a:ext uri="{FF2B5EF4-FFF2-40B4-BE49-F238E27FC236}">
                <a16:creationId xmlns:a16="http://schemas.microsoft.com/office/drawing/2014/main" id="{9F4773E2-1E62-B3AC-DFAF-B3FB76D73071}"/>
              </a:ext>
            </a:extLst>
          </p:cNvPr>
          <p:cNvSpPr/>
          <p:nvPr/>
        </p:nvSpPr>
        <p:spPr>
          <a:xfrm>
            <a:off x="442913" y="4444790"/>
            <a:ext cx="576263" cy="53975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4" name="L-Shape 53">
            <a:extLst>
              <a:ext uri="{FF2B5EF4-FFF2-40B4-BE49-F238E27FC236}">
                <a16:creationId xmlns:a16="http://schemas.microsoft.com/office/drawing/2014/main" id="{00307989-466B-8EDF-4088-8B9939343BB1}"/>
              </a:ext>
            </a:extLst>
          </p:cNvPr>
          <p:cNvSpPr/>
          <p:nvPr/>
        </p:nvSpPr>
        <p:spPr>
          <a:xfrm rot="13500000">
            <a:off x="559307" y="458378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6" name="Rectangle 55">
            <a:extLst>
              <a:ext uri="{FF2B5EF4-FFF2-40B4-BE49-F238E27FC236}">
                <a16:creationId xmlns:a16="http://schemas.microsoft.com/office/drawing/2014/main" id="{CE224CEA-7534-5946-FC1E-9235232A80F2}"/>
              </a:ext>
            </a:extLst>
          </p:cNvPr>
          <p:cNvSpPr/>
          <p:nvPr/>
        </p:nvSpPr>
        <p:spPr>
          <a:xfrm>
            <a:off x="442913" y="5043488"/>
            <a:ext cx="576263" cy="53975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7" name="L-Shape 56">
            <a:extLst>
              <a:ext uri="{FF2B5EF4-FFF2-40B4-BE49-F238E27FC236}">
                <a16:creationId xmlns:a16="http://schemas.microsoft.com/office/drawing/2014/main" id="{B8C5A3F9-3695-3935-92DE-0A38CE540B30}"/>
              </a:ext>
            </a:extLst>
          </p:cNvPr>
          <p:cNvSpPr/>
          <p:nvPr/>
        </p:nvSpPr>
        <p:spPr>
          <a:xfrm rot="13500000">
            <a:off x="559307" y="5212668"/>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9" name="Rectangle 58">
            <a:extLst>
              <a:ext uri="{FF2B5EF4-FFF2-40B4-BE49-F238E27FC236}">
                <a16:creationId xmlns:a16="http://schemas.microsoft.com/office/drawing/2014/main" id="{C3666F18-608B-6842-6CED-B4744F44CC92}"/>
              </a:ext>
            </a:extLst>
          </p:cNvPr>
          <p:cNvSpPr/>
          <p:nvPr/>
        </p:nvSpPr>
        <p:spPr>
          <a:xfrm>
            <a:off x="6283326" y="5044906"/>
            <a:ext cx="576263" cy="53975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0" name="L-Shape 59">
            <a:extLst>
              <a:ext uri="{FF2B5EF4-FFF2-40B4-BE49-F238E27FC236}">
                <a16:creationId xmlns:a16="http://schemas.microsoft.com/office/drawing/2014/main" id="{BD4316D5-89B7-F400-B762-21A623F013B1}"/>
              </a:ext>
            </a:extLst>
          </p:cNvPr>
          <p:cNvSpPr/>
          <p:nvPr/>
        </p:nvSpPr>
        <p:spPr>
          <a:xfrm rot="13500000">
            <a:off x="6399720" y="5178393"/>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61" name="Straight Connector 60">
            <a:extLst>
              <a:ext uri="{FF2B5EF4-FFF2-40B4-BE49-F238E27FC236}">
                <a16:creationId xmlns:a16="http://schemas.microsoft.com/office/drawing/2014/main" id="{ABD697F7-CC11-2164-9A59-7068BAF29157}"/>
              </a:ext>
            </a:extLst>
          </p:cNvPr>
          <p:cNvCxnSpPr>
            <a:cxnSpLocks/>
          </p:cNvCxnSpPr>
          <p:nvPr/>
        </p:nvCxnSpPr>
        <p:spPr>
          <a:xfrm>
            <a:off x="6948488" y="5013809"/>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2" name="Rectangle 61">
            <a:extLst>
              <a:ext uri="{FF2B5EF4-FFF2-40B4-BE49-F238E27FC236}">
                <a16:creationId xmlns:a16="http://schemas.microsoft.com/office/drawing/2014/main" id="{E0CF2784-ABF9-B3E3-BD1C-A8A24990B65E}"/>
              </a:ext>
            </a:extLst>
          </p:cNvPr>
          <p:cNvSpPr/>
          <p:nvPr/>
        </p:nvSpPr>
        <p:spPr>
          <a:xfrm>
            <a:off x="6940550" y="5044906"/>
            <a:ext cx="4808538"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Nodrošina pirmajā piegādes reizē ne vēlāk kā tai pašā dienā</a:t>
            </a:r>
          </a:p>
        </p:txBody>
      </p:sp>
      <p:sp>
        <p:nvSpPr>
          <p:cNvPr id="63" name="Rectangle 62">
            <a:extLst>
              <a:ext uri="{FF2B5EF4-FFF2-40B4-BE49-F238E27FC236}">
                <a16:creationId xmlns:a16="http://schemas.microsoft.com/office/drawing/2014/main" id="{DA0C51E4-5D85-8341-41F2-866EDEF95FAD}"/>
              </a:ext>
            </a:extLst>
          </p:cNvPr>
          <p:cNvSpPr/>
          <p:nvPr/>
        </p:nvSpPr>
        <p:spPr>
          <a:xfrm>
            <a:off x="6940128" y="3246370"/>
            <a:ext cx="4808960"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Latvijas Republikā izsniegtām DDL jābūt latviešu valodā (REACH 31. panta 5. punkts)</a:t>
            </a:r>
          </a:p>
        </p:txBody>
      </p:sp>
      <p:sp>
        <p:nvSpPr>
          <p:cNvPr id="65" name="Rectangle 64">
            <a:extLst>
              <a:ext uri="{FF2B5EF4-FFF2-40B4-BE49-F238E27FC236}">
                <a16:creationId xmlns:a16="http://schemas.microsoft.com/office/drawing/2014/main" id="{A59EEE00-F2F9-5273-740E-E45AFD615261}"/>
              </a:ext>
            </a:extLst>
          </p:cNvPr>
          <p:cNvSpPr/>
          <p:nvPr/>
        </p:nvSpPr>
        <p:spPr>
          <a:xfrm>
            <a:off x="6275388" y="3246438"/>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6" name="L-Shape 65">
            <a:extLst>
              <a:ext uri="{FF2B5EF4-FFF2-40B4-BE49-F238E27FC236}">
                <a16:creationId xmlns:a16="http://schemas.microsoft.com/office/drawing/2014/main" id="{03276417-4413-0CA1-A10D-CB22FB70DEF6}"/>
              </a:ext>
            </a:extLst>
          </p:cNvPr>
          <p:cNvSpPr/>
          <p:nvPr/>
        </p:nvSpPr>
        <p:spPr>
          <a:xfrm rot="13500000">
            <a:off x="6391782" y="338005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67" name="Straight Connector 66">
            <a:extLst>
              <a:ext uri="{FF2B5EF4-FFF2-40B4-BE49-F238E27FC236}">
                <a16:creationId xmlns:a16="http://schemas.microsoft.com/office/drawing/2014/main" id="{A36864CF-9E2E-4BD1-A1E3-F632CFE81662}"/>
              </a:ext>
            </a:extLst>
          </p:cNvPr>
          <p:cNvCxnSpPr>
            <a:cxnSpLocks/>
          </p:cNvCxnSpPr>
          <p:nvPr/>
        </p:nvCxnSpPr>
        <p:spPr>
          <a:xfrm>
            <a:off x="6940128" y="3815300"/>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8" name="Straight Connector 67">
            <a:extLst>
              <a:ext uri="{FF2B5EF4-FFF2-40B4-BE49-F238E27FC236}">
                <a16:creationId xmlns:a16="http://schemas.microsoft.com/office/drawing/2014/main" id="{37F0D9DD-0594-EC1D-987F-660685ABC24C}"/>
              </a:ext>
            </a:extLst>
          </p:cNvPr>
          <p:cNvCxnSpPr>
            <a:cxnSpLocks/>
          </p:cNvCxnSpPr>
          <p:nvPr/>
        </p:nvCxnSpPr>
        <p:spPr>
          <a:xfrm>
            <a:off x="6940128" y="4413159"/>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9" name="Rectangle 68">
            <a:extLst>
              <a:ext uri="{FF2B5EF4-FFF2-40B4-BE49-F238E27FC236}">
                <a16:creationId xmlns:a16="http://schemas.microsoft.com/office/drawing/2014/main" id="{5338E32C-CF52-2A47-3364-9AE4478F6CF6}"/>
              </a:ext>
            </a:extLst>
          </p:cNvPr>
          <p:cNvSpPr/>
          <p:nvPr/>
        </p:nvSpPr>
        <p:spPr>
          <a:xfrm>
            <a:off x="6940128" y="3844229"/>
            <a:ext cx="4808538"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DDL jābūt izstrādātām saskaņā ar REACH regulas II pielikumu</a:t>
            </a:r>
          </a:p>
        </p:txBody>
      </p:sp>
      <p:sp>
        <p:nvSpPr>
          <p:cNvPr id="70" name="Rectangle 69">
            <a:extLst>
              <a:ext uri="{FF2B5EF4-FFF2-40B4-BE49-F238E27FC236}">
                <a16:creationId xmlns:a16="http://schemas.microsoft.com/office/drawing/2014/main" id="{F2DE7B3A-6CE0-EFB4-5CE6-2FCE713526E3}"/>
              </a:ext>
            </a:extLst>
          </p:cNvPr>
          <p:cNvSpPr/>
          <p:nvPr/>
        </p:nvSpPr>
        <p:spPr>
          <a:xfrm>
            <a:off x="6940550" y="4444540"/>
            <a:ext cx="4808538"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DDL var izsniegt arī elektroniski</a:t>
            </a:r>
          </a:p>
        </p:txBody>
      </p:sp>
      <p:sp>
        <p:nvSpPr>
          <p:cNvPr id="72" name="Rectangle 71">
            <a:extLst>
              <a:ext uri="{FF2B5EF4-FFF2-40B4-BE49-F238E27FC236}">
                <a16:creationId xmlns:a16="http://schemas.microsoft.com/office/drawing/2014/main" id="{C1CABBD9-4DAD-F26A-5220-D08AE908817F}"/>
              </a:ext>
            </a:extLst>
          </p:cNvPr>
          <p:cNvSpPr/>
          <p:nvPr/>
        </p:nvSpPr>
        <p:spPr>
          <a:xfrm>
            <a:off x="6275388" y="3845489"/>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3" name="L-Shape 72">
            <a:extLst>
              <a:ext uri="{FF2B5EF4-FFF2-40B4-BE49-F238E27FC236}">
                <a16:creationId xmlns:a16="http://schemas.microsoft.com/office/drawing/2014/main" id="{5245B6FC-A945-A06C-A145-ACC4EBC3F74E}"/>
              </a:ext>
            </a:extLst>
          </p:cNvPr>
          <p:cNvSpPr/>
          <p:nvPr/>
        </p:nvSpPr>
        <p:spPr>
          <a:xfrm rot="13500000">
            <a:off x="6391782" y="397910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5" name="Rectangle 74">
            <a:extLst>
              <a:ext uri="{FF2B5EF4-FFF2-40B4-BE49-F238E27FC236}">
                <a16:creationId xmlns:a16="http://schemas.microsoft.com/office/drawing/2014/main" id="{1EC2A635-5D93-7374-6A7C-FC6BB1448E8E}"/>
              </a:ext>
            </a:extLst>
          </p:cNvPr>
          <p:cNvSpPr/>
          <p:nvPr/>
        </p:nvSpPr>
        <p:spPr>
          <a:xfrm>
            <a:off x="6275388" y="4444540"/>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6" name="L-Shape 75">
            <a:extLst>
              <a:ext uri="{FF2B5EF4-FFF2-40B4-BE49-F238E27FC236}">
                <a16:creationId xmlns:a16="http://schemas.microsoft.com/office/drawing/2014/main" id="{80DC5DDE-ED96-4AAE-A66B-7B04CC9B6497}"/>
              </a:ext>
            </a:extLst>
          </p:cNvPr>
          <p:cNvSpPr/>
          <p:nvPr/>
        </p:nvSpPr>
        <p:spPr>
          <a:xfrm rot="13500000">
            <a:off x="6391782" y="457815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7" name="TextBox 76">
            <a:extLst>
              <a:ext uri="{FF2B5EF4-FFF2-40B4-BE49-F238E27FC236}">
                <a16:creationId xmlns:a16="http://schemas.microsoft.com/office/drawing/2014/main" id="{AA33011F-8C7A-983F-9447-4B5D44F44F35}"/>
              </a:ext>
            </a:extLst>
          </p:cNvPr>
          <p:cNvSpPr txBox="1"/>
          <p:nvPr/>
        </p:nvSpPr>
        <p:spPr>
          <a:xfrm>
            <a:off x="442914" y="5650943"/>
            <a:ext cx="11305752" cy="523651"/>
          </a:xfrm>
          <a:prstGeom prst="rect">
            <a:avLst/>
          </a:prstGeom>
          <a:solidFill>
            <a:srgbClr val="D0CFD7"/>
          </a:solidFill>
        </p:spPr>
        <p:txBody>
          <a:bodyPr wrap="square" lIns="61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lv-LV" sz="1400" dirty="0">
                <a:hlinkClick r:id="rId3">
                  <a:extLst>
                    <a:ext uri="{A12FA001-AC4F-418D-AE19-62706E023703}">
                      <ahyp:hlinkClr xmlns:ahyp="http://schemas.microsoft.com/office/drawing/2018/hyperlinkcolor" val="tx"/>
                    </a:ext>
                  </a:extLst>
                </a:hlinkClick>
              </a:rPr>
              <a:t>Vadlīnijas par drošības datu lapu sagatavošanu</a:t>
            </a:r>
            <a:endParaRPr lang="lv-LV" sz="1400" dirty="0"/>
          </a:p>
        </p:txBody>
      </p:sp>
      <p:sp>
        <p:nvSpPr>
          <p:cNvPr id="78" name="Freeform 50">
            <a:extLst>
              <a:ext uri="{FF2B5EF4-FFF2-40B4-BE49-F238E27FC236}">
                <a16:creationId xmlns:a16="http://schemas.microsoft.com/office/drawing/2014/main" id="{C61635D7-0E8A-E1BE-6E7E-99E591A598DD}"/>
              </a:ext>
            </a:extLst>
          </p:cNvPr>
          <p:cNvSpPr>
            <a:spLocks noChangeAspect="1"/>
          </p:cNvSpPr>
          <p:nvPr/>
        </p:nvSpPr>
        <p:spPr bwMode="auto">
          <a:xfrm>
            <a:off x="607224" y="5771159"/>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grpSp>
        <p:nvGrpSpPr>
          <p:cNvPr id="31" name="Group 30">
            <a:extLst>
              <a:ext uri="{FF2B5EF4-FFF2-40B4-BE49-F238E27FC236}">
                <a16:creationId xmlns:a16="http://schemas.microsoft.com/office/drawing/2014/main" id="{90A00207-FE2F-BAAC-EE23-E2CE06CCD2A7}"/>
              </a:ext>
            </a:extLst>
          </p:cNvPr>
          <p:cNvGrpSpPr/>
          <p:nvPr/>
        </p:nvGrpSpPr>
        <p:grpSpPr>
          <a:xfrm>
            <a:off x="8801454" y="159786"/>
            <a:ext cx="2947634" cy="217488"/>
            <a:chOff x="8559627" y="684914"/>
            <a:chExt cx="2947634" cy="217488"/>
          </a:xfrm>
        </p:grpSpPr>
        <p:sp>
          <p:nvSpPr>
            <p:cNvPr id="32" name="Rectangle 31">
              <a:extLst>
                <a:ext uri="{FF2B5EF4-FFF2-40B4-BE49-F238E27FC236}">
                  <a16:creationId xmlns:a16="http://schemas.microsoft.com/office/drawing/2014/main" id="{3759FE96-D249-FBCD-FD2C-9518C9C853CB}"/>
                </a:ext>
              </a:extLst>
            </p:cNvPr>
            <p:cNvSpPr/>
            <p:nvPr/>
          </p:nvSpPr>
          <p:spPr>
            <a:xfrm>
              <a:off x="9285434" y="68491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5</a:t>
              </a:r>
              <a:r>
                <a:rPr kumimoji="0" lang="lv-LV" sz="800" b="1" i="0" u="none" strike="noStrike" kern="0" cap="none" spc="0" normalizeH="0" baseline="0" dirty="0">
                  <a:ln>
                    <a:noFill/>
                  </a:ln>
                  <a:effectLst/>
                  <a:uLnTx/>
                  <a:uFillTx/>
                  <a:ea typeface="Georgia"/>
                  <a:cs typeface="Georgia"/>
                  <a:sym typeface="Georgia"/>
                </a:rPr>
                <a:t>.</a:t>
              </a:r>
              <a:r>
                <a:rPr kumimoji="0" lang="en-US" sz="800" b="1" i="0" u="none" strike="noStrike" kern="0" cap="none" spc="0" normalizeH="0" baseline="0" dirty="0">
                  <a:ln>
                    <a:noFill/>
                  </a:ln>
                  <a:effectLst/>
                  <a:uLnTx/>
                  <a:uFillTx/>
                  <a:ea typeface="Georgia"/>
                  <a:cs typeface="Georgia"/>
                  <a:sym typeface="Georgia"/>
                </a:rPr>
                <a:t>4</a:t>
              </a:r>
              <a:endParaRPr kumimoji="0" lang="lv-LV" sz="800" b="1" i="0" u="none" strike="noStrike" kern="0" cap="none" spc="0" normalizeH="0" baseline="0" dirty="0">
                <a:ln>
                  <a:noFill/>
                </a:ln>
                <a:effectLst/>
                <a:uLnTx/>
                <a:uFillTx/>
                <a:ea typeface="Georgia"/>
                <a:cs typeface="Georgia"/>
                <a:sym typeface="Georgia"/>
              </a:endParaRPr>
            </a:p>
          </p:txBody>
        </p:sp>
        <p:sp>
          <p:nvSpPr>
            <p:cNvPr id="33" name="Rectangle 32">
              <a:extLst>
                <a:ext uri="{FF2B5EF4-FFF2-40B4-BE49-F238E27FC236}">
                  <a16:creationId xmlns:a16="http://schemas.microsoft.com/office/drawing/2014/main" id="{43F91CC9-4AB3-ACF6-CD01-2DDF9F77A1FC}"/>
                </a:ext>
              </a:extLst>
            </p:cNvPr>
            <p:cNvSpPr/>
            <p:nvPr/>
          </p:nvSpPr>
          <p:spPr>
            <a:xfrm>
              <a:off x="9527261" y="684914"/>
              <a:ext cx="198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err="1">
                  <a:ln>
                    <a:noFill/>
                  </a:ln>
                  <a:effectLst/>
                  <a:uLnTx/>
                  <a:uFillTx/>
                  <a:ea typeface="Georgia"/>
                  <a:cs typeface="Georgia"/>
                  <a:sym typeface="Georgia"/>
                </a:rPr>
                <a:t>Drošības</a:t>
              </a:r>
              <a:r>
                <a:rPr kumimoji="0" lang="en-US" sz="800" b="1" i="0" u="none" strike="noStrike" kern="0" cap="none" spc="0" normalizeH="0" baseline="0" dirty="0">
                  <a:ln>
                    <a:noFill/>
                  </a:ln>
                  <a:effectLst/>
                  <a:uLnTx/>
                  <a:uFillTx/>
                  <a:ea typeface="Georgia"/>
                  <a:cs typeface="Georgia"/>
                  <a:sym typeface="Georgia"/>
                </a:rPr>
                <a:t> </a:t>
              </a:r>
              <a:r>
                <a:rPr kumimoji="0" lang="en-US" sz="800" b="1" i="0" u="none" strike="noStrike" kern="0" cap="none" spc="0" normalizeH="0" baseline="0" dirty="0" err="1">
                  <a:ln>
                    <a:noFill/>
                  </a:ln>
                  <a:effectLst/>
                  <a:uLnTx/>
                  <a:uFillTx/>
                  <a:ea typeface="Georgia"/>
                  <a:cs typeface="Georgia"/>
                  <a:sym typeface="Georgia"/>
                </a:rPr>
                <a:t>pasākumi</a:t>
              </a:r>
              <a:endParaRPr kumimoji="0" lang="en-US" sz="800" b="1" i="0" u="none" strike="noStrike" kern="0" cap="none" spc="0" normalizeH="0" baseline="0" dirty="0">
                <a:ln>
                  <a:noFill/>
                </a:ln>
                <a:effectLst/>
                <a:uLnTx/>
                <a:uFillTx/>
                <a:ea typeface="Georgia"/>
                <a:cs typeface="Georgia"/>
                <a:sym typeface="Georgia"/>
              </a:endParaRPr>
            </a:p>
          </p:txBody>
        </p:sp>
        <p:sp>
          <p:nvSpPr>
            <p:cNvPr id="34" name="Rectangle 33">
              <a:extLst>
                <a:ext uri="{FF2B5EF4-FFF2-40B4-BE49-F238E27FC236}">
                  <a16:creationId xmlns:a16="http://schemas.microsoft.com/office/drawing/2014/main" id="{A7927E24-A4A8-0B1D-8F32-D6076E949E98}"/>
                </a:ext>
              </a:extLst>
            </p:cNvPr>
            <p:cNvSpPr/>
            <p:nvPr/>
          </p:nvSpPr>
          <p:spPr>
            <a:xfrm>
              <a:off x="9043607"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3</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35" name="Rectangle 34">
              <a:extLst>
                <a:ext uri="{FF2B5EF4-FFF2-40B4-BE49-F238E27FC236}">
                  <a16:creationId xmlns:a16="http://schemas.microsoft.com/office/drawing/2014/main" id="{231E9C71-E399-441E-CE65-87F157552C80}"/>
                </a:ext>
              </a:extLst>
            </p:cNvPr>
            <p:cNvSpPr/>
            <p:nvPr/>
          </p:nvSpPr>
          <p:spPr>
            <a:xfrm>
              <a:off x="8801780"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2</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36" name="Rectangle 35">
              <a:extLst>
                <a:ext uri="{FF2B5EF4-FFF2-40B4-BE49-F238E27FC236}">
                  <a16:creationId xmlns:a16="http://schemas.microsoft.com/office/drawing/2014/main" id="{ACFCAC7E-B54D-D9FF-F3F1-97A568524AF4}"/>
                </a:ext>
              </a:extLst>
            </p:cNvPr>
            <p:cNvSpPr/>
            <p:nvPr/>
          </p:nvSpPr>
          <p:spPr>
            <a:xfrm>
              <a:off x="8559627"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6398076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E6F54E4-B9CE-095D-F06D-FE99C0BCEA4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 t="3360" r="2971"/>
          <a:stretch/>
        </p:blipFill>
        <p:spPr>
          <a:xfrm>
            <a:off x="8216932" y="1819276"/>
            <a:ext cx="3530600" cy="3043914"/>
          </a:xfrm>
          <a:prstGeom prst="rect">
            <a:avLst/>
          </a:prstGeom>
        </p:spPr>
      </p:pic>
      <p:sp>
        <p:nvSpPr>
          <p:cNvPr id="11" name="Rectangle 10">
            <a:extLst>
              <a:ext uri="{FF2B5EF4-FFF2-40B4-BE49-F238E27FC236}">
                <a16:creationId xmlns:a16="http://schemas.microsoft.com/office/drawing/2014/main" id="{4313545E-2120-F08C-5E8F-081952269536}"/>
              </a:ext>
            </a:extLst>
          </p:cNvPr>
          <p:cNvSpPr/>
          <p:nvPr/>
        </p:nvSpPr>
        <p:spPr>
          <a:xfrm>
            <a:off x="442913" y="1819275"/>
            <a:ext cx="7418387"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IAL iedala šādās grupās:</a:t>
            </a:r>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Individuālie aizsardzības līdzekļi</a:t>
            </a:r>
            <a:br>
              <a:rPr lang="lv-LV" dirty="0"/>
            </a:br>
            <a:r>
              <a:rPr lang="lv-LV" dirty="0">
                <a:solidFill>
                  <a:srgbClr val="A8192D"/>
                </a:solidFill>
              </a:rPr>
              <a:t>Normatīvais regulējums</a:t>
            </a:r>
            <a:endParaRPr lang="en-GB" dirty="0">
              <a:solidFill>
                <a:srgbClr val="A8192D"/>
              </a:solidFill>
            </a:endParaRPr>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7</a:t>
            </a:fld>
            <a:endParaRPr lang="en-GB"/>
          </a:p>
        </p:txBody>
      </p:sp>
      <p:sp>
        <p:nvSpPr>
          <p:cNvPr id="7" name="Rectangle 6">
            <a:extLst>
              <a:ext uri="{FF2B5EF4-FFF2-40B4-BE49-F238E27FC236}">
                <a16:creationId xmlns:a16="http://schemas.microsoft.com/office/drawing/2014/main" id="{58051A40-6FB2-D129-6018-7981771593EF}"/>
              </a:ext>
            </a:extLst>
          </p:cNvPr>
          <p:cNvSpPr/>
          <p:nvPr/>
        </p:nvSpPr>
        <p:spPr>
          <a:xfrm>
            <a:off x="442913" y="1301472"/>
            <a:ext cx="11306175" cy="576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chorCtr="0">
            <a:noAutofit/>
          </a:bodyPr>
          <a:lstStyle/>
          <a:p>
            <a:r>
              <a:rPr lang="lv-LV" sz="1400" b="1">
                <a:solidFill>
                  <a:schemeClr val="tx1"/>
                </a:solidFill>
                <a:latin typeface="Arial" panose="020B0604020202020204" pitchFamily="34" charset="0"/>
              </a:rPr>
              <a:t>Individuālie aizsardzības līdzekļi (IAL) ir izstrādājumi, ierīces, iekārtas un sistēmas, kuras nodarbinātais valkā vai citādi lieto darbā, lai aizsargātu savu drošību un veselību no viena vai vairāku darba vides riska faktoru iedarbības. </a:t>
            </a:r>
          </a:p>
        </p:txBody>
      </p:sp>
      <p:sp>
        <p:nvSpPr>
          <p:cNvPr id="22" name="Rectangle 21">
            <a:extLst>
              <a:ext uri="{FF2B5EF4-FFF2-40B4-BE49-F238E27FC236}">
                <a16:creationId xmlns:a16="http://schemas.microsoft.com/office/drawing/2014/main" id="{89375083-FFCA-9108-0E80-8EB60C92354F}"/>
              </a:ext>
            </a:extLst>
          </p:cNvPr>
          <p:cNvSpPr/>
          <p:nvPr/>
        </p:nvSpPr>
        <p:spPr>
          <a:xfrm>
            <a:off x="1107653" y="2538660"/>
            <a:ext cx="2850247" cy="61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Galvas aizsardzības līdzekļi, galvas </a:t>
            </a:r>
            <a:r>
              <a:rPr lang="lv-LV" sz="1400" b="0" i="0" err="1">
                <a:solidFill>
                  <a:schemeClr val="tx1"/>
                </a:solidFill>
                <a:effectLst/>
              </a:rPr>
              <a:t>aizsargsegas</a:t>
            </a:r>
            <a:endParaRPr lang="lv-LV" sz="1400" b="0" i="0">
              <a:solidFill>
                <a:schemeClr val="tx1"/>
              </a:solidFill>
              <a:effectLst/>
            </a:endParaRPr>
          </a:p>
        </p:txBody>
      </p:sp>
      <p:sp>
        <p:nvSpPr>
          <p:cNvPr id="29" name="Rectangle 28">
            <a:extLst>
              <a:ext uri="{FF2B5EF4-FFF2-40B4-BE49-F238E27FC236}">
                <a16:creationId xmlns:a16="http://schemas.microsoft.com/office/drawing/2014/main" id="{CA699BD6-7797-FA80-74EA-2EC4D73A94F8}"/>
              </a:ext>
            </a:extLst>
          </p:cNvPr>
          <p:cNvSpPr/>
          <p:nvPr/>
        </p:nvSpPr>
        <p:spPr>
          <a:xfrm>
            <a:off x="442913" y="2538660"/>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0" name="L-Shape 29">
            <a:extLst>
              <a:ext uri="{FF2B5EF4-FFF2-40B4-BE49-F238E27FC236}">
                <a16:creationId xmlns:a16="http://schemas.microsoft.com/office/drawing/2014/main" id="{6197CAD8-7E6D-5CE1-8FCE-BC4213326B43}"/>
              </a:ext>
            </a:extLst>
          </p:cNvPr>
          <p:cNvSpPr/>
          <p:nvPr/>
        </p:nvSpPr>
        <p:spPr>
          <a:xfrm rot="13500000">
            <a:off x="559307" y="270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31" name="Straight Connector 30">
            <a:extLst>
              <a:ext uri="{FF2B5EF4-FFF2-40B4-BE49-F238E27FC236}">
                <a16:creationId xmlns:a16="http://schemas.microsoft.com/office/drawing/2014/main" id="{2642ED8E-F84F-A662-AE2F-E1A8A0D18A3F}"/>
              </a:ext>
            </a:extLst>
          </p:cNvPr>
          <p:cNvCxnSpPr>
            <a:cxnSpLocks/>
          </p:cNvCxnSpPr>
          <p:nvPr/>
        </p:nvCxnSpPr>
        <p:spPr>
          <a:xfrm>
            <a:off x="1108075" y="3221038"/>
            <a:ext cx="2849563"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9" name="Group 8">
            <a:extLst>
              <a:ext uri="{FF2B5EF4-FFF2-40B4-BE49-F238E27FC236}">
                <a16:creationId xmlns:a16="http://schemas.microsoft.com/office/drawing/2014/main" id="{81AA80F0-12B8-1186-5E5A-5C5822404ECF}"/>
              </a:ext>
            </a:extLst>
          </p:cNvPr>
          <p:cNvGrpSpPr/>
          <p:nvPr/>
        </p:nvGrpSpPr>
        <p:grpSpPr>
          <a:xfrm>
            <a:off x="7214412" y="1819275"/>
            <a:ext cx="646888" cy="576000"/>
            <a:chOff x="5269725" y="1819275"/>
            <a:chExt cx="646888" cy="576000"/>
          </a:xfrm>
        </p:grpSpPr>
        <p:sp>
          <p:nvSpPr>
            <p:cNvPr id="12" name="Rectangle 11">
              <a:extLst>
                <a:ext uri="{FF2B5EF4-FFF2-40B4-BE49-F238E27FC236}">
                  <a16:creationId xmlns:a16="http://schemas.microsoft.com/office/drawing/2014/main" id="{531EC6BC-6224-CC85-15D9-1F663C792AFF}"/>
                </a:ext>
              </a:extLst>
            </p:cNvPr>
            <p:cNvSpPr/>
            <p:nvPr/>
          </p:nvSpPr>
          <p:spPr>
            <a:xfrm>
              <a:off x="5340613"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00" name="Google Shape;778;p79">
              <a:extLst>
                <a:ext uri="{FF2B5EF4-FFF2-40B4-BE49-F238E27FC236}">
                  <a16:creationId xmlns:a16="http://schemas.microsoft.com/office/drawing/2014/main" id="{9D5016DD-E913-97A3-4941-33880B1D229C}"/>
                </a:ext>
              </a:extLst>
            </p:cNvPr>
            <p:cNvSpPr/>
            <p:nvPr/>
          </p:nvSpPr>
          <p:spPr>
            <a:xfrm>
              <a:off x="5448267" y="1927235"/>
              <a:ext cx="360363" cy="360363"/>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2" name="Rectangle 31">
              <a:extLst>
                <a:ext uri="{FF2B5EF4-FFF2-40B4-BE49-F238E27FC236}">
                  <a16:creationId xmlns:a16="http://schemas.microsoft.com/office/drawing/2014/main" id="{6A4FD6DC-E4C1-D858-E054-0A05D8524AC5}"/>
                </a:ext>
              </a:extLst>
            </p:cNvPr>
            <p:cNvSpPr/>
            <p:nvPr/>
          </p:nvSpPr>
          <p:spPr>
            <a:xfrm>
              <a:off x="5269725"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cxnSp>
        <p:nvCxnSpPr>
          <p:cNvPr id="33" name="Straight Connector 32">
            <a:extLst>
              <a:ext uri="{FF2B5EF4-FFF2-40B4-BE49-F238E27FC236}">
                <a16:creationId xmlns:a16="http://schemas.microsoft.com/office/drawing/2014/main" id="{F8A5A807-6B2C-833F-AAFD-6ED8724B1E7C}"/>
              </a:ext>
            </a:extLst>
          </p:cNvPr>
          <p:cNvCxnSpPr>
            <a:cxnSpLocks/>
          </p:cNvCxnSpPr>
          <p:nvPr/>
        </p:nvCxnSpPr>
        <p:spPr>
          <a:xfrm>
            <a:off x="1108075" y="3974881"/>
            <a:ext cx="2849563" cy="392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4" name="Straight Connector 33">
            <a:extLst>
              <a:ext uri="{FF2B5EF4-FFF2-40B4-BE49-F238E27FC236}">
                <a16:creationId xmlns:a16="http://schemas.microsoft.com/office/drawing/2014/main" id="{A5C9FF78-E511-95A4-9004-7E3E4FAB9DFF}"/>
              </a:ext>
            </a:extLst>
          </p:cNvPr>
          <p:cNvCxnSpPr>
            <a:cxnSpLocks/>
          </p:cNvCxnSpPr>
          <p:nvPr/>
        </p:nvCxnSpPr>
        <p:spPr>
          <a:xfrm>
            <a:off x="1108075" y="4731072"/>
            <a:ext cx="2849563" cy="392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5" name="Straight Connector 34">
            <a:extLst>
              <a:ext uri="{FF2B5EF4-FFF2-40B4-BE49-F238E27FC236}">
                <a16:creationId xmlns:a16="http://schemas.microsoft.com/office/drawing/2014/main" id="{DECC24C5-1827-E754-DC4D-3A64724DA4B2}"/>
              </a:ext>
            </a:extLst>
          </p:cNvPr>
          <p:cNvCxnSpPr>
            <a:cxnSpLocks/>
          </p:cNvCxnSpPr>
          <p:nvPr/>
        </p:nvCxnSpPr>
        <p:spPr>
          <a:xfrm>
            <a:off x="1108075" y="5487263"/>
            <a:ext cx="2849563" cy="392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7" name="Rectangle 36">
            <a:extLst>
              <a:ext uri="{FF2B5EF4-FFF2-40B4-BE49-F238E27FC236}">
                <a16:creationId xmlns:a16="http://schemas.microsoft.com/office/drawing/2014/main" id="{F8DA8802-9BC8-065F-5AA6-BD78F056BC7A}"/>
              </a:ext>
            </a:extLst>
          </p:cNvPr>
          <p:cNvSpPr/>
          <p:nvPr/>
        </p:nvSpPr>
        <p:spPr>
          <a:xfrm>
            <a:off x="1107653" y="3291624"/>
            <a:ext cx="2850247"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Dzirdes aizsardzības līdzekļi</a:t>
            </a:r>
          </a:p>
        </p:txBody>
      </p:sp>
      <p:sp>
        <p:nvSpPr>
          <p:cNvPr id="39" name="Rectangle 38">
            <a:extLst>
              <a:ext uri="{FF2B5EF4-FFF2-40B4-BE49-F238E27FC236}">
                <a16:creationId xmlns:a16="http://schemas.microsoft.com/office/drawing/2014/main" id="{0EF24B69-F68A-AA73-E401-29E429809714}"/>
              </a:ext>
            </a:extLst>
          </p:cNvPr>
          <p:cNvSpPr/>
          <p:nvPr/>
        </p:nvSpPr>
        <p:spPr>
          <a:xfrm>
            <a:off x="1107653" y="4047815"/>
            <a:ext cx="2850247"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Sejas un acu aizsardzības līdzekļi</a:t>
            </a:r>
          </a:p>
        </p:txBody>
      </p:sp>
      <p:sp>
        <p:nvSpPr>
          <p:cNvPr id="43" name="Rectangle 42">
            <a:extLst>
              <a:ext uri="{FF2B5EF4-FFF2-40B4-BE49-F238E27FC236}">
                <a16:creationId xmlns:a16="http://schemas.microsoft.com/office/drawing/2014/main" id="{196EC982-36C1-885A-26A4-7ABFE845ED01}"/>
              </a:ext>
            </a:extLst>
          </p:cNvPr>
          <p:cNvSpPr/>
          <p:nvPr/>
        </p:nvSpPr>
        <p:spPr>
          <a:xfrm>
            <a:off x="1107653" y="4804006"/>
            <a:ext cx="2850247"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Elpošanas un parenterālo ceļu aizsardzības līdzekļi </a:t>
            </a:r>
          </a:p>
        </p:txBody>
      </p:sp>
      <p:sp>
        <p:nvSpPr>
          <p:cNvPr id="49" name="Rectangle 48">
            <a:extLst>
              <a:ext uri="{FF2B5EF4-FFF2-40B4-BE49-F238E27FC236}">
                <a16:creationId xmlns:a16="http://schemas.microsoft.com/office/drawing/2014/main" id="{FB6F852C-2CA8-C4D2-B095-D1AECCF1F7AB}"/>
              </a:ext>
            </a:extLst>
          </p:cNvPr>
          <p:cNvSpPr/>
          <p:nvPr/>
        </p:nvSpPr>
        <p:spPr>
          <a:xfrm>
            <a:off x="1107653" y="5560198"/>
            <a:ext cx="2850247"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rgbClr val="212529"/>
                </a:solidFill>
              </a:rPr>
              <a:t>R</a:t>
            </a:r>
            <a:r>
              <a:rPr lang="lv-LV" sz="1400" b="0" i="0">
                <a:solidFill>
                  <a:srgbClr val="212529"/>
                </a:solidFill>
                <a:effectLst/>
              </a:rPr>
              <a:t>oku aizsardzības līdzekļi </a:t>
            </a:r>
          </a:p>
        </p:txBody>
      </p:sp>
      <p:sp>
        <p:nvSpPr>
          <p:cNvPr id="53" name="Rectangle 52">
            <a:extLst>
              <a:ext uri="{FF2B5EF4-FFF2-40B4-BE49-F238E27FC236}">
                <a16:creationId xmlns:a16="http://schemas.microsoft.com/office/drawing/2014/main" id="{D93A3DAA-C47E-CA59-BF85-A61659B7C446}"/>
              </a:ext>
            </a:extLst>
          </p:cNvPr>
          <p:cNvSpPr/>
          <p:nvPr/>
        </p:nvSpPr>
        <p:spPr>
          <a:xfrm>
            <a:off x="442913" y="3294044"/>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4" name="L-Shape 53">
            <a:extLst>
              <a:ext uri="{FF2B5EF4-FFF2-40B4-BE49-F238E27FC236}">
                <a16:creationId xmlns:a16="http://schemas.microsoft.com/office/drawing/2014/main" id="{388DAEC4-DC2E-CAE5-494B-24595291DC63}"/>
              </a:ext>
            </a:extLst>
          </p:cNvPr>
          <p:cNvSpPr/>
          <p:nvPr/>
        </p:nvSpPr>
        <p:spPr>
          <a:xfrm rot="13500000">
            <a:off x="559307" y="346365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5" name="Rectangle 54">
            <a:extLst>
              <a:ext uri="{FF2B5EF4-FFF2-40B4-BE49-F238E27FC236}">
                <a16:creationId xmlns:a16="http://schemas.microsoft.com/office/drawing/2014/main" id="{E54FB6DE-3B38-25F3-B60F-0C25657BA20D}"/>
              </a:ext>
            </a:extLst>
          </p:cNvPr>
          <p:cNvSpPr/>
          <p:nvPr/>
        </p:nvSpPr>
        <p:spPr>
          <a:xfrm>
            <a:off x="442913" y="404942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6" name="L-Shape 55">
            <a:extLst>
              <a:ext uri="{FF2B5EF4-FFF2-40B4-BE49-F238E27FC236}">
                <a16:creationId xmlns:a16="http://schemas.microsoft.com/office/drawing/2014/main" id="{7DA4F97D-4234-09CE-91F7-E3550F612279}"/>
              </a:ext>
            </a:extLst>
          </p:cNvPr>
          <p:cNvSpPr/>
          <p:nvPr/>
        </p:nvSpPr>
        <p:spPr>
          <a:xfrm rot="13500000">
            <a:off x="559307" y="42190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0" name="Rectangle 59">
            <a:extLst>
              <a:ext uri="{FF2B5EF4-FFF2-40B4-BE49-F238E27FC236}">
                <a16:creationId xmlns:a16="http://schemas.microsoft.com/office/drawing/2014/main" id="{E57BEDAB-FFA0-4275-829B-000D39212D99}"/>
              </a:ext>
            </a:extLst>
          </p:cNvPr>
          <p:cNvSpPr/>
          <p:nvPr/>
        </p:nvSpPr>
        <p:spPr>
          <a:xfrm>
            <a:off x="442913" y="4804812"/>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3" name="L-Shape 62">
            <a:extLst>
              <a:ext uri="{FF2B5EF4-FFF2-40B4-BE49-F238E27FC236}">
                <a16:creationId xmlns:a16="http://schemas.microsoft.com/office/drawing/2014/main" id="{47E05737-C554-CE19-8FC2-F0C9170BD887}"/>
              </a:ext>
            </a:extLst>
          </p:cNvPr>
          <p:cNvSpPr/>
          <p:nvPr/>
        </p:nvSpPr>
        <p:spPr>
          <a:xfrm rot="13500000">
            <a:off x="559307" y="497442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5" name="Rectangle 64">
            <a:extLst>
              <a:ext uri="{FF2B5EF4-FFF2-40B4-BE49-F238E27FC236}">
                <a16:creationId xmlns:a16="http://schemas.microsoft.com/office/drawing/2014/main" id="{44C21842-7E52-69F3-237B-134925ED8DFB}"/>
              </a:ext>
            </a:extLst>
          </p:cNvPr>
          <p:cNvSpPr/>
          <p:nvPr/>
        </p:nvSpPr>
        <p:spPr>
          <a:xfrm>
            <a:off x="442913" y="556019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6" name="L-Shape 65">
            <a:extLst>
              <a:ext uri="{FF2B5EF4-FFF2-40B4-BE49-F238E27FC236}">
                <a16:creationId xmlns:a16="http://schemas.microsoft.com/office/drawing/2014/main" id="{0B762B70-1C17-4093-5D8A-DF6A581216BB}"/>
              </a:ext>
            </a:extLst>
          </p:cNvPr>
          <p:cNvSpPr/>
          <p:nvPr/>
        </p:nvSpPr>
        <p:spPr>
          <a:xfrm rot="13500000">
            <a:off x="559307" y="572981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45" name="Straight Connector 44">
            <a:extLst>
              <a:ext uri="{FF2B5EF4-FFF2-40B4-BE49-F238E27FC236}">
                <a16:creationId xmlns:a16="http://schemas.microsoft.com/office/drawing/2014/main" id="{682B252C-D620-5325-0F07-340290513386}"/>
              </a:ext>
            </a:extLst>
          </p:cNvPr>
          <p:cNvCxnSpPr>
            <a:cxnSpLocks/>
          </p:cNvCxnSpPr>
          <p:nvPr/>
        </p:nvCxnSpPr>
        <p:spPr>
          <a:xfrm>
            <a:off x="4997450" y="4732996"/>
            <a:ext cx="286385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7" name="Rectangle 46">
            <a:extLst>
              <a:ext uri="{FF2B5EF4-FFF2-40B4-BE49-F238E27FC236}">
                <a16:creationId xmlns:a16="http://schemas.microsoft.com/office/drawing/2014/main" id="{F37A5689-F2F2-DDC1-DF57-9C8ED69F0CB9}"/>
              </a:ext>
            </a:extLst>
          </p:cNvPr>
          <p:cNvSpPr/>
          <p:nvPr/>
        </p:nvSpPr>
        <p:spPr>
          <a:xfrm>
            <a:off x="4997450" y="4050081"/>
            <a:ext cx="2863850"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Vēdera un citu ķermeņa daļu aizsardzības līdzekļi</a:t>
            </a:r>
          </a:p>
        </p:txBody>
      </p:sp>
      <p:sp>
        <p:nvSpPr>
          <p:cNvPr id="48" name="Rectangle 47">
            <a:extLst>
              <a:ext uri="{FF2B5EF4-FFF2-40B4-BE49-F238E27FC236}">
                <a16:creationId xmlns:a16="http://schemas.microsoft.com/office/drawing/2014/main" id="{6AE78C02-E706-97BB-57A9-E2B7F825AC92}"/>
              </a:ext>
            </a:extLst>
          </p:cNvPr>
          <p:cNvSpPr/>
          <p:nvPr/>
        </p:nvSpPr>
        <p:spPr>
          <a:xfrm>
            <a:off x="4997450" y="4805589"/>
            <a:ext cx="2863850"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Aizsardzībai pret kritieniem lietojamie aizsardzības līdzekļi</a:t>
            </a:r>
          </a:p>
        </p:txBody>
      </p:sp>
      <p:cxnSp>
        <p:nvCxnSpPr>
          <p:cNvPr id="44" name="Straight Connector 43">
            <a:extLst>
              <a:ext uri="{FF2B5EF4-FFF2-40B4-BE49-F238E27FC236}">
                <a16:creationId xmlns:a16="http://schemas.microsoft.com/office/drawing/2014/main" id="{C3802CD4-0DAF-A1A4-5F51-1CDAE93E9DC0}"/>
              </a:ext>
            </a:extLst>
          </p:cNvPr>
          <p:cNvCxnSpPr>
            <a:cxnSpLocks/>
          </p:cNvCxnSpPr>
          <p:nvPr/>
        </p:nvCxnSpPr>
        <p:spPr>
          <a:xfrm>
            <a:off x="4997450" y="3977489"/>
            <a:ext cx="286385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6" name="Rectangle 45">
            <a:extLst>
              <a:ext uri="{FF2B5EF4-FFF2-40B4-BE49-F238E27FC236}">
                <a16:creationId xmlns:a16="http://schemas.microsoft.com/office/drawing/2014/main" id="{7E5F0837-3080-C5A3-A73E-999537B241F5}"/>
              </a:ext>
            </a:extLst>
          </p:cNvPr>
          <p:cNvSpPr/>
          <p:nvPr/>
        </p:nvSpPr>
        <p:spPr>
          <a:xfrm>
            <a:off x="4997450" y="3291624"/>
            <a:ext cx="2863850"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Ādas aizsardzības līdzekļi</a:t>
            </a:r>
          </a:p>
        </p:txBody>
      </p:sp>
      <p:sp>
        <p:nvSpPr>
          <p:cNvPr id="67" name="Rectangle 66">
            <a:extLst>
              <a:ext uri="{FF2B5EF4-FFF2-40B4-BE49-F238E27FC236}">
                <a16:creationId xmlns:a16="http://schemas.microsoft.com/office/drawing/2014/main" id="{43EEE94F-3E9C-B3FA-7247-25E764C4070F}"/>
              </a:ext>
            </a:extLst>
          </p:cNvPr>
          <p:cNvSpPr/>
          <p:nvPr/>
        </p:nvSpPr>
        <p:spPr>
          <a:xfrm>
            <a:off x="4332288" y="3294821"/>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8" name="L-Shape 67">
            <a:extLst>
              <a:ext uri="{FF2B5EF4-FFF2-40B4-BE49-F238E27FC236}">
                <a16:creationId xmlns:a16="http://schemas.microsoft.com/office/drawing/2014/main" id="{99B7B552-0A59-93D5-918F-DAA7EAF5874B}"/>
              </a:ext>
            </a:extLst>
          </p:cNvPr>
          <p:cNvSpPr/>
          <p:nvPr/>
        </p:nvSpPr>
        <p:spPr>
          <a:xfrm rot="13500000">
            <a:off x="4448682" y="3464433"/>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9" name="Rectangle 68">
            <a:extLst>
              <a:ext uri="{FF2B5EF4-FFF2-40B4-BE49-F238E27FC236}">
                <a16:creationId xmlns:a16="http://schemas.microsoft.com/office/drawing/2014/main" id="{F551D2D3-27B4-2313-CAA4-C065A254C75B}"/>
              </a:ext>
            </a:extLst>
          </p:cNvPr>
          <p:cNvSpPr/>
          <p:nvPr/>
        </p:nvSpPr>
        <p:spPr>
          <a:xfrm>
            <a:off x="4332288" y="4050205"/>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0" name="L-Shape 69">
            <a:extLst>
              <a:ext uri="{FF2B5EF4-FFF2-40B4-BE49-F238E27FC236}">
                <a16:creationId xmlns:a16="http://schemas.microsoft.com/office/drawing/2014/main" id="{1BF0DB6A-6250-D188-18FA-D3AC5BC7F471}"/>
              </a:ext>
            </a:extLst>
          </p:cNvPr>
          <p:cNvSpPr/>
          <p:nvPr/>
        </p:nvSpPr>
        <p:spPr>
          <a:xfrm rot="13500000">
            <a:off x="4448682" y="421981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1" name="Rectangle 70">
            <a:extLst>
              <a:ext uri="{FF2B5EF4-FFF2-40B4-BE49-F238E27FC236}">
                <a16:creationId xmlns:a16="http://schemas.microsoft.com/office/drawing/2014/main" id="{F88F25E5-4DCC-3CA7-3151-4BD2A3A6C8A9}"/>
              </a:ext>
            </a:extLst>
          </p:cNvPr>
          <p:cNvSpPr/>
          <p:nvPr/>
        </p:nvSpPr>
        <p:spPr>
          <a:xfrm>
            <a:off x="4332288" y="4805589"/>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4" name="L-Shape 73">
            <a:extLst>
              <a:ext uri="{FF2B5EF4-FFF2-40B4-BE49-F238E27FC236}">
                <a16:creationId xmlns:a16="http://schemas.microsoft.com/office/drawing/2014/main" id="{4C7574D2-07E7-BAC3-C70F-6C35D595A039}"/>
              </a:ext>
            </a:extLst>
          </p:cNvPr>
          <p:cNvSpPr/>
          <p:nvPr/>
        </p:nvSpPr>
        <p:spPr>
          <a:xfrm rot="13500000">
            <a:off x="4448682" y="497520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75" name="Straight Connector 74">
            <a:extLst>
              <a:ext uri="{FF2B5EF4-FFF2-40B4-BE49-F238E27FC236}">
                <a16:creationId xmlns:a16="http://schemas.microsoft.com/office/drawing/2014/main" id="{B3A6F649-0246-A505-88E0-0E5D3CE8FFE9}"/>
              </a:ext>
            </a:extLst>
          </p:cNvPr>
          <p:cNvCxnSpPr>
            <a:cxnSpLocks/>
          </p:cNvCxnSpPr>
          <p:nvPr/>
        </p:nvCxnSpPr>
        <p:spPr>
          <a:xfrm>
            <a:off x="4997450" y="5487233"/>
            <a:ext cx="286385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77" name="Rectangle 76">
            <a:extLst>
              <a:ext uri="{FF2B5EF4-FFF2-40B4-BE49-F238E27FC236}">
                <a16:creationId xmlns:a16="http://schemas.microsoft.com/office/drawing/2014/main" id="{7EFC10E3-8744-9060-B69C-D0E3CF9949BE}"/>
              </a:ext>
            </a:extLst>
          </p:cNvPr>
          <p:cNvSpPr/>
          <p:nvPr/>
        </p:nvSpPr>
        <p:spPr>
          <a:xfrm>
            <a:off x="4997450" y="5560167"/>
            <a:ext cx="2863850"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Pret kaitīgu darba vides faktoru iedarbību lietojamie aizsargapģērbi </a:t>
            </a:r>
          </a:p>
        </p:txBody>
      </p:sp>
      <p:sp>
        <p:nvSpPr>
          <p:cNvPr id="81" name="Rectangle 80">
            <a:extLst>
              <a:ext uri="{FF2B5EF4-FFF2-40B4-BE49-F238E27FC236}">
                <a16:creationId xmlns:a16="http://schemas.microsoft.com/office/drawing/2014/main" id="{E680A69C-9E2D-6D3B-39E6-DB22F0493517}"/>
              </a:ext>
            </a:extLst>
          </p:cNvPr>
          <p:cNvSpPr/>
          <p:nvPr/>
        </p:nvSpPr>
        <p:spPr>
          <a:xfrm>
            <a:off x="4332710" y="5560973"/>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2" name="L-Shape 81">
            <a:extLst>
              <a:ext uri="{FF2B5EF4-FFF2-40B4-BE49-F238E27FC236}">
                <a16:creationId xmlns:a16="http://schemas.microsoft.com/office/drawing/2014/main" id="{96E0AF04-E577-29BC-5A22-2621366EC076}"/>
              </a:ext>
            </a:extLst>
          </p:cNvPr>
          <p:cNvSpPr/>
          <p:nvPr/>
        </p:nvSpPr>
        <p:spPr>
          <a:xfrm rot="13500000">
            <a:off x="4449104" y="573058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95" name="Straight Connector 94">
            <a:extLst>
              <a:ext uri="{FF2B5EF4-FFF2-40B4-BE49-F238E27FC236}">
                <a16:creationId xmlns:a16="http://schemas.microsoft.com/office/drawing/2014/main" id="{8C9A8A30-BD6B-0E4A-10C0-9562582EAA23}"/>
              </a:ext>
            </a:extLst>
          </p:cNvPr>
          <p:cNvCxnSpPr>
            <a:cxnSpLocks/>
          </p:cNvCxnSpPr>
          <p:nvPr/>
        </p:nvCxnSpPr>
        <p:spPr>
          <a:xfrm>
            <a:off x="4997450" y="3221038"/>
            <a:ext cx="286385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96" name="Rectangle 95">
            <a:extLst>
              <a:ext uri="{FF2B5EF4-FFF2-40B4-BE49-F238E27FC236}">
                <a16:creationId xmlns:a16="http://schemas.microsoft.com/office/drawing/2014/main" id="{07750917-2271-96F2-EA39-EB151FD7E5AD}"/>
              </a:ext>
            </a:extLst>
          </p:cNvPr>
          <p:cNvSpPr/>
          <p:nvPr/>
        </p:nvSpPr>
        <p:spPr>
          <a:xfrm>
            <a:off x="4997451" y="2538660"/>
            <a:ext cx="2863849"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Kāju un pēdu aizsardzības līdzekļi</a:t>
            </a:r>
          </a:p>
        </p:txBody>
      </p:sp>
      <p:sp>
        <p:nvSpPr>
          <p:cNvPr id="98" name="Rectangle 97">
            <a:extLst>
              <a:ext uri="{FF2B5EF4-FFF2-40B4-BE49-F238E27FC236}">
                <a16:creationId xmlns:a16="http://schemas.microsoft.com/office/drawing/2014/main" id="{63E0C578-EC85-55A5-1BF8-BEB1BF136A2A}"/>
              </a:ext>
            </a:extLst>
          </p:cNvPr>
          <p:cNvSpPr/>
          <p:nvPr/>
        </p:nvSpPr>
        <p:spPr>
          <a:xfrm>
            <a:off x="4332288" y="2538660"/>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9" name="L-Shape 98">
            <a:extLst>
              <a:ext uri="{FF2B5EF4-FFF2-40B4-BE49-F238E27FC236}">
                <a16:creationId xmlns:a16="http://schemas.microsoft.com/office/drawing/2014/main" id="{6F94A248-66B5-BA67-FB42-324F3E9E55E5}"/>
              </a:ext>
            </a:extLst>
          </p:cNvPr>
          <p:cNvSpPr/>
          <p:nvPr/>
        </p:nvSpPr>
        <p:spPr>
          <a:xfrm rot="13500000">
            <a:off x="4448682" y="270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2" name="Rectangle 41">
            <a:extLst>
              <a:ext uri="{FF2B5EF4-FFF2-40B4-BE49-F238E27FC236}">
                <a16:creationId xmlns:a16="http://schemas.microsoft.com/office/drawing/2014/main" id="{0FCB6E78-9F63-4625-06AE-AA5FBDD3E448}"/>
              </a:ext>
            </a:extLst>
          </p:cNvPr>
          <p:cNvSpPr/>
          <p:nvPr/>
        </p:nvSpPr>
        <p:spPr>
          <a:xfrm>
            <a:off x="8218488" y="5559424"/>
            <a:ext cx="3530600" cy="61277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576000" r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100000"/>
              </a:lnSpc>
              <a:spcAft>
                <a:spcPts val="600"/>
              </a:spcAft>
              <a:buSzPct val="100000"/>
            </a:pPr>
            <a:r>
              <a:rPr lang="lv-LV" sz="1400">
                <a:solidFill>
                  <a:schemeClr val="tx1"/>
                </a:solidFill>
                <a:hlinkClick r:id="rId4">
                  <a:extLst>
                    <a:ext uri="{A12FA001-AC4F-418D-AE19-62706E023703}">
                      <ahyp:hlinkClr xmlns:ahyp="http://schemas.microsoft.com/office/drawing/2018/hyperlinkcolor" val="tx"/>
                    </a:ext>
                  </a:extLst>
                </a:hlinkClick>
              </a:rPr>
              <a:t>Darba aizsardzības prasības, lietojot individuālos aizsardzības līdzekļus</a:t>
            </a:r>
            <a:endParaRPr lang="lv-LV" sz="1400">
              <a:solidFill>
                <a:schemeClr val="tx1"/>
              </a:solidFill>
            </a:endParaRPr>
          </a:p>
        </p:txBody>
      </p:sp>
      <p:sp>
        <p:nvSpPr>
          <p:cNvPr id="50" name="Freeform 50">
            <a:extLst>
              <a:ext uri="{FF2B5EF4-FFF2-40B4-BE49-F238E27FC236}">
                <a16:creationId xmlns:a16="http://schemas.microsoft.com/office/drawing/2014/main" id="{42C7EB3F-77EA-00AD-C55E-0692AC268DA7}"/>
              </a:ext>
            </a:extLst>
          </p:cNvPr>
          <p:cNvSpPr>
            <a:spLocks noChangeAspect="1"/>
          </p:cNvSpPr>
          <p:nvPr/>
        </p:nvSpPr>
        <p:spPr bwMode="auto">
          <a:xfrm>
            <a:off x="8369726" y="572420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83"/>
          </a:p>
        </p:txBody>
      </p:sp>
      <p:sp>
        <p:nvSpPr>
          <p:cNvPr id="51" name="Rectangle 50">
            <a:extLst>
              <a:ext uri="{FF2B5EF4-FFF2-40B4-BE49-F238E27FC236}">
                <a16:creationId xmlns:a16="http://schemas.microsoft.com/office/drawing/2014/main" id="{046CB008-72B6-5DC8-B11F-C125E0ADC6A3}"/>
              </a:ext>
            </a:extLst>
          </p:cNvPr>
          <p:cNvSpPr/>
          <p:nvPr/>
        </p:nvSpPr>
        <p:spPr>
          <a:xfrm>
            <a:off x="8216932" y="4863190"/>
            <a:ext cx="3530600" cy="702314"/>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r>
              <a:rPr lang="lv-LV" sz="1400" b="1"/>
              <a:t>Rūpīgi iepazīstieties ar darba aizsardzības prasībām!</a:t>
            </a:r>
          </a:p>
        </p:txBody>
      </p:sp>
      <p:grpSp>
        <p:nvGrpSpPr>
          <p:cNvPr id="15" name="Group 14">
            <a:extLst>
              <a:ext uri="{FF2B5EF4-FFF2-40B4-BE49-F238E27FC236}">
                <a16:creationId xmlns:a16="http://schemas.microsoft.com/office/drawing/2014/main" id="{D80FC595-BFFD-3D71-C3BB-7D3DAC335E02}"/>
              </a:ext>
            </a:extLst>
          </p:cNvPr>
          <p:cNvGrpSpPr/>
          <p:nvPr/>
        </p:nvGrpSpPr>
        <p:grpSpPr>
          <a:xfrm>
            <a:off x="8801454" y="159786"/>
            <a:ext cx="2947634" cy="217488"/>
            <a:chOff x="8559627" y="684914"/>
            <a:chExt cx="2947634" cy="217488"/>
          </a:xfrm>
        </p:grpSpPr>
        <p:sp>
          <p:nvSpPr>
            <p:cNvPr id="23" name="Rectangle 22">
              <a:extLst>
                <a:ext uri="{FF2B5EF4-FFF2-40B4-BE49-F238E27FC236}">
                  <a16:creationId xmlns:a16="http://schemas.microsoft.com/office/drawing/2014/main" id="{E6AEA74A-215A-D704-08BB-2DA7A99A2F89}"/>
                </a:ext>
              </a:extLst>
            </p:cNvPr>
            <p:cNvSpPr/>
            <p:nvPr/>
          </p:nvSpPr>
          <p:spPr>
            <a:xfrm>
              <a:off x="9285434" y="68491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5</a:t>
              </a:r>
              <a:r>
                <a:rPr kumimoji="0" lang="lv-LV" sz="800" b="1" i="0" u="none" strike="noStrike" kern="0" cap="none" spc="0" normalizeH="0" baseline="0" dirty="0">
                  <a:ln>
                    <a:noFill/>
                  </a:ln>
                  <a:effectLst/>
                  <a:uLnTx/>
                  <a:uFillTx/>
                  <a:ea typeface="Georgia"/>
                  <a:cs typeface="Georgia"/>
                  <a:sym typeface="Georgia"/>
                </a:rPr>
                <a:t>.</a:t>
              </a:r>
              <a:r>
                <a:rPr kumimoji="0" lang="en-US" sz="800" b="1" i="0" u="none" strike="noStrike" kern="0" cap="none" spc="0" normalizeH="0" baseline="0" dirty="0">
                  <a:ln>
                    <a:noFill/>
                  </a:ln>
                  <a:effectLst/>
                  <a:uLnTx/>
                  <a:uFillTx/>
                  <a:ea typeface="Georgia"/>
                  <a:cs typeface="Georgia"/>
                  <a:sym typeface="Georgia"/>
                </a:rPr>
                <a:t>4</a:t>
              </a:r>
              <a:endParaRPr kumimoji="0" lang="lv-LV" sz="800" b="1" i="0" u="none" strike="noStrike" kern="0" cap="none" spc="0" normalizeH="0" baseline="0" dirty="0">
                <a:ln>
                  <a:noFill/>
                </a:ln>
                <a:effectLst/>
                <a:uLnTx/>
                <a:uFillTx/>
                <a:ea typeface="Georgia"/>
                <a:cs typeface="Georgia"/>
                <a:sym typeface="Georgia"/>
              </a:endParaRPr>
            </a:p>
          </p:txBody>
        </p:sp>
        <p:sp>
          <p:nvSpPr>
            <p:cNvPr id="24" name="Rectangle 23">
              <a:extLst>
                <a:ext uri="{FF2B5EF4-FFF2-40B4-BE49-F238E27FC236}">
                  <a16:creationId xmlns:a16="http://schemas.microsoft.com/office/drawing/2014/main" id="{EBD03692-63F3-05A0-9271-CF123A33BB8A}"/>
                </a:ext>
              </a:extLst>
            </p:cNvPr>
            <p:cNvSpPr/>
            <p:nvPr/>
          </p:nvSpPr>
          <p:spPr>
            <a:xfrm>
              <a:off x="9527261" y="684914"/>
              <a:ext cx="198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err="1">
                  <a:ln>
                    <a:noFill/>
                  </a:ln>
                  <a:effectLst/>
                  <a:uLnTx/>
                  <a:uFillTx/>
                  <a:ea typeface="Georgia"/>
                  <a:cs typeface="Georgia"/>
                  <a:sym typeface="Georgia"/>
                </a:rPr>
                <a:t>Drošības</a:t>
              </a:r>
              <a:r>
                <a:rPr kumimoji="0" lang="en-US" sz="800" b="1" i="0" u="none" strike="noStrike" kern="0" cap="none" spc="0" normalizeH="0" baseline="0" dirty="0">
                  <a:ln>
                    <a:noFill/>
                  </a:ln>
                  <a:effectLst/>
                  <a:uLnTx/>
                  <a:uFillTx/>
                  <a:ea typeface="Georgia"/>
                  <a:cs typeface="Georgia"/>
                  <a:sym typeface="Georgia"/>
                </a:rPr>
                <a:t> </a:t>
              </a:r>
              <a:r>
                <a:rPr kumimoji="0" lang="en-US" sz="800" b="1" i="0" u="none" strike="noStrike" kern="0" cap="none" spc="0" normalizeH="0" baseline="0" dirty="0" err="1">
                  <a:ln>
                    <a:noFill/>
                  </a:ln>
                  <a:effectLst/>
                  <a:uLnTx/>
                  <a:uFillTx/>
                  <a:ea typeface="Georgia"/>
                  <a:cs typeface="Georgia"/>
                  <a:sym typeface="Georgia"/>
                </a:rPr>
                <a:t>pasākumi</a:t>
              </a:r>
              <a:endParaRPr kumimoji="0" lang="en-US" sz="800" b="1" i="0" u="none" strike="noStrike" kern="0" cap="none" spc="0" normalizeH="0" baseline="0" dirty="0">
                <a:ln>
                  <a:noFill/>
                </a:ln>
                <a:effectLst/>
                <a:uLnTx/>
                <a:uFillTx/>
                <a:ea typeface="Georgia"/>
                <a:cs typeface="Georgia"/>
                <a:sym typeface="Georgia"/>
              </a:endParaRPr>
            </a:p>
          </p:txBody>
        </p:sp>
        <p:sp>
          <p:nvSpPr>
            <p:cNvPr id="52" name="Rectangle 51">
              <a:extLst>
                <a:ext uri="{FF2B5EF4-FFF2-40B4-BE49-F238E27FC236}">
                  <a16:creationId xmlns:a16="http://schemas.microsoft.com/office/drawing/2014/main" id="{36331F92-9F23-8D00-E399-40422F7F306F}"/>
                </a:ext>
              </a:extLst>
            </p:cNvPr>
            <p:cNvSpPr/>
            <p:nvPr/>
          </p:nvSpPr>
          <p:spPr>
            <a:xfrm>
              <a:off x="9043607"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3</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57" name="Rectangle 56">
              <a:extLst>
                <a:ext uri="{FF2B5EF4-FFF2-40B4-BE49-F238E27FC236}">
                  <a16:creationId xmlns:a16="http://schemas.microsoft.com/office/drawing/2014/main" id="{84F73EFB-0D12-E986-895E-5C6F0F9945BE}"/>
                </a:ext>
              </a:extLst>
            </p:cNvPr>
            <p:cNvSpPr/>
            <p:nvPr/>
          </p:nvSpPr>
          <p:spPr>
            <a:xfrm>
              <a:off x="8801780"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2</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58" name="Rectangle 57">
              <a:extLst>
                <a:ext uri="{FF2B5EF4-FFF2-40B4-BE49-F238E27FC236}">
                  <a16:creationId xmlns:a16="http://schemas.microsoft.com/office/drawing/2014/main" id="{E43A9449-CE4D-65A8-F08C-63D402D99E42}"/>
                </a:ext>
              </a:extLst>
            </p:cNvPr>
            <p:cNvSpPr/>
            <p:nvPr/>
          </p:nvSpPr>
          <p:spPr>
            <a:xfrm>
              <a:off x="8559627"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428481688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FC4556E-8BB3-8A4F-A792-F1BB4DAF0ED0}"/>
              </a:ext>
            </a:extLst>
          </p:cNvPr>
          <p:cNvGraphicFramePr>
            <a:graphicFrameLocks noChangeAspect="1"/>
          </p:cNvGraphicFramePr>
          <p:nvPr>
            <p:custDataLst>
              <p:tags r:id="rId1"/>
            </p:custDataLst>
            <p:extLst>
              <p:ext uri="{D42A27DB-BD31-4B8C-83A1-F6EECF244321}">
                <p14:modId xmlns:p14="http://schemas.microsoft.com/office/powerpoint/2010/main" val="1532597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DFC4556E-8BB3-8A4F-A792-F1BB4DAF0E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6" name="Picture 65">
            <a:extLst>
              <a:ext uri="{FF2B5EF4-FFF2-40B4-BE49-F238E27FC236}">
                <a16:creationId xmlns:a16="http://schemas.microsoft.com/office/drawing/2014/main" id="{C5AB0BA5-5E6E-83D0-A48D-647C80E8A7DD}"/>
              </a:ext>
            </a:extLst>
          </p:cNvPr>
          <p:cNvPicPr>
            <a:picLocks noChangeAspect="1"/>
          </p:cNvPicPr>
          <p:nvPr/>
        </p:nvPicPr>
        <p:blipFill>
          <a:blip r:embed="rId6"/>
          <a:srcRect l="30079" r="30079"/>
          <a:stretch/>
        </p:blipFill>
        <p:spPr>
          <a:xfrm>
            <a:off x="9156908" y="1832954"/>
            <a:ext cx="2592180" cy="4337404"/>
          </a:xfrm>
          <a:prstGeom prst="rect">
            <a:avLst/>
          </a:prstGeom>
        </p:spPr>
      </p:pic>
      <p:sp>
        <p:nvSpPr>
          <p:cNvPr id="58" name="Rectangle 57">
            <a:extLst>
              <a:ext uri="{FF2B5EF4-FFF2-40B4-BE49-F238E27FC236}">
                <a16:creationId xmlns:a16="http://schemas.microsoft.com/office/drawing/2014/main" id="{9C2F95E4-6182-9220-FE45-1416ADC16BBF}"/>
              </a:ext>
            </a:extLst>
          </p:cNvPr>
          <p:cNvSpPr/>
          <p:nvPr/>
        </p:nvSpPr>
        <p:spPr>
          <a:xfrm>
            <a:off x="7042248" y="5707869"/>
            <a:ext cx="1909466" cy="46672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dirty="0">
                <a:solidFill>
                  <a:schemeClr val="bg1"/>
                </a:solidFill>
                <a:effectLst/>
              </a:rPr>
              <a:t>Bikses</a:t>
            </a:r>
          </a:p>
        </p:txBody>
      </p:sp>
      <p:sp>
        <p:nvSpPr>
          <p:cNvPr id="60" name="Rectangle 59">
            <a:extLst>
              <a:ext uri="{FF2B5EF4-FFF2-40B4-BE49-F238E27FC236}">
                <a16:creationId xmlns:a16="http://schemas.microsoft.com/office/drawing/2014/main" id="{B83CAFC1-A69E-45C0-413B-1754ABB7156B}"/>
              </a:ext>
            </a:extLst>
          </p:cNvPr>
          <p:cNvSpPr/>
          <p:nvPr/>
        </p:nvSpPr>
        <p:spPr>
          <a:xfrm>
            <a:off x="7042248" y="4094163"/>
            <a:ext cx="1909466" cy="161349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dirty="0">
                <a:solidFill>
                  <a:schemeClr val="tx1"/>
                </a:solidFill>
              </a:rPr>
              <a:t>[Vieta attēlam]</a:t>
            </a:r>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dirty="0"/>
              <a:t>Individuālie aizsardzības līdzekļi</a:t>
            </a:r>
            <a:br>
              <a:rPr lang="lv-LV" dirty="0"/>
            </a:br>
            <a:r>
              <a:rPr lang="lv-LV" dirty="0">
                <a:solidFill>
                  <a:srgbClr val="A8192D"/>
                </a:solidFill>
              </a:rPr>
              <a:t>Individuālo aizsardzības līdzekļu komplekta sastāvs veselības nozarē strādājošajiem</a:t>
            </a:r>
            <a:endParaRPr lang="en-GB" dirty="0">
              <a:solidFill>
                <a:srgbClr val="A8192D"/>
              </a:solidFill>
            </a:endParaRPr>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8</a:t>
            </a:fld>
            <a:endParaRPr lang="en-GB"/>
          </a:p>
        </p:txBody>
      </p:sp>
      <p:sp>
        <p:nvSpPr>
          <p:cNvPr id="22" name="Rectangle 21">
            <a:extLst>
              <a:ext uri="{FF2B5EF4-FFF2-40B4-BE49-F238E27FC236}">
                <a16:creationId xmlns:a16="http://schemas.microsoft.com/office/drawing/2014/main" id="{89375083-FFCA-9108-0E80-8EB60C92354F}"/>
              </a:ext>
            </a:extLst>
          </p:cNvPr>
          <p:cNvSpPr/>
          <p:nvPr/>
        </p:nvSpPr>
        <p:spPr>
          <a:xfrm>
            <a:off x="510968" y="3429000"/>
            <a:ext cx="1910500" cy="466509"/>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dirty="0">
                <a:solidFill>
                  <a:schemeClr val="bg1"/>
                </a:solidFill>
              </a:rPr>
              <a:t>Cimdi</a:t>
            </a:r>
            <a:endParaRPr lang="lv-LV" sz="1400" b="0" i="0" dirty="0">
              <a:solidFill>
                <a:schemeClr val="bg1"/>
              </a:solidFill>
              <a:effectLst/>
            </a:endParaRPr>
          </a:p>
        </p:txBody>
      </p:sp>
      <p:sp>
        <p:nvSpPr>
          <p:cNvPr id="6" name="Rectangle 5">
            <a:extLst>
              <a:ext uri="{FF2B5EF4-FFF2-40B4-BE49-F238E27FC236}">
                <a16:creationId xmlns:a16="http://schemas.microsoft.com/office/drawing/2014/main" id="{B565278A-0C40-8FF2-A9BC-55FA5203E93C}"/>
              </a:ext>
            </a:extLst>
          </p:cNvPr>
          <p:cNvSpPr/>
          <p:nvPr/>
        </p:nvSpPr>
        <p:spPr>
          <a:xfrm>
            <a:off x="510968" y="1819275"/>
            <a:ext cx="1910500" cy="16097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dirty="0">
                <a:solidFill>
                  <a:schemeClr val="tx1"/>
                </a:solidFill>
              </a:rPr>
              <a:t>[Vieta attēlam]</a:t>
            </a:r>
          </a:p>
        </p:txBody>
      </p:sp>
      <p:sp>
        <p:nvSpPr>
          <p:cNvPr id="12" name="Rectangle 11">
            <a:extLst>
              <a:ext uri="{FF2B5EF4-FFF2-40B4-BE49-F238E27FC236}">
                <a16:creationId xmlns:a16="http://schemas.microsoft.com/office/drawing/2014/main" id="{1D277A55-BA1E-B7F0-574D-CC027C0A57DF}"/>
              </a:ext>
            </a:extLst>
          </p:cNvPr>
          <p:cNvSpPr/>
          <p:nvPr/>
        </p:nvSpPr>
        <p:spPr>
          <a:xfrm>
            <a:off x="2691111" y="3429000"/>
            <a:ext cx="1909466" cy="466509"/>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dirty="0">
                <a:solidFill>
                  <a:schemeClr val="bg1"/>
                </a:solidFill>
                <a:effectLst/>
              </a:rPr>
              <a:t>Kombinezons</a:t>
            </a:r>
          </a:p>
        </p:txBody>
      </p:sp>
      <p:sp>
        <p:nvSpPr>
          <p:cNvPr id="14" name="Rectangle 13">
            <a:extLst>
              <a:ext uri="{FF2B5EF4-FFF2-40B4-BE49-F238E27FC236}">
                <a16:creationId xmlns:a16="http://schemas.microsoft.com/office/drawing/2014/main" id="{B645ADB5-DE9A-526C-06B0-A9436B443C6D}"/>
              </a:ext>
            </a:extLst>
          </p:cNvPr>
          <p:cNvSpPr/>
          <p:nvPr/>
        </p:nvSpPr>
        <p:spPr>
          <a:xfrm>
            <a:off x="2691111" y="1819275"/>
            <a:ext cx="1909466" cy="16097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dirty="0">
                <a:solidFill>
                  <a:schemeClr val="tx1"/>
                </a:solidFill>
              </a:rPr>
              <a:t>[Vieta attēlam]</a:t>
            </a:r>
          </a:p>
        </p:txBody>
      </p:sp>
      <p:sp>
        <p:nvSpPr>
          <p:cNvPr id="23" name="Rectangle 22">
            <a:extLst>
              <a:ext uri="{FF2B5EF4-FFF2-40B4-BE49-F238E27FC236}">
                <a16:creationId xmlns:a16="http://schemas.microsoft.com/office/drawing/2014/main" id="{F701C802-4524-E72A-ACD5-9585312BD38C}"/>
              </a:ext>
            </a:extLst>
          </p:cNvPr>
          <p:cNvSpPr/>
          <p:nvPr/>
        </p:nvSpPr>
        <p:spPr>
          <a:xfrm>
            <a:off x="4867573" y="3429000"/>
            <a:ext cx="1909466" cy="466509"/>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dirty="0">
                <a:solidFill>
                  <a:schemeClr val="bg1"/>
                </a:solidFill>
              </a:rPr>
              <a:t>Zābaki</a:t>
            </a:r>
            <a:endParaRPr lang="lv-LV" sz="1400" b="0" i="0" dirty="0">
              <a:solidFill>
                <a:schemeClr val="bg1"/>
              </a:solidFill>
              <a:effectLst/>
            </a:endParaRPr>
          </a:p>
        </p:txBody>
      </p:sp>
      <p:sp>
        <p:nvSpPr>
          <p:cNvPr id="30" name="Rectangle 29">
            <a:extLst>
              <a:ext uri="{FF2B5EF4-FFF2-40B4-BE49-F238E27FC236}">
                <a16:creationId xmlns:a16="http://schemas.microsoft.com/office/drawing/2014/main" id="{2D85C593-C293-9067-B83F-DC6EEAF0701F}"/>
              </a:ext>
            </a:extLst>
          </p:cNvPr>
          <p:cNvSpPr/>
          <p:nvPr/>
        </p:nvSpPr>
        <p:spPr>
          <a:xfrm>
            <a:off x="4867573" y="1819275"/>
            <a:ext cx="1909466" cy="16097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dirty="0">
                <a:solidFill>
                  <a:schemeClr val="tx1"/>
                </a:solidFill>
              </a:rPr>
              <a:t>[Vieta attēlam]</a:t>
            </a:r>
          </a:p>
        </p:txBody>
      </p:sp>
      <p:sp>
        <p:nvSpPr>
          <p:cNvPr id="32" name="Rectangle 31">
            <a:extLst>
              <a:ext uri="{FF2B5EF4-FFF2-40B4-BE49-F238E27FC236}">
                <a16:creationId xmlns:a16="http://schemas.microsoft.com/office/drawing/2014/main" id="{9231D6A2-4A46-A1EE-9F06-7987E4FABD4E}"/>
              </a:ext>
            </a:extLst>
          </p:cNvPr>
          <p:cNvSpPr/>
          <p:nvPr/>
        </p:nvSpPr>
        <p:spPr>
          <a:xfrm>
            <a:off x="510968" y="5707869"/>
            <a:ext cx="1910500" cy="46672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dirty="0">
                <a:solidFill>
                  <a:schemeClr val="bg1"/>
                </a:solidFill>
              </a:rPr>
              <a:t>Aizsargbrilles</a:t>
            </a:r>
            <a:endParaRPr lang="lv-LV" sz="1400" b="0" i="0" dirty="0">
              <a:solidFill>
                <a:schemeClr val="bg1"/>
              </a:solidFill>
              <a:effectLst/>
            </a:endParaRPr>
          </a:p>
        </p:txBody>
      </p:sp>
      <p:sp>
        <p:nvSpPr>
          <p:cNvPr id="34" name="Rectangle 33">
            <a:extLst>
              <a:ext uri="{FF2B5EF4-FFF2-40B4-BE49-F238E27FC236}">
                <a16:creationId xmlns:a16="http://schemas.microsoft.com/office/drawing/2014/main" id="{61434E87-1371-C012-ED01-8F8A6E3D6399}"/>
              </a:ext>
            </a:extLst>
          </p:cNvPr>
          <p:cNvSpPr/>
          <p:nvPr/>
        </p:nvSpPr>
        <p:spPr>
          <a:xfrm>
            <a:off x="510968" y="4094163"/>
            <a:ext cx="1910500" cy="161349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dirty="0">
                <a:solidFill>
                  <a:schemeClr val="tx1"/>
                </a:solidFill>
              </a:rPr>
              <a:t>[Vieta attēlam]</a:t>
            </a:r>
          </a:p>
        </p:txBody>
      </p:sp>
      <p:sp>
        <p:nvSpPr>
          <p:cNvPr id="37" name="Rectangle 36">
            <a:extLst>
              <a:ext uri="{FF2B5EF4-FFF2-40B4-BE49-F238E27FC236}">
                <a16:creationId xmlns:a16="http://schemas.microsoft.com/office/drawing/2014/main" id="{DCAEB922-5ECA-A85A-825B-870B38910704}"/>
              </a:ext>
            </a:extLst>
          </p:cNvPr>
          <p:cNvSpPr/>
          <p:nvPr/>
        </p:nvSpPr>
        <p:spPr>
          <a:xfrm>
            <a:off x="2691111" y="5707869"/>
            <a:ext cx="1909466" cy="46672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dirty="0">
                <a:solidFill>
                  <a:schemeClr val="bg1"/>
                </a:solidFill>
              </a:rPr>
              <a:t>Cepure</a:t>
            </a:r>
            <a:endParaRPr lang="lv-LV" sz="1400" b="0" i="0" dirty="0">
              <a:solidFill>
                <a:schemeClr val="bg1"/>
              </a:solidFill>
              <a:effectLst/>
            </a:endParaRPr>
          </a:p>
        </p:txBody>
      </p:sp>
      <p:sp>
        <p:nvSpPr>
          <p:cNvPr id="43" name="Rectangle 42">
            <a:extLst>
              <a:ext uri="{FF2B5EF4-FFF2-40B4-BE49-F238E27FC236}">
                <a16:creationId xmlns:a16="http://schemas.microsoft.com/office/drawing/2014/main" id="{A79E3D6B-046F-52CE-47FE-97D1706FD117}"/>
              </a:ext>
            </a:extLst>
          </p:cNvPr>
          <p:cNvSpPr/>
          <p:nvPr/>
        </p:nvSpPr>
        <p:spPr>
          <a:xfrm>
            <a:off x="2691111" y="4094163"/>
            <a:ext cx="1909466" cy="161349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dirty="0">
                <a:solidFill>
                  <a:schemeClr val="tx1"/>
                </a:solidFill>
              </a:rPr>
              <a:t>[Vieta attēlam]</a:t>
            </a:r>
          </a:p>
        </p:txBody>
      </p:sp>
      <p:sp>
        <p:nvSpPr>
          <p:cNvPr id="45" name="Rectangle 44">
            <a:extLst>
              <a:ext uri="{FF2B5EF4-FFF2-40B4-BE49-F238E27FC236}">
                <a16:creationId xmlns:a16="http://schemas.microsoft.com/office/drawing/2014/main" id="{719F88F5-AFED-20A1-A365-C153F1EF137D}"/>
              </a:ext>
            </a:extLst>
          </p:cNvPr>
          <p:cNvSpPr/>
          <p:nvPr/>
        </p:nvSpPr>
        <p:spPr>
          <a:xfrm>
            <a:off x="4867573" y="5707869"/>
            <a:ext cx="1909466" cy="46672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dirty="0">
                <a:solidFill>
                  <a:schemeClr val="bg1"/>
                </a:solidFill>
              </a:rPr>
              <a:t>Jaka/krekls</a:t>
            </a:r>
            <a:endParaRPr lang="lv-LV" sz="1400" b="0" i="0" dirty="0">
              <a:solidFill>
                <a:schemeClr val="bg1"/>
              </a:solidFill>
              <a:effectLst/>
            </a:endParaRPr>
          </a:p>
        </p:txBody>
      </p:sp>
      <p:sp>
        <p:nvSpPr>
          <p:cNvPr id="47" name="Rectangle 46">
            <a:extLst>
              <a:ext uri="{FF2B5EF4-FFF2-40B4-BE49-F238E27FC236}">
                <a16:creationId xmlns:a16="http://schemas.microsoft.com/office/drawing/2014/main" id="{F48D997A-E3B1-B9FD-D545-428D7BE242E3}"/>
              </a:ext>
            </a:extLst>
          </p:cNvPr>
          <p:cNvSpPr/>
          <p:nvPr/>
        </p:nvSpPr>
        <p:spPr>
          <a:xfrm>
            <a:off x="4867573" y="4094163"/>
            <a:ext cx="1909466" cy="161349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dirty="0">
                <a:solidFill>
                  <a:schemeClr val="tx1"/>
                </a:solidFill>
              </a:rPr>
              <a:t>[Vieta attēlam]</a:t>
            </a:r>
          </a:p>
        </p:txBody>
      </p:sp>
      <p:sp>
        <p:nvSpPr>
          <p:cNvPr id="52" name="Rectangle 51">
            <a:extLst>
              <a:ext uri="{FF2B5EF4-FFF2-40B4-BE49-F238E27FC236}">
                <a16:creationId xmlns:a16="http://schemas.microsoft.com/office/drawing/2014/main" id="{3B6A7469-753D-7946-BF36-E6D69E8C4D97}"/>
              </a:ext>
            </a:extLst>
          </p:cNvPr>
          <p:cNvSpPr/>
          <p:nvPr/>
        </p:nvSpPr>
        <p:spPr>
          <a:xfrm>
            <a:off x="7042248" y="3429000"/>
            <a:ext cx="1909466" cy="466509"/>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dirty="0">
                <a:solidFill>
                  <a:schemeClr val="bg1"/>
                </a:solidFill>
              </a:rPr>
              <a:t>Sejas </a:t>
            </a:r>
            <a:r>
              <a:rPr lang="lv-LV" sz="1400" dirty="0" err="1">
                <a:solidFill>
                  <a:schemeClr val="bg1"/>
                </a:solidFill>
              </a:rPr>
              <a:t>aizsargmaksa</a:t>
            </a:r>
            <a:endParaRPr lang="lv-LV" sz="1400" b="0" i="0" dirty="0">
              <a:solidFill>
                <a:schemeClr val="bg1"/>
              </a:solidFill>
              <a:effectLst/>
            </a:endParaRPr>
          </a:p>
        </p:txBody>
      </p:sp>
      <p:sp>
        <p:nvSpPr>
          <p:cNvPr id="54" name="Rectangle 53">
            <a:extLst>
              <a:ext uri="{FF2B5EF4-FFF2-40B4-BE49-F238E27FC236}">
                <a16:creationId xmlns:a16="http://schemas.microsoft.com/office/drawing/2014/main" id="{51DA5257-AB7B-6630-3627-B44B3BDA69DE}"/>
              </a:ext>
            </a:extLst>
          </p:cNvPr>
          <p:cNvSpPr/>
          <p:nvPr/>
        </p:nvSpPr>
        <p:spPr>
          <a:xfrm>
            <a:off x="7042248" y="1819275"/>
            <a:ext cx="1909466" cy="16097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dirty="0">
                <a:solidFill>
                  <a:schemeClr val="tx1"/>
                </a:solidFill>
              </a:rPr>
              <a:t>[Vieta attēlam]</a:t>
            </a:r>
          </a:p>
        </p:txBody>
      </p:sp>
      <p:grpSp>
        <p:nvGrpSpPr>
          <p:cNvPr id="64" name="Group 63">
            <a:extLst>
              <a:ext uri="{FF2B5EF4-FFF2-40B4-BE49-F238E27FC236}">
                <a16:creationId xmlns:a16="http://schemas.microsoft.com/office/drawing/2014/main" id="{AE0824E5-8CC0-3625-5181-FCB063420030}"/>
              </a:ext>
            </a:extLst>
          </p:cNvPr>
          <p:cNvGrpSpPr/>
          <p:nvPr/>
        </p:nvGrpSpPr>
        <p:grpSpPr>
          <a:xfrm>
            <a:off x="9150059" y="5561819"/>
            <a:ext cx="2599029" cy="612775"/>
            <a:chOff x="9624464" y="5621687"/>
            <a:chExt cx="2599029" cy="548887"/>
          </a:xfrm>
        </p:grpSpPr>
        <p:sp>
          <p:nvSpPr>
            <p:cNvPr id="61" name="Rectangle 60">
              <a:extLst>
                <a:ext uri="{FF2B5EF4-FFF2-40B4-BE49-F238E27FC236}">
                  <a16:creationId xmlns:a16="http://schemas.microsoft.com/office/drawing/2014/main" id="{A6F9E9BD-D079-54DA-3F84-E1FD01B02D67}"/>
                </a:ext>
              </a:extLst>
            </p:cNvPr>
            <p:cNvSpPr/>
            <p:nvPr/>
          </p:nvSpPr>
          <p:spPr>
            <a:xfrm>
              <a:off x="9624464" y="5621687"/>
              <a:ext cx="2599029" cy="54888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576000" r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100000"/>
                </a:lnSpc>
                <a:spcAft>
                  <a:spcPts val="600"/>
                </a:spcAft>
                <a:buSzPct val="100000"/>
              </a:pPr>
              <a:r>
                <a:rPr lang="lv-LV" sz="1400" dirty="0">
                  <a:solidFill>
                    <a:schemeClr val="tx1"/>
                  </a:solidFill>
                  <a:hlinkClick r:id="rId7">
                    <a:extLst>
                      <a:ext uri="{A12FA001-AC4F-418D-AE19-62706E023703}">
                        <ahyp:hlinkClr xmlns:ahyp="http://schemas.microsoft.com/office/drawing/2018/hyperlinkcolor" val="tx"/>
                      </a:ext>
                    </a:extLst>
                  </a:hlinkClick>
                </a:rPr>
                <a:t>Valsts katastrofu medicīnas plāns 2020 </a:t>
              </a:r>
              <a:endParaRPr lang="lv-LV" sz="1400" dirty="0">
                <a:solidFill>
                  <a:schemeClr val="tx1"/>
                </a:solidFill>
              </a:endParaRPr>
            </a:p>
          </p:txBody>
        </p:sp>
        <p:sp>
          <p:nvSpPr>
            <p:cNvPr id="62" name="Freeform 50">
              <a:extLst>
                <a:ext uri="{FF2B5EF4-FFF2-40B4-BE49-F238E27FC236}">
                  <a16:creationId xmlns:a16="http://schemas.microsoft.com/office/drawing/2014/main" id="{3B733EDB-CD67-A070-ED1B-E33EC7978C98}"/>
                </a:ext>
              </a:extLst>
            </p:cNvPr>
            <p:cNvSpPr>
              <a:spLocks noChangeAspect="1"/>
            </p:cNvSpPr>
            <p:nvPr/>
          </p:nvSpPr>
          <p:spPr bwMode="auto">
            <a:xfrm>
              <a:off x="9775702" y="575452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83"/>
            </a:p>
          </p:txBody>
        </p:sp>
      </p:grpSp>
      <p:grpSp>
        <p:nvGrpSpPr>
          <p:cNvPr id="15" name="Group 14">
            <a:extLst>
              <a:ext uri="{FF2B5EF4-FFF2-40B4-BE49-F238E27FC236}">
                <a16:creationId xmlns:a16="http://schemas.microsoft.com/office/drawing/2014/main" id="{D68F5D4A-7CF6-47AD-AD5D-169DCD04B666}"/>
              </a:ext>
            </a:extLst>
          </p:cNvPr>
          <p:cNvGrpSpPr/>
          <p:nvPr/>
        </p:nvGrpSpPr>
        <p:grpSpPr>
          <a:xfrm>
            <a:off x="8801454" y="159786"/>
            <a:ext cx="2947634" cy="217488"/>
            <a:chOff x="8559627" y="684914"/>
            <a:chExt cx="2947634" cy="217488"/>
          </a:xfrm>
        </p:grpSpPr>
        <p:sp>
          <p:nvSpPr>
            <p:cNvPr id="31" name="Rectangle 30">
              <a:extLst>
                <a:ext uri="{FF2B5EF4-FFF2-40B4-BE49-F238E27FC236}">
                  <a16:creationId xmlns:a16="http://schemas.microsoft.com/office/drawing/2014/main" id="{A604B9B5-A033-DD57-9096-407EA258701D}"/>
                </a:ext>
              </a:extLst>
            </p:cNvPr>
            <p:cNvSpPr/>
            <p:nvPr/>
          </p:nvSpPr>
          <p:spPr>
            <a:xfrm>
              <a:off x="9285434" y="68491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5</a:t>
              </a:r>
              <a:r>
                <a:rPr kumimoji="0" lang="lv-LV" sz="800" b="1" i="0" u="none" strike="noStrike" kern="0" cap="none" spc="0" normalizeH="0" baseline="0" dirty="0">
                  <a:ln>
                    <a:noFill/>
                  </a:ln>
                  <a:effectLst/>
                  <a:uLnTx/>
                  <a:uFillTx/>
                  <a:ea typeface="Georgia"/>
                  <a:cs typeface="Georgia"/>
                  <a:sym typeface="Georgia"/>
                </a:rPr>
                <a:t>.</a:t>
              </a:r>
              <a:r>
                <a:rPr kumimoji="0" lang="en-US" sz="800" b="1" i="0" u="none" strike="noStrike" kern="0" cap="none" spc="0" normalizeH="0" baseline="0" dirty="0">
                  <a:ln>
                    <a:noFill/>
                  </a:ln>
                  <a:effectLst/>
                  <a:uLnTx/>
                  <a:uFillTx/>
                  <a:ea typeface="Georgia"/>
                  <a:cs typeface="Georgia"/>
                  <a:sym typeface="Georgia"/>
                </a:rPr>
                <a:t>4</a:t>
              </a:r>
              <a:endParaRPr kumimoji="0" lang="lv-LV" sz="800" b="1" i="0" u="none" strike="noStrike" kern="0" cap="none" spc="0" normalizeH="0" baseline="0" dirty="0">
                <a:ln>
                  <a:noFill/>
                </a:ln>
                <a:effectLst/>
                <a:uLnTx/>
                <a:uFillTx/>
                <a:ea typeface="Georgia"/>
                <a:cs typeface="Georgia"/>
                <a:sym typeface="Georgia"/>
              </a:endParaRPr>
            </a:p>
          </p:txBody>
        </p:sp>
        <p:sp>
          <p:nvSpPr>
            <p:cNvPr id="35" name="Rectangle 34">
              <a:extLst>
                <a:ext uri="{FF2B5EF4-FFF2-40B4-BE49-F238E27FC236}">
                  <a16:creationId xmlns:a16="http://schemas.microsoft.com/office/drawing/2014/main" id="{5BFB5670-DA03-5A41-C4D1-8232F4A54C7B}"/>
                </a:ext>
              </a:extLst>
            </p:cNvPr>
            <p:cNvSpPr/>
            <p:nvPr/>
          </p:nvSpPr>
          <p:spPr>
            <a:xfrm>
              <a:off x="9527261" y="684914"/>
              <a:ext cx="198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err="1">
                  <a:ln>
                    <a:noFill/>
                  </a:ln>
                  <a:effectLst/>
                  <a:uLnTx/>
                  <a:uFillTx/>
                  <a:ea typeface="Georgia"/>
                  <a:cs typeface="Georgia"/>
                  <a:sym typeface="Georgia"/>
                </a:rPr>
                <a:t>Drošības</a:t>
              </a:r>
              <a:r>
                <a:rPr kumimoji="0" lang="en-US" sz="800" b="1" i="0" u="none" strike="noStrike" kern="0" cap="none" spc="0" normalizeH="0" baseline="0" dirty="0">
                  <a:ln>
                    <a:noFill/>
                  </a:ln>
                  <a:effectLst/>
                  <a:uLnTx/>
                  <a:uFillTx/>
                  <a:ea typeface="Georgia"/>
                  <a:cs typeface="Georgia"/>
                  <a:sym typeface="Georgia"/>
                </a:rPr>
                <a:t> </a:t>
              </a:r>
              <a:r>
                <a:rPr kumimoji="0" lang="en-US" sz="800" b="1" i="0" u="none" strike="noStrike" kern="0" cap="none" spc="0" normalizeH="0" baseline="0" dirty="0" err="1">
                  <a:ln>
                    <a:noFill/>
                  </a:ln>
                  <a:effectLst/>
                  <a:uLnTx/>
                  <a:uFillTx/>
                  <a:ea typeface="Georgia"/>
                  <a:cs typeface="Georgia"/>
                  <a:sym typeface="Georgia"/>
                </a:rPr>
                <a:t>pasākumi</a:t>
              </a:r>
              <a:endParaRPr kumimoji="0" lang="en-US" sz="800" b="1" i="0" u="none" strike="noStrike" kern="0" cap="none" spc="0" normalizeH="0" baseline="0" dirty="0">
                <a:ln>
                  <a:noFill/>
                </a:ln>
                <a:effectLst/>
                <a:uLnTx/>
                <a:uFillTx/>
                <a:ea typeface="Georgia"/>
                <a:cs typeface="Georgia"/>
                <a:sym typeface="Georgia"/>
              </a:endParaRPr>
            </a:p>
          </p:txBody>
        </p:sp>
        <p:sp>
          <p:nvSpPr>
            <p:cNvPr id="42" name="Rectangle 41">
              <a:extLst>
                <a:ext uri="{FF2B5EF4-FFF2-40B4-BE49-F238E27FC236}">
                  <a16:creationId xmlns:a16="http://schemas.microsoft.com/office/drawing/2014/main" id="{B64BAC38-ED15-AF18-3669-35E1C32FA862}"/>
                </a:ext>
              </a:extLst>
            </p:cNvPr>
            <p:cNvSpPr/>
            <p:nvPr/>
          </p:nvSpPr>
          <p:spPr>
            <a:xfrm>
              <a:off x="9043607"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3</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44" name="Rectangle 43">
              <a:extLst>
                <a:ext uri="{FF2B5EF4-FFF2-40B4-BE49-F238E27FC236}">
                  <a16:creationId xmlns:a16="http://schemas.microsoft.com/office/drawing/2014/main" id="{716ED198-50A2-0A95-87E2-30DEF131B1B3}"/>
                </a:ext>
              </a:extLst>
            </p:cNvPr>
            <p:cNvSpPr/>
            <p:nvPr/>
          </p:nvSpPr>
          <p:spPr>
            <a:xfrm>
              <a:off x="8801780"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2</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49" name="Rectangle 48">
              <a:extLst>
                <a:ext uri="{FF2B5EF4-FFF2-40B4-BE49-F238E27FC236}">
                  <a16:creationId xmlns:a16="http://schemas.microsoft.com/office/drawing/2014/main" id="{26CEC6FF-2BC3-6E2F-35EC-35F7FC74D0F0}"/>
                </a:ext>
              </a:extLst>
            </p:cNvPr>
            <p:cNvSpPr/>
            <p:nvPr/>
          </p:nvSpPr>
          <p:spPr>
            <a:xfrm>
              <a:off x="8559627" y="68491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23264639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dirty="0"/>
              <a:t>Izmantotie avoti (1/2)</a:t>
            </a:r>
            <a:endParaRPr lang="en-US" dirty="0"/>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9</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dirty="0">
                <a:solidFill>
                  <a:schemeClr val="tx1"/>
                </a:solidFill>
                <a:ea typeface="Open Sans"/>
                <a:cs typeface="Open Sans"/>
              </a:rPr>
              <a:t>Izmantoti attēli no tīmekļa vietnes "</a:t>
            </a:r>
            <a:r>
              <a:rPr lang="lv-LV" sz="900" b="0" dirty="0" err="1">
                <a:solidFill>
                  <a:schemeClr val="tx1"/>
                </a:solidFill>
                <a:ea typeface="Open Sans"/>
                <a:cs typeface="Open Sans"/>
              </a:rPr>
              <a:t>Unsplash</a:t>
            </a:r>
            <a:r>
              <a:rPr lang="lv-LV" sz="900" b="0" dirty="0">
                <a:solidFill>
                  <a:schemeClr val="tx1"/>
                </a:solidFill>
                <a:ea typeface="Open Sans"/>
                <a:cs typeface="Open Sans"/>
              </a:rPr>
              <a:t>". Pieejams: </a:t>
            </a:r>
            <a:r>
              <a:rPr lang="lv-LV" sz="900" b="0" dirty="0">
                <a:solidFill>
                  <a:srgbClr val="A8192D"/>
                </a:solidFill>
                <a:ea typeface="Open Sans"/>
                <a:cs typeface="Open Sans"/>
              </a:rPr>
              <a:t>https://unsplash.com/</a:t>
            </a:r>
            <a:endParaRPr lang="lv-LV" sz="900" b="0" dirty="0">
              <a:solidFill>
                <a:schemeClr val="tx1"/>
              </a:solidFill>
              <a:ea typeface="Open Sans"/>
              <a:cs typeface="Open Sans"/>
            </a:endParaRPr>
          </a:p>
          <a:p>
            <a:pPr marL="172800" indent="-172800">
              <a:spcBef>
                <a:spcPts val="300"/>
              </a:spcBef>
              <a:spcAft>
                <a:spcPts val="300"/>
              </a:spcAft>
              <a:buBlip>
                <a:blip r:embed="rId3"/>
              </a:buBlip>
            </a:pPr>
            <a:r>
              <a:rPr lang="lv-LV" sz="900" b="0" dirty="0">
                <a:solidFill>
                  <a:schemeClr val="tx1"/>
                </a:solidFill>
                <a:ea typeface="Open Sans"/>
                <a:cs typeface="Open Sans"/>
              </a:rPr>
              <a:t>Civilās aizsardzības un katastrofas pārvaldīšanas likums. Pieejams: </a:t>
            </a:r>
            <a:r>
              <a:rPr lang="lv-LV" sz="900" b="0" dirty="0">
                <a:solidFill>
                  <a:srgbClr val="A8192D"/>
                </a:solidFill>
                <a:ea typeface="Open Sans"/>
                <a:cs typeface="Open Sans"/>
              </a:rPr>
              <a:t>https://likumi.lv/ta/id/282333</a:t>
            </a:r>
          </a:p>
          <a:p>
            <a:pPr marL="172800" indent="-172800">
              <a:spcBef>
                <a:spcPts val="300"/>
              </a:spcBef>
              <a:spcAft>
                <a:spcPts val="300"/>
              </a:spcAft>
              <a:buBlip>
                <a:blip r:embed="rId3"/>
              </a:buBlip>
            </a:pPr>
            <a:r>
              <a:rPr lang="lv-LV" sz="900" b="0" dirty="0">
                <a:solidFill>
                  <a:schemeClr val="tx1"/>
                </a:solidFill>
                <a:ea typeface="Open Sans"/>
                <a:cs typeface="Open Sans"/>
              </a:rPr>
              <a:t>Eiropas Komisija. Bīstamas vielas. Pieejams: </a:t>
            </a:r>
            <a:r>
              <a:rPr lang="lv-LV" sz="900" b="0" dirty="0">
                <a:solidFill>
                  <a:srgbClr val="A8192D"/>
                </a:solidFill>
                <a:ea typeface="Open Sans"/>
                <a:cs typeface="Open Sans"/>
              </a:rPr>
              <a:t>https://ec.europa.eu/taxation_customs/dds2/SAMANCTA/LV/Safety/DangerousSubstances_LV.htm</a:t>
            </a:r>
          </a:p>
          <a:p>
            <a:pPr marL="172800" indent="-172800">
              <a:spcBef>
                <a:spcPts val="300"/>
              </a:spcBef>
              <a:spcAft>
                <a:spcPts val="300"/>
              </a:spcAft>
              <a:buBlip>
                <a:blip r:embed="rId3"/>
              </a:buBlip>
            </a:pPr>
            <a:r>
              <a:rPr lang="lv-LV" sz="900" b="0" dirty="0" err="1">
                <a:solidFill>
                  <a:schemeClr val="tx1"/>
                </a:solidFill>
                <a:ea typeface="Open Sans"/>
                <a:cs typeface="Open Sans"/>
              </a:rPr>
              <a:t>European</a:t>
            </a:r>
            <a:r>
              <a:rPr lang="lv-LV" sz="900" b="0" dirty="0">
                <a:solidFill>
                  <a:schemeClr val="tx1"/>
                </a:solidFill>
                <a:ea typeface="Open Sans"/>
                <a:cs typeface="Open Sans"/>
              </a:rPr>
              <a:t> </a:t>
            </a:r>
            <a:r>
              <a:rPr lang="lv-LV" sz="900" b="0" dirty="0" err="1">
                <a:solidFill>
                  <a:schemeClr val="tx1"/>
                </a:solidFill>
                <a:ea typeface="Open Sans"/>
                <a:cs typeface="Open Sans"/>
              </a:rPr>
              <a:t>Chemicals</a:t>
            </a:r>
            <a:r>
              <a:rPr lang="lv-LV" sz="900" b="0" dirty="0">
                <a:solidFill>
                  <a:schemeClr val="tx1"/>
                </a:solidFill>
                <a:ea typeface="Open Sans"/>
                <a:cs typeface="Open Sans"/>
              </a:rPr>
              <a:t> </a:t>
            </a:r>
            <a:r>
              <a:rPr lang="lv-LV" sz="900" b="0" dirty="0" err="1">
                <a:solidFill>
                  <a:schemeClr val="tx1"/>
                </a:solidFill>
                <a:ea typeface="Open Sans"/>
                <a:cs typeface="Open Sans"/>
              </a:rPr>
              <a:t>Agency</a:t>
            </a:r>
            <a:r>
              <a:rPr lang="lv-LV" sz="900" b="0" dirty="0">
                <a:solidFill>
                  <a:schemeClr val="tx1"/>
                </a:solidFill>
                <a:ea typeface="Open Sans"/>
                <a:cs typeface="Open Sans"/>
              </a:rPr>
              <a:t>. Vadlīnijas par drošības datu lapu sagatavošanu. Pieejams: </a:t>
            </a:r>
            <a:r>
              <a:rPr lang="lv-LV" sz="900" b="0" dirty="0">
                <a:solidFill>
                  <a:srgbClr val="A8192D"/>
                </a:solidFill>
                <a:ea typeface="Open Sans"/>
                <a:cs typeface="Open Sans"/>
              </a:rPr>
              <a:t>https://echa.europa.eu/documents/10162/23036412/sds_lv.pdf/0e0c8ba2-63d9-4c95-9187-9de6a50fcac6</a:t>
            </a:r>
          </a:p>
          <a:p>
            <a:pPr marL="172800" indent="-172800">
              <a:spcBef>
                <a:spcPts val="300"/>
              </a:spcBef>
              <a:spcAft>
                <a:spcPts val="300"/>
              </a:spcAft>
              <a:buBlip>
                <a:blip r:embed="rId3"/>
              </a:buBlip>
            </a:pPr>
            <a:r>
              <a:rPr lang="lv-LV" sz="900" b="0" dirty="0">
                <a:solidFill>
                  <a:schemeClr val="tx1"/>
                </a:solidFill>
                <a:ea typeface="Open Sans"/>
                <a:cs typeface="Open Sans"/>
              </a:rPr>
              <a:t>LTV Ziņu dienests. 72. stundas. Evakuācija un pretošanās. Pieejams: </a:t>
            </a:r>
            <a:r>
              <a:rPr lang="lv-LV" sz="900" b="0" dirty="0">
                <a:solidFill>
                  <a:srgbClr val="A8192D"/>
                </a:solidFill>
                <a:ea typeface="Open Sans"/>
                <a:cs typeface="Open Sans"/>
              </a:rPr>
              <a:t>https://www.youtube.com/watch?v=EqTN-akzLIc</a:t>
            </a:r>
          </a:p>
          <a:p>
            <a:pPr marL="172800" indent="-172800">
              <a:spcBef>
                <a:spcPts val="300"/>
              </a:spcBef>
              <a:spcAft>
                <a:spcPts val="300"/>
              </a:spcAft>
              <a:buBlip>
                <a:blip r:embed="rId3"/>
              </a:buBlip>
            </a:pPr>
            <a:r>
              <a:rPr lang="lv-LV" sz="900" b="0" dirty="0">
                <a:solidFill>
                  <a:schemeClr val="tx1"/>
                </a:solidFill>
                <a:ea typeface="Open Sans"/>
                <a:cs typeface="Open Sans"/>
              </a:rPr>
              <a:t>LTV Ziņu dienests. Ogrē spridzina ledu. Pieejams: </a:t>
            </a:r>
            <a:r>
              <a:rPr lang="lv-LV" sz="900" b="0" dirty="0">
                <a:solidFill>
                  <a:srgbClr val="A8192D"/>
                </a:solidFill>
                <a:ea typeface="Open Sans"/>
                <a:cs typeface="Open Sans"/>
              </a:rPr>
              <a:t>https://www.youtube.com/watch?v=7fol0QqgihA</a:t>
            </a:r>
          </a:p>
          <a:p>
            <a:pPr marL="172800" indent="-172800">
              <a:spcBef>
                <a:spcPts val="300"/>
              </a:spcBef>
              <a:spcAft>
                <a:spcPts val="300"/>
              </a:spcAft>
              <a:buBlip>
                <a:blip r:embed="rId3"/>
              </a:buBlip>
            </a:pPr>
            <a:r>
              <a:rPr lang="lv-LV" sz="900" b="0" dirty="0">
                <a:solidFill>
                  <a:schemeClr val="tx1"/>
                </a:solidFill>
                <a:ea typeface="Open Sans"/>
                <a:cs typeface="Open Sans"/>
              </a:rPr>
              <a:t>LV portāls. 2020. Kas ir valsts agrīnās brīdināšanas sistēma. Pieejams: </a:t>
            </a:r>
            <a:r>
              <a:rPr lang="lv-LV" sz="900" b="0" dirty="0">
                <a:solidFill>
                  <a:srgbClr val="A8192D"/>
                </a:solidFill>
                <a:ea typeface="Open Sans"/>
                <a:cs typeface="Open Sans"/>
              </a:rPr>
              <a:t>https://lvportals.lv/skaidrojumi/320034-kas-ir-valsts-agrinas-bridinasanas-sistema-2020</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02. gada 20. augusta noteikumi Nr. 372 "Darba aizsardzības prasības, lietojot individuālos aizsardzības līdzekļus". Pieejams: </a:t>
            </a:r>
            <a:r>
              <a:rPr lang="lv-LV" sz="900" b="0" dirty="0">
                <a:solidFill>
                  <a:srgbClr val="A8192D"/>
                </a:solidFill>
                <a:ea typeface="Open Sans"/>
                <a:cs typeface="Open Sans"/>
              </a:rPr>
              <a:t>https://likumi.lv/ta/id/65619</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06. gada 25. aprīļa noteikumi Nr. 339 "Noteikumi par prasībām bīstamo ķīmisko vielu un ķīmisko preparātu (produktu) uzglabāšanas rezervuāru projektēšanai, uzstādīšanai, par to atbilstības novērtēšanas kārtību un tirgus uzraudzību". Pieejams: </a:t>
            </a:r>
            <a:r>
              <a:rPr lang="lv-LV" sz="900" b="0" dirty="0">
                <a:solidFill>
                  <a:srgbClr val="A8192D"/>
                </a:solidFill>
                <a:ea typeface="Open Sans"/>
                <a:cs typeface="Open Sans"/>
              </a:rPr>
              <a:t>https://likumi.lv/ta/id/134571</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7. novembra noteikumi Nr. 658 "Noteikumi par civilās aizsardzības plānu struktūru un tajos iekļaujamo informāciju". Pieejams: </a:t>
            </a:r>
            <a:r>
              <a:rPr lang="lv-LV" sz="900" b="0" dirty="0">
                <a:solidFill>
                  <a:srgbClr val="A8192D"/>
                </a:solidFill>
                <a:ea typeface="Open Sans"/>
                <a:cs typeface="Open Sans"/>
              </a:rPr>
              <a:t>https://likumi.lv/ta/id/294938</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8. augusta noteikumi Nr. 440 "Valsts agrīnās brīdināšanas sistēmas izveidošanas, darbības un finansēšanas kārtība". Pieejams: </a:t>
            </a:r>
            <a:r>
              <a:rPr lang="lv-LV" sz="900" b="0" dirty="0">
                <a:solidFill>
                  <a:srgbClr val="A8192D"/>
                </a:solidFill>
                <a:ea typeface="Open Sans"/>
                <a:cs typeface="Open Sans"/>
              </a:rPr>
              <a:t>https://likumi.lv/ta/id/292740</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8. augusta noteikumi Nr. 440 "Valsts agrīnās brīdināšanas sistēmas izveidošanas, darbības un finansēšanas kārtība". Pieejams: </a:t>
            </a:r>
            <a:r>
              <a:rPr lang="lv-LV" sz="900" b="0" dirty="0">
                <a:solidFill>
                  <a:srgbClr val="A8192D"/>
                </a:solidFill>
                <a:ea typeface="Open Sans"/>
                <a:cs typeface="Open Sans"/>
              </a:rPr>
              <a:t>https://likumi.lv/ta/id/292740</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9. gada 18. jūnija noteikumi Nr. 268 "Valsts materiālo rezervju izmantošanas un pārbaudes kārtība". Pieejams: </a:t>
            </a:r>
            <a:r>
              <a:rPr lang="lv-LV" sz="900" b="0" dirty="0">
                <a:solidFill>
                  <a:srgbClr val="A8192D"/>
                </a:solidFill>
                <a:ea typeface="Open Sans"/>
                <a:cs typeface="Open Sans"/>
              </a:rPr>
              <a:t>https://likumi.lv/ta/id/307788</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20. gada 26. augusta rīkojums Nr. 476 "Par Valsts civilās aizsardzības plānu". Pieejams: </a:t>
            </a:r>
            <a:r>
              <a:rPr lang="lv-LV" sz="900" b="0" dirty="0">
                <a:solidFill>
                  <a:srgbClr val="A8192D"/>
                </a:solidFill>
                <a:ea typeface="Open Sans"/>
                <a:cs typeface="Open Sans"/>
              </a:rPr>
              <a:t>https://likumi.lv/ta/id/317006</a:t>
            </a:r>
          </a:p>
          <a:p>
            <a:pPr marL="172800" indent="-172800">
              <a:spcBef>
                <a:spcPts val="300"/>
              </a:spcBef>
              <a:spcAft>
                <a:spcPts val="300"/>
              </a:spcAft>
              <a:buBlip>
                <a:blip r:embed="rId3"/>
              </a:buBlip>
            </a:pPr>
            <a:r>
              <a:rPr lang="lv-LV" sz="900" b="0" dirty="0">
                <a:solidFill>
                  <a:schemeClr val="tx1"/>
                </a:solidFill>
                <a:ea typeface="Open Sans"/>
                <a:cs typeface="Open Sans"/>
              </a:rPr>
              <a:t>Ozola, A. Drošības datu lapas. Paplašinātās drošības datu lapas – DDL + Iedarbības scenāriji. Pieejams: </a:t>
            </a:r>
            <a:r>
              <a:rPr lang="lv-LV" sz="900" b="0" dirty="0">
                <a:solidFill>
                  <a:srgbClr val="A8192D"/>
                </a:solidFill>
                <a:ea typeface="Open Sans"/>
                <a:cs typeface="Open Sans"/>
              </a:rPr>
              <a:t>https://www.meteo.lv/fs/CKFinderJava/userfiles/files/4_DDL+Iedarbibas%20scenariji(2).pdf</a:t>
            </a:r>
          </a:p>
          <a:p>
            <a:pPr marL="172800" indent="-172800">
              <a:spcBef>
                <a:spcPts val="300"/>
              </a:spcBef>
              <a:spcAft>
                <a:spcPts val="300"/>
              </a:spcAft>
              <a:buBlip>
                <a:blip r:embed="rId3"/>
              </a:buBlip>
            </a:pPr>
            <a:r>
              <a:rPr lang="lv-LV" sz="900" b="0" dirty="0">
                <a:solidFill>
                  <a:schemeClr val="tx1"/>
                </a:solidFill>
                <a:ea typeface="Open Sans"/>
                <a:cs typeface="Open Sans"/>
              </a:rPr>
              <a:t>Procesu analīzes un izpētes centrs. 2017. Risku un ievainojamības novērtējums un pielāgošanās pasākumu identificēšana civilās aizsardzības un ārkārtas palīdzības jomā. Pieejams: </a:t>
            </a:r>
            <a:r>
              <a:rPr lang="lv-LV" sz="900" b="0" dirty="0">
                <a:solidFill>
                  <a:srgbClr val="A8192D"/>
                </a:solidFill>
                <a:ea typeface="Open Sans"/>
                <a:cs typeface="Open Sans"/>
              </a:rPr>
              <a:t>https://www.varam.gov.lv/sites/varam/files/data_content/civila_aizs_arkartas_palidziba.pdf</a:t>
            </a:r>
          </a:p>
          <a:p>
            <a:pPr marL="172800" indent="-172800">
              <a:spcBef>
                <a:spcPts val="300"/>
              </a:spcBef>
              <a:spcAft>
                <a:spcPts val="300"/>
              </a:spcAft>
              <a:buBlip>
                <a:blip r:embed="rId3"/>
              </a:buBlip>
            </a:pPr>
            <a:r>
              <a:rPr lang="lv-LV" sz="900" b="0" dirty="0">
                <a:solidFill>
                  <a:schemeClr val="tx1"/>
                </a:solidFill>
                <a:ea typeface="Open Sans"/>
                <a:cs typeface="Open Sans"/>
              </a:rPr>
              <a:t>Rīgas Stradiņa universitāte, Darba drošības un vides veselības </a:t>
            </a:r>
            <a:r>
              <a:rPr lang="lv-LV" sz="900" b="0" dirty="0" err="1">
                <a:solidFill>
                  <a:schemeClr val="tx1"/>
                </a:solidFill>
                <a:ea typeface="Open Sans"/>
                <a:cs typeface="Open Sans"/>
              </a:rPr>
              <a:t>insitūts</a:t>
            </a:r>
            <a:r>
              <a:rPr lang="lv-LV" sz="900" b="0" dirty="0">
                <a:solidFill>
                  <a:schemeClr val="tx1"/>
                </a:solidFill>
                <a:ea typeface="Open Sans"/>
                <a:cs typeface="Open Sans"/>
              </a:rPr>
              <a:t>. 2017. Darba aizsardzības prasības darbā ar </a:t>
            </a:r>
            <a:r>
              <a:rPr lang="lv-LV" sz="900" b="0" dirty="0" err="1">
                <a:solidFill>
                  <a:schemeClr val="tx1"/>
                </a:solidFill>
                <a:ea typeface="Open Sans"/>
                <a:cs typeface="Open Sans"/>
              </a:rPr>
              <a:t>ķimiskām</a:t>
            </a:r>
            <a:r>
              <a:rPr lang="lv-LV" sz="900" b="0" dirty="0">
                <a:solidFill>
                  <a:schemeClr val="tx1"/>
                </a:solidFill>
                <a:ea typeface="Open Sans"/>
                <a:cs typeface="Open Sans"/>
              </a:rPr>
              <a:t> vielām un maisījumiem. Pieejams: </a:t>
            </a:r>
            <a:r>
              <a:rPr lang="lv-LV" sz="900" b="0" dirty="0">
                <a:solidFill>
                  <a:srgbClr val="A8192D"/>
                </a:solidFill>
                <a:ea typeface="Open Sans"/>
                <a:cs typeface="Open Sans"/>
              </a:rPr>
              <a:t>http://stradavesels.lv/Uploads/2018/03/20/329_2017_Atgadne_stradajot_ar_kimiskam_vielam.pdf</a:t>
            </a:r>
          </a:p>
          <a:p>
            <a:pPr marL="172800" indent="-172800">
              <a:spcBef>
                <a:spcPts val="300"/>
              </a:spcBef>
              <a:spcAft>
                <a:spcPts val="300"/>
              </a:spcAft>
              <a:buBlip>
                <a:blip r:embed="rId3"/>
              </a:buBlip>
            </a:pPr>
            <a:r>
              <a:rPr lang="lv-LV" sz="900" b="0" dirty="0">
                <a:solidFill>
                  <a:schemeClr val="tx1"/>
                </a:solidFill>
                <a:ea typeface="Open Sans"/>
                <a:cs typeface="Open Sans"/>
              </a:rPr>
              <a:t>Tēzaurs: rezervuārs. Pieejams: </a:t>
            </a:r>
            <a:r>
              <a:rPr lang="lv-LV" sz="900" b="0" dirty="0">
                <a:solidFill>
                  <a:srgbClr val="A8192D"/>
                </a:solidFill>
                <a:ea typeface="Open Sans"/>
                <a:cs typeface="Open Sans"/>
              </a:rPr>
              <a:t>https://tezaurs.lv/rezervu%C4%81rs:1</a:t>
            </a:r>
          </a:p>
        </p:txBody>
      </p:sp>
    </p:spTree>
    <p:extLst>
      <p:ext uri="{BB962C8B-B14F-4D97-AF65-F5344CB8AC3E}">
        <p14:creationId xmlns:p14="http://schemas.microsoft.com/office/powerpoint/2010/main" val="33793166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FA428F7A-C993-50D3-89F1-C22D2114627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2911" y="3460253"/>
            <a:ext cx="5473699" cy="2643587"/>
          </a:xfrm>
          <a:prstGeom prst="rect">
            <a:avLst/>
          </a:prstGeom>
        </p:spPr>
      </p:pic>
      <p:pic>
        <p:nvPicPr>
          <p:cNvPr id="23" name="Picture 22">
            <a:extLst>
              <a:ext uri="{FF2B5EF4-FFF2-40B4-BE49-F238E27FC236}">
                <a16:creationId xmlns:a16="http://schemas.microsoft.com/office/drawing/2014/main" id="{2AAB2BE4-42F0-3706-C7BD-11E5246759F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286501" y="3460253"/>
            <a:ext cx="5462582" cy="2712742"/>
          </a:xfrm>
          <a:prstGeom prst="rect">
            <a:avLst/>
          </a:prstGeom>
        </p:spPr>
      </p:pic>
      <p:sp>
        <p:nvSpPr>
          <p:cNvPr id="11" name="Rectangle 10">
            <a:extLst>
              <a:ext uri="{FF2B5EF4-FFF2-40B4-BE49-F238E27FC236}">
                <a16:creationId xmlns:a16="http://schemas.microsoft.com/office/drawing/2014/main" id="{FA0DB7E4-5086-CBC3-A430-AECBB931AE3F}"/>
              </a:ext>
            </a:extLst>
          </p:cNvPr>
          <p:cNvSpPr/>
          <p:nvPr/>
        </p:nvSpPr>
        <p:spPr>
          <a:xfrm>
            <a:off x="442912" y="1821861"/>
            <a:ext cx="586800" cy="149697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2800" b="1"/>
          </a:p>
        </p:txBody>
      </p:sp>
      <p:sp>
        <p:nvSpPr>
          <p:cNvPr id="12" name="Satura vietturis 2">
            <a:extLst>
              <a:ext uri="{FF2B5EF4-FFF2-40B4-BE49-F238E27FC236}">
                <a16:creationId xmlns:a16="http://schemas.microsoft.com/office/drawing/2014/main" id="{2B9CA849-0AC4-22D0-C79E-0B127C7E1E88}"/>
              </a:ext>
            </a:extLst>
          </p:cNvPr>
          <p:cNvSpPr txBox="1">
            <a:spLocks/>
          </p:cNvSpPr>
          <p:nvPr/>
        </p:nvSpPr>
        <p:spPr>
          <a:xfrm>
            <a:off x="1139874" y="1819275"/>
            <a:ext cx="4766654" cy="1499562"/>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dirty="0">
                <a:solidFill>
                  <a:schemeClr val="tx1"/>
                </a:solidFill>
              </a:rPr>
              <a:t>Kā varētu iedalīt katastrofas? Kāpēc ir svarīgi to darīt?</a:t>
            </a:r>
          </a:p>
        </p:txBody>
      </p:sp>
      <p:sp>
        <p:nvSpPr>
          <p:cNvPr id="13" name="Satura vietturis 2">
            <a:extLst>
              <a:ext uri="{FF2B5EF4-FFF2-40B4-BE49-F238E27FC236}">
                <a16:creationId xmlns:a16="http://schemas.microsoft.com/office/drawing/2014/main" id="{8FBA6CD9-C29A-DC34-2046-4B566CDE468F}"/>
              </a:ext>
            </a:extLst>
          </p:cNvPr>
          <p:cNvSpPr txBox="1">
            <a:spLocks/>
          </p:cNvSpPr>
          <p:nvPr/>
        </p:nvSpPr>
        <p:spPr>
          <a:xfrm>
            <a:off x="6981826" y="1819275"/>
            <a:ext cx="4767263" cy="1499562"/>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dirty="0">
                <a:solidFill>
                  <a:schemeClr val="tx1"/>
                </a:solidFill>
              </a:rPr>
              <a:t>Vai zināt, kā atšķiras </a:t>
            </a:r>
            <a:r>
              <a:rPr lang="lv-LV" altLang="lv-LV" sz="1600" dirty="0" err="1">
                <a:solidFill>
                  <a:schemeClr val="tx1"/>
                </a:solidFill>
              </a:rPr>
              <a:t>prevencijas</a:t>
            </a:r>
            <a:r>
              <a:rPr lang="lv-LV" altLang="lv-LV" sz="1600" dirty="0">
                <a:solidFill>
                  <a:schemeClr val="tx1"/>
                </a:solidFill>
              </a:rPr>
              <a:t>, gatavības, reaģēšanas un seku likvidēšanas pasākumi? </a:t>
            </a:r>
            <a:r>
              <a:rPr lang="lv-LV" altLang="lv-LV" sz="1600">
                <a:solidFill>
                  <a:schemeClr val="tx1"/>
                </a:solidFill>
              </a:rPr>
              <a:t>Vai esat iesaistījies kādos pasākumos?</a:t>
            </a:r>
          </a:p>
        </p:txBody>
      </p:sp>
      <p:sp>
        <p:nvSpPr>
          <p:cNvPr id="14" name="Rectangle 13">
            <a:extLst>
              <a:ext uri="{FF2B5EF4-FFF2-40B4-BE49-F238E27FC236}">
                <a16:creationId xmlns:a16="http://schemas.microsoft.com/office/drawing/2014/main" id="{A15C462A-F4AD-2E9B-95A5-B333002BB906}"/>
              </a:ext>
            </a:extLst>
          </p:cNvPr>
          <p:cNvSpPr/>
          <p:nvPr/>
        </p:nvSpPr>
        <p:spPr>
          <a:xfrm>
            <a:off x="6286501" y="1819275"/>
            <a:ext cx="586800" cy="1496976"/>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2800" b="1"/>
          </a:p>
        </p:txBody>
      </p:sp>
      <p:sp>
        <p:nvSpPr>
          <p:cNvPr id="18" name="Rectangle 17">
            <a:extLst>
              <a:ext uri="{FF2B5EF4-FFF2-40B4-BE49-F238E27FC236}">
                <a16:creationId xmlns:a16="http://schemas.microsoft.com/office/drawing/2014/main" id="{CE824709-874E-91CF-BC39-F76E24167153}"/>
              </a:ext>
            </a:extLst>
          </p:cNvPr>
          <p:cNvSpPr/>
          <p:nvPr/>
        </p:nvSpPr>
        <p:spPr>
          <a:xfrm rot="5400000">
            <a:off x="8976514" y="3400425"/>
            <a:ext cx="71438" cy="54737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9" name="Rectangle 18">
            <a:extLst>
              <a:ext uri="{FF2B5EF4-FFF2-40B4-BE49-F238E27FC236}">
                <a16:creationId xmlns:a16="http://schemas.microsoft.com/office/drawing/2014/main" id="{6F2E811E-0203-E42B-4247-E0F4A89A3CDA}"/>
              </a:ext>
            </a:extLst>
          </p:cNvPr>
          <p:cNvSpPr/>
          <p:nvPr/>
        </p:nvSpPr>
        <p:spPr>
          <a:xfrm rot="5400000">
            <a:off x="3144042" y="3400425"/>
            <a:ext cx="71438" cy="54737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Title 18">
            <a:extLst>
              <a:ext uri="{FF2B5EF4-FFF2-40B4-BE49-F238E27FC236}">
                <a16:creationId xmlns:a16="http://schemas.microsoft.com/office/drawing/2014/main" id="{62191B8F-6AA7-8996-6DFE-41B6714A0793}"/>
              </a:ext>
            </a:extLst>
          </p:cNvPr>
          <p:cNvSpPr>
            <a:spLocks noGrp="1"/>
          </p:cNvSpPr>
          <p:nvPr>
            <p:ph type="title"/>
          </p:nvPr>
        </p:nvSpPr>
        <p:spPr>
          <a:xfrm>
            <a:off x="442913" y="432001"/>
            <a:ext cx="11306175" cy="1387274"/>
          </a:xfrm>
        </p:spPr>
        <p:txBody>
          <a:bodyPr vert="horz"/>
          <a:lstStyle/>
          <a:p>
            <a:r>
              <a:rPr lang="lv-LV" noProof="0" dirty="0" err="1"/>
              <a:t>Ievaddiskusija</a:t>
            </a:r>
            <a:r>
              <a:rPr lang="lv-LV" noProof="0" dirty="0"/>
              <a:t> ar izglītojamajiem par katastrofu iedalījumu</a:t>
            </a:r>
          </a:p>
        </p:txBody>
      </p:sp>
      <p:sp>
        <p:nvSpPr>
          <p:cNvPr id="24" name="Google Shape;1024;p85">
            <a:extLst>
              <a:ext uri="{FF2B5EF4-FFF2-40B4-BE49-F238E27FC236}">
                <a16:creationId xmlns:a16="http://schemas.microsoft.com/office/drawing/2014/main" id="{C11F337B-D5AC-5AA8-540B-65C2AE0A4054}"/>
              </a:ext>
            </a:extLst>
          </p:cNvPr>
          <p:cNvSpPr/>
          <p:nvPr/>
        </p:nvSpPr>
        <p:spPr>
          <a:xfrm>
            <a:off x="556312" y="2387763"/>
            <a:ext cx="360000" cy="360000"/>
          </a:xfrm>
          <a:custGeom>
            <a:avLst/>
            <a:gdLst/>
            <a:ahLst/>
            <a:cxnLst/>
            <a:rect l="l" t="t" r="r" b="b"/>
            <a:pathLst>
              <a:path w="453744" h="453590" extrusionOk="0">
                <a:moveTo>
                  <a:pt x="0" y="0"/>
                </a:moveTo>
                <a:lnTo>
                  <a:pt x="0" y="453590"/>
                </a:lnTo>
                <a:lnTo>
                  <a:pt x="453744" y="453590"/>
                </a:lnTo>
                <a:lnTo>
                  <a:pt x="453744" y="0"/>
                </a:lnTo>
                <a:close/>
                <a:moveTo>
                  <a:pt x="434397" y="434218"/>
                </a:moveTo>
                <a:lnTo>
                  <a:pt x="19347" y="434218"/>
                </a:lnTo>
                <a:lnTo>
                  <a:pt x="19347" y="19341"/>
                </a:lnTo>
                <a:lnTo>
                  <a:pt x="434397" y="19341"/>
                </a:lnTo>
                <a:close/>
                <a:moveTo>
                  <a:pt x="393970" y="297480"/>
                </a:moveTo>
                <a:lnTo>
                  <a:pt x="393970" y="95506"/>
                </a:lnTo>
                <a:cubicBezTo>
                  <a:pt x="393970" y="73992"/>
                  <a:pt x="379790" y="50840"/>
                  <a:pt x="348658" y="50840"/>
                </a:cubicBezTo>
                <a:cubicBezTo>
                  <a:pt x="317526" y="50840"/>
                  <a:pt x="303378" y="73992"/>
                  <a:pt x="303378" y="95506"/>
                </a:cubicBezTo>
                <a:lnTo>
                  <a:pt x="303378" y="297480"/>
                </a:lnTo>
                <a:cubicBezTo>
                  <a:pt x="280282" y="321951"/>
                  <a:pt x="280597" y="360289"/>
                  <a:pt x="304135" y="384355"/>
                </a:cubicBezTo>
                <a:cubicBezTo>
                  <a:pt x="315762" y="396220"/>
                  <a:pt x="331643" y="402936"/>
                  <a:pt x="348249" y="403002"/>
                </a:cubicBezTo>
                <a:lnTo>
                  <a:pt x="348753" y="403002"/>
                </a:lnTo>
                <a:cubicBezTo>
                  <a:pt x="383256" y="403012"/>
                  <a:pt x="411237" y="375053"/>
                  <a:pt x="411237" y="340555"/>
                </a:cubicBezTo>
                <a:cubicBezTo>
                  <a:pt x="411269" y="324519"/>
                  <a:pt x="405093" y="309096"/>
                  <a:pt x="394033" y="297480"/>
                </a:cubicBezTo>
                <a:close/>
                <a:moveTo>
                  <a:pt x="378404" y="308945"/>
                </a:moveTo>
                <a:lnTo>
                  <a:pt x="379475" y="309764"/>
                </a:lnTo>
                <a:lnTo>
                  <a:pt x="380704" y="311024"/>
                </a:lnTo>
                <a:cubicBezTo>
                  <a:pt x="396837" y="328777"/>
                  <a:pt x="395545" y="356251"/>
                  <a:pt x="377774" y="372385"/>
                </a:cubicBezTo>
                <a:cubicBezTo>
                  <a:pt x="360002" y="388519"/>
                  <a:pt x="332525" y="387205"/>
                  <a:pt x="316392" y="369452"/>
                </a:cubicBezTo>
                <a:cubicBezTo>
                  <a:pt x="300259" y="351696"/>
                  <a:pt x="301551" y="324226"/>
                  <a:pt x="319323" y="308092"/>
                </a:cubicBezTo>
                <a:cubicBezTo>
                  <a:pt x="319323" y="308082"/>
                  <a:pt x="319354" y="308073"/>
                  <a:pt x="319354" y="308063"/>
                </a:cubicBezTo>
                <a:cubicBezTo>
                  <a:pt x="321308" y="306353"/>
                  <a:pt x="322474" y="303893"/>
                  <a:pt x="322505" y="301291"/>
                </a:cubicBezTo>
                <a:lnTo>
                  <a:pt x="322505" y="95506"/>
                </a:lnTo>
                <a:cubicBezTo>
                  <a:pt x="322505" y="77835"/>
                  <a:pt x="336086" y="69802"/>
                  <a:pt x="348690" y="69802"/>
                </a:cubicBezTo>
                <a:cubicBezTo>
                  <a:pt x="361294" y="69802"/>
                  <a:pt x="374906" y="77835"/>
                  <a:pt x="374906" y="95506"/>
                </a:cubicBezTo>
                <a:lnTo>
                  <a:pt x="374906" y="301291"/>
                </a:lnTo>
                <a:cubicBezTo>
                  <a:pt x="374812" y="304255"/>
                  <a:pt x="376103" y="307093"/>
                  <a:pt x="378404" y="308977"/>
                </a:cubicBezTo>
                <a:close/>
                <a:moveTo>
                  <a:pt x="371755" y="354178"/>
                </a:moveTo>
                <a:cubicBezTo>
                  <a:pt x="368037" y="360340"/>
                  <a:pt x="362050" y="364775"/>
                  <a:pt x="355055" y="366495"/>
                </a:cubicBezTo>
                <a:cubicBezTo>
                  <a:pt x="352912" y="367033"/>
                  <a:pt x="350675" y="367310"/>
                  <a:pt x="348469" y="367314"/>
                </a:cubicBezTo>
                <a:cubicBezTo>
                  <a:pt x="333502" y="367364"/>
                  <a:pt x="321339" y="355275"/>
                  <a:pt x="321276" y="340312"/>
                </a:cubicBezTo>
                <a:cubicBezTo>
                  <a:pt x="321245" y="330711"/>
                  <a:pt x="326318" y="321807"/>
                  <a:pt x="334573" y="316915"/>
                </a:cubicBezTo>
                <a:lnTo>
                  <a:pt x="336086" y="316001"/>
                </a:lnTo>
                <a:lnTo>
                  <a:pt x="338544" y="314521"/>
                </a:lnTo>
                <a:lnTo>
                  <a:pt x="338544" y="110090"/>
                </a:lnTo>
                <a:lnTo>
                  <a:pt x="358553" y="110090"/>
                </a:lnTo>
                <a:lnTo>
                  <a:pt x="358553" y="314521"/>
                </a:lnTo>
                <a:lnTo>
                  <a:pt x="360979" y="316001"/>
                </a:lnTo>
                <a:lnTo>
                  <a:pt x="362523" y="316915"/>
                </a:lnTo>
                <a:cubicBezTo>
                  <a:pt x="375316" y="324654"/>
                  <a:pt x="379444" y="341264"/>
                  <a:pt x="371755" y="354084"/>
                </a:cubicBezTo>
                <a:close/>
                <a:moveTo>
                  <a:pt x="130515" y="117933"/>
                </a:moveTo>
                <a:lnTo>
                  <a:pt x="133476" y="118154"/>
                </a:lnTo>
                <a:lnTo>
                  <a:pt x="133476" y="121083"/>
                </a:lnTo>
                <a:cubicBezTo>
                  <a:pt x="133445" y="123206"/>
                  <a:pt x="133161" y="125320"/>
                  <a:pt x="132657" y="127383"/>
                </a:cubicBezTo>
                <a:cubicBezTo>
                  <a:pt x="132531" y="127818"/>
                  <a:pt x="132468" y="128259"/>
                  <a:pt x="132405" y="128706"/>
                </a:cubicBezTo>
                <a:cubicBezTo>
                  <a:pt x="131019" y="136672"/>
                  <a:pt x="130672" y="144777"/>
                  <a:pt x="131302" y="152835"/>
                </a:cubicBezTo>
                <a:lnTo>
                  <a:pt x="131302" y="152835"/>
                </a:lnTo>
                <a:cubicBezTo>
                  <a:pt x="135777" y="164461"/>
                  <a:pt x="141701" y="175486"/>
                  <a:pt x="148916" y="185657"/>
                </a:cubicBezTo>
                <a:lnTo>
                  <a:pt x="148916" y="185657"/>
                </a:lnTo>
                <a:cubicBezTo>
                  <a:pt x="155754" y="195107"/>
                  <a:pt x="166909" y="203076"/>
                  <a:pt x="179828" y="212368"/>
                </a:cubicBezTo>
                <a:lnTo>
                  <a:pt x="187863" y="218164"/>
                </a:lnTo>
                <a:cubicBezTo>
                  <a:pt x="199112" y="225346"/>
                  <a:pt x="220098" y="240623"/>
                  <a:pt x="228101" y="250892"/>
                </a:cubicBezTo>
                <a:lnTo>
                  <a:pt x="230023" y="253349"/>
                </a:lnTo>
                <a:lnTo>
                  <a:pt x="227597" y="255302"/>
                </a:lnTo>
                <a:cubicBezTo>
                  <a:pt x="222618" y="259271"/>
                  <a:pt x="217009" y="263775"/>
                  <a:pt x="217009" y="272123"/>
                </a:cubicBezTo>
                <a:cubicBezTo>
                  <a:pt x="217009" y="287179"/>
                  <a:pt x="231693" y="297322"/>
                  <a:pt x="244644" y="306299"/>
                </a:cubicBezTo>
                <a:lnTo>
                  <a:pt x="245621" y="306992"/>
                </a:lnTo>
                <a:cubicBezTo>
                  <a:pt x="250694" y="309900"/>
                  <a:pt x="255483" y="313242"/>
                  <a:pt x="259989" y="316978"/>
                </a:cubicBezTo>
                <a:lnTo>
                  <a:pt x="260430" y="317576"/>
                </a:lnTo>
                <a:cubicBezTo>
                  <a:pt x="262227" y="321104"/>
                  <a:pt x="261911" y="331719"/>
                  <a:pt x="260745" y="335184"/>
                </a:cubicBezTo>
                <a:cubicBezTo>
                  <a:pt x="257311" y="346949"/>
                  <a:pt x="253120" y="358472"/>
                  <a:pt x="248141" y="369676"/>
                </a:cubicBezTo>
                <a:lnTo>
                  <a:pt x="247480" y="371157"/>
                </a:lnTo>
                <a:lnTo>
                  <a:pt x="245936" y="371471"/>
                </a:lnTo>
                <a:cubicBezTo>
                  <a:pt x="163285" y="389228"/>
                  <a:pt x="81863" y="336636"/>
                  <a:pt x="64123" y="254011"/>
                </a:cubicBezTo>
                <a:cubicBezTo>
                  <a:pt x="52905" y="201816"/>
                  <a:pt x="69700" y="147546"/>
                  <a:pt x="108458" y="110815"/>
                </a:cubicBezTo>
                <a:lnTo>
                  <a:pt x="110947" y="108452"/>
                </a:lnTo>
                <a:lnTo>
                  <a:pt x="113089" y="111098"/>
                </a:lnTo>
                <a:cubicBezTo>
                  <a:pt x="116461" y="115162"/>
                  <a:pt x="122322" y="117492"/>
                  <a:pt x="130515" y="117933"/>
                </a:cubicBezTo>
                <a:close/>
                <a:moveTo>
                  <a:pt x="240548" y="71094"/>
                </a:moveTo>
                <a:cubicBezTo>
                  <a:pt x="249087" y="72770"/>
                  <a:pt x="257500" y="75022"/>
                  <a:pt x="265756" y="77835"/>
                </a:cubicBezTo>
                <a:cubicBezTo>
                  <a:pt x="267205" y="78370"/>
                  <a:pt x="268686" y="78906"/>
                  <a:pt x="270136" y="79504"/>
                </a:cubicBezTo>
                <a:cubicBezTo>
                  <a:pt x="277540" y="82421"/>
                  <a:pt x="284693" y="85918"/>
                  <a:pt x="291531" y="89962"/>
                </a:cubicBezTo>
                <a:cubicBezTo>
                  <a:pt x="291688" y="88041"/>
                  <a:pt x="291940" y="86151"/>
                  <a:pt x="292255" y="84261"/>
                </a:cubicBezTo>
                <a:cubicBezTo>
                  <a:pt x="292728" y="81211"/>
                  <a:pt x="293453" y="78200"/>
                  <a:pt x="294367" y="75252"/>
                </a:cubicBezTo>
                <a:cubicBezTo>
                  <a:pt x="294808" y="73929"/>
                  <a:pt x="295249" y="72606"/>
                  <a:pt x="295753" y="71315"/>
                </a:cubicBezTo>
                <a:lnTo>
                  <a:pt x="295753" y="71315"/>
                </a:lnTo>
                <a:cubicBezTo>
                  <a:pt x="212630" y="26110"/>
                  <a:pt x="108615" y="56815"/>
                  <a:pt x="63398" y="139898"/>
                </a:cubicBezTo>
                <a:cubicBezTo>
                  <a:pt x="18181" y="222984"/>
                  <a:pt x="48872" y="326982"/>
                  <a:pt x="131995" y="372186"/>
                </a:cubicBezTo>
                <a:cubicBezTo>
                  <a:pt x="159283" y="387026"/>
                  <a:pt x="190069" y="394170"/>
                  <a:pt x="221106" y="392860"/>
                </a:cubicBezTo>
                <a:cubicBezTo>
                  <a:pt x="241304" y="392041"/>
                  <a:pt x="261218" y="387593"/>
                  <a:pt x="279841" y="379724"/>
                </a:cubicBezTo>
                <a:lnTo>
                  <a:pt x="273539" y="362620"/>
                </a:lnTo>
                <a:cubicBezTo>
                  <a:pt x="272656" y="362998"/>
                  <a:pt x="271805" y="363408"/>
                  <a:pt x="270892" y="363754"/>
                </a:cubicBezTo>
                <a:lnTo>
                  <a:pt x="263298" y="366904"/>
                </a:lnTo>
                <a:lnTo>
                  <a:pt x="266890" y="359565"/>
                </a:lnTo>
                <a:cubicBezTo>
                  <a:pt x="269379" y="354430"/>
                  <a:pt x="271522" y="349517"/>
                  <a:pt x="273192" y="345926"/>
                </a:cubicBezTo>
                <a:lnTo>
                  <a:pt x="274326" y="343311"/>
                </a:lnTo>
                <a:cubicBezTo>
                  <a:pt x="274925" y="341840"/>
                  <a:pt x="275618" y="340420"/>
                  <a:pt x="276438" y="339059"/>
                </a:cubicBezTo>
                <a:lnTo>
                  <a:pt x="276438" y="339059"/>
                </a:lnTo>
                <a:cubicBezTo>
                  <a:pt x="278139" y="331839"/>
                  <a:pt x="278549" y="324371"/>
                  <a:pt x="277635" y="317009"/>
                </a:cubicBezTo>
                <a:cubicBezTo>
                  <a:pt x="277446" y="315239"/>
                  <a:pt x="277005" y="313500"/>
                  <a:pt x="276343" y="311843"/>
                </a:cubicBezTo>
                <a:cubicBezTo>
                  <a:pt x="274358" y="305953"/>
                  <a:pt x="266386" y="300504"/>
                  <a:pt x="256113" y="293983"/>
                </a:cubicBezTo>
                <a:cubicBezTo>
                  <a:pt x="254538" y="292786"/>
                  <a:pt x="252962" y="291715"/>
                  <a:pt x="251576" y="290644"/>
                </a:cubicBezTo>
                <a:cubicBezTo>
                  <a:pt x="242312" y="283935"/>
                  <a:pt x="234308" y="278045"/>
                  <a:pt x="234308" y="272060"/>
                </a:cubicBezTo>
                <a:cubicBezTo>
                  <a:pt x="234308" y="269225"/>
                  <a:pt x="237901" y="266768"/>
                  <a:pt x="240989" y="265161"/>
                </a:cubicBezTo>
                <a:cubicBezTo>
                  <a:pt x="241682" y="264582"/>
                  <a:pt x="242407" y="264043"/>
                  <a:pt x="243163" y="263555"/>
                </a:cubicBezTo>
                <a:cubicBezTo>
                  <a:pt x="243761" y="263189"/>
                  <a:pt x="244360" y="262780"/>
                  <a:pt x="244896" y="262326"/>
                </a:cubicBezTo>
                <a:lnTo>
                  <a:pt x="248047" y="259995"/>
                </a:lnTo>
                <a:lnTo>
                  <a:pt x="248047" y="259995"/>
                </a:lnTo>
                <a:lnTo>
                  <a:pt x="247291" y="255459"/>
                </a:lnTo>
                <a:cubicBezTo>
                  <a:pt x="245337" y="238954"/>
                  <a:pt x="227061" y="225000"/>
                  <a:pt x="197158" y="203990"/>
                </a:cubicBezTo>
                <a:cubicBezTo>
                  <a:pt x="182506" y="194540"/>
                  <a:pt x="167949" y="184555"/>
                  <a:pt x="161111" y="175483"/>
                </a:cubicBezTo>
                <a:cubicBezTo>
                  <a:pt x="155376" y="168584"/>
                  <a:pt x="147750" y="155229"/>
                  <a:pt x="146616" y="148393"/>
                </a:cubicBezTo>
                <a:cubicBezTo>
                  <a:pt x="145419" y="144928"/>
                  <a:pt x="146616" y="138313"/>
                  <a:pt x="147687" y="131321"/>
                </a:cubicBezTo>
                <a:cubicBezTo>
                  <a:pt x="149862" y="117083"/>
                  <a:pt x="149515" y="111193"/>
                  <a:pt x="146175" y="107035"/>
                </a:cubicBezTo>
                <a:lnTo>
                  <a:pt x="132626" y="92041"/>
                </a:lnTo>
                <a:lnTo>
                  <a:pt x="135777" y="90088"/>
                </a:lnTo>
                <a:cubicBezTo>
                  <a:pt x="156416" y="77857"/>
                  <a:pt x="179639" y="70650"/>
                  <a:pt x="203586" y="69046"/>
                </a:cubicBezTo>
                <a:lnTo>
                  <a:pt x="206958" y="68826"/>
                </a:lnTo>
                <a:lnTo>
                  <a:pt x="206958" y="75126"/>
                </a:lnTo>
                <a:cubicBezTo>
                  <a:pt x="206958" y="76354"/>
                  <a:pt x="206737" y="77488"/>
                  <a:pt x="206643" y="78559"/>
                </a:cubicBezTo>
                <a:cubicBezTo>
                  <a:pt x="205981" y="86308"/>
                  <a:pt x="206076" y="90813"/>
                  <a:pt x="207683" y="94057"/>
                </a:cubicBezTo>
                <a:cubicBezTo>
                  <a:pt x="209794" y="98127"/>
                  <a:pt x="212693" y="101721"/>
                  <a:pt x="216253" y="104609"/>
                </a:cubicBezTo>
                <a:cubicBezTo>
                  <a:pt x="217892" y="106184"/>
                  <a:pt x="218806" y="106216"/>
                  <a:pt x="222020" y="106216"/>
                </a:cubicBezTo>
                <a:cubicBezTo>
                  <a:pt x="223816" y="106216"/>
                  <a:pt x="225171" y="104956"/>
                  <a:pt x="227282" y="102877"/>
                </a:cubicBezTo>
                <a:cubicBezTo>
                  <a:pt x="227471" y="102637"/>
                  <a:pt x="227628" y="102373"/>
                  <a:pt x="227754" y="102089"/>
                </a:cubicBezTo>
                <a:cubicBezTo>
                  <a:pt x="228164" y="101195"/>
                  <a:pt x="228731" y="100376"/>
                  <a:pt x="229425" y="99664"/>
                </a:cubicBezTo>
                <a:cubicBezTo>
                  <a:pt x="229708" y="99257"/>
                  <a:pt x="229960" y="98839"/>
                  <a:pt x="230181" y="98404"/>
                </a:cubicBezTo>
                <a:cubicBezTo>
                  <a:pt x="231157" y="96640"/>
                  <a:pt x="232355" y="94466"/>
                  <a:pt x="234876" y="94466"/>
                </a:cubicBezTo>
                <a:lnTo>
                  <a:pt x="236168" y="94466"/>
                </a:lnTo>
                <a:lnTo>
                  <a:pt x="237081" y="95380"/>
                </a:lnTo>
                <a:cubicBezTo>
                  <a:pt x="239413" y="97497"/>
                  <a:pt x="241398" y="99935"/>
                  <a:pt x="243037" y="102625"/>
                </a:cubicBezTo>
                <a:lnTo>
                  <a:pt x="243919" y="103916"/>
                </a:lnTo>
                <a:cubicBezTo>
                  <a:pt x="244675" y="105381"/>
                  <a:pt x="245747" y="106654"/>
                  <a:pt x="247070" y="107633"/>
                </a:cubicBezTo>
                <a:cubicBezTo>
                  <a:pt x="248425" y="108232"/>
                  <a:pt x="249811" y="108745"/>
                  <a:pt x="251230" y="109177"/>
                </a:cubicBezTo>
                <a:cubicBezTo>
                  <a:pt x="253341" y="109870"/>
                  <a:pt x="255830" y="110689"/>
                  <a:pt x="258634" y="111823"/>
                </a:cubicBezTo>
                <a:cubicBezTo>
                  <a:pt x="272719" y="116516"/>
                  <a:pt x="273444" y="117587"/>
                  <a:pt x="273444" y="120075"/>
                </a:cubicBezTo>
                <a:lnTo>
                  <a:pt x="273444" y="121398"/>
                </a:lnTo>
                <a:lnTo>
                  <a:pt x="272530" y="122312"/>
                </a:lnTo>
                <a:cubicBezTo>
                  <a:pt x="270388" y="124618"/>
                  <a:pt x="267961" y="126621"/>
                  <a:pt x="265283" y="128265"/>
                </a:cubicBezTo>
                <a:cubicBezTo>
                  <a:pt x="263329" y="129544"/>
                  <a:pt x="261565" y="131047"/>
                  <a:pt x="259958" y="132738"/>
                </a:cubicBezTo>
                <a:lnTo>
                  <a:pt x="259958" y="132738"/>
                </a:lnTo>
                <a:cubicBezTo>
                  <a:pt x="256397" y="139715"/>
                  <a:pt x="253309" y="146935"/>
                  <a:pt x="250757" y="154347"/>
                </a:cubicBezTo>
                <a:lnTo>
                  <a:pt x="249875" y="156804"/>
                </a:lnTo>
                <a:cubicBezTo>
                  <a:pt x="245747" y="168269"/>
                  <a:pt x="241461" y="180113"/>
                  <a:pt x="234687" y="184712"/>
                </a:cubicBezTo>
                <a:cubicBezTo>
                  <a:pt x="232292" y="186886"/>
                  <a:pt x="226147" y="185373"/>
                  <a:pt x="222555" y="184208"/>
                </a:cubicBezTo>
                <a:cubicBezTo>
                  <a:pt x="221799" y="184107"/>
                  <a:pt x="221043" y="183959"/>
                  <a:pt x="220287" y="183767"/>
                </a:cubicBezTo>
                <a:cubicBezTo>
                  <a:pt x="219121" y="183487"/>
                  <a:pt x="217955" y="183295"/>
                  <a:pt x="216757" y="183200"/>
                </a:cubicBezTo>
                <a:lnTo>
                  <a:pt x="216190" y="183200"/>
                </a:lnTo>
                <a:cubicBezTo>
                  <a:pt x="215024" y="182850"/>
                  <a:pt x="213827" y="182850"/>
                  <a:pt x="212661" y="183200"/>
                </a:cubicBezTo>
                <a:cubicBezTo>
                  <a:pt x="211464" y="183720"/>
                  <a:pt x="210392" y="184482"/>
                  <a:pt x="209510" y="185436"/>
                </a:cubicBezTo>
                <a:cubicBezTo>
                  <a:pt x="208092" y="187200"/>
                  <a:pt x="207556" y="189535"/>
                  <a:pt x="208124" y="191736"/>
                </a:cubicBezTo>
                <a:cubicBezTo>
                  <a:pt x="212063" y="203549"/>
                  <a:pt x="235033" y="220086"/>
                  <a:pt x="248047" y="225126"/>
                </a:cubicBezTo>
                <a:cubicBezTo>
                  <a:pt x="251418" y="226795"/>
                  <a:pt x="258067" y="226039"/>
                  <a:pt x="265756" y="225126"/>
                </a:cubicBezTo>
                <a:lnTo>
                  <a:pt x="267961" y="224905"/>
                </a:lnTo>
                <a:lnTo>
                  <a:pt x="269726" y="224685"/>
                </a:lnTo>
                <a:cubicBezTo>
                  <a:pt x="274673" y="223979"/>
                  <a:pt x="279683" y="223897"/>
                  <a:pt x="284630" y="224433"/>
                </a:cubicBezTo>
                <a:cubicBezTo>
                  <a:pt x="285544" y="224540"/>
                  <a:pt x="286426" y="224719"/>
                  <a:pt x="287308" y="224968"/>
                </a:cubicBezTo>
                <a:cubicBezTo>
                  <a:pt x="288569" y="225208"/>
                  <a:pt x="289672" y="225891"/>
                  <a:pt x="290459" y="226890"/>
                </a:cubicBezTo>
                <a:lnTo>
                  <a:pt x="291531" y="227236"/>
                </a:lnTo>
                <a:lnTo>
                  <a:pt x="291531" y="210164"/>
                </a:lnTo>
                <a:lnTo>
                  <a:pt x="291531" y="210164"/>
                </a:lnTo>
                <a:cubicBezTo>
                  <a:pt x="284157" y="207896"/>
                  <a:pt x="275776" y="208715"/>
                  <a:pt x="266323" y="209659"/>
                </a:cubicBezTo>
                <a:lnTo>
                  <a:pt x="265503" y="209659"/>
                </a:lnTo>
                <a:cubicBezTo>
                  <a:pt x="264747" y="209659"/>
                  <a:pt x="263865" y="209659"/>
                  <a:pt x="262920" y="209659"/>
                </a:cubicBezTo>
                <a:cubicBezTo>
                  <a:pt x="261218" y="209659"/>
                  <a:pt x="259391" y="210037"/>
                  <a:pt x="257878" y="210226"/>
                </a:cubicBezTo>
                <a:cubicBezTo>
                  <a:pt x="255767" y="210478"/>
                  <a:pt x="254916" y="210573"/>
                  <a:pt x="254475" y="210573"/>
                </a:cubicBezTo>
                <a:lnTo>
                  <a:pt x="253593" y="210573"/>
                </a:lnTo>
                <a:cubicBezTo>
                  <a:pt x="251860" y="209880"/>
                  <a:pt x="250442" y="209218"/>
                  <a:pt x="248835" y="208557"/>
                </a:cubicBezTo>
                <a:cubicBezTo>
                  <a:pt x="245243" y="206947"/>
                  <a:pt x="241839" y="204938"/>
                  <a:pt x="238688" y="202572"/>
                </a:cubicBezTo>
                <a:lnTo>
                  <a:pt x="235790" y="200399"/>
                </a:lnTo>
                <a:lnTo>
                  <a:pt x="236294" y="199895"/>
                </a:lnTo>
                <a:lnTo>
                  <a:pt x="238342" y="197847"/>
                </a:lnTo>
                <a:cubicBezTo>
                  <a:pt x="239193" y="196946"/>
                  <a:pt x="240295" y="196294"/>
                  <a:pt x="241493" y="195957"/>
                </a:cubicBezTo>
                <a:cubicBezTo>
                  <a:pt x="243982" y="194389"/>
                  <a:pt x="246251" y="192480"/>
                  <a:pt x="248236" y="190287"/>
                </a:cubicBezTo>
                <a:lnTo>
                  <a:pt x="248236" y="190287"/>
                </a:lnTo>
                <a:cubicBezTo>
                  <a:pt x="250694" y="187582"/>
                  <a:pt x="252805" y="184573"/>
                  <a:pt x="254538" y="181342"/>
                </a:cubicBezTo>
                <a:lnTo>
                  <a:pt x="254538" y="181342"/>
                </a:lnTo>
                <a:cubicBezTo>
                  <a:pt x="258414" y="174009"/>
                  <a:pt x="261596" y="166320"/>
                  <a:pt x="263991" y="158379"/>
                </a:cubicBezTo>
                <a:cubicBezTo>
                  <a:pt x="264779" y="156457"/>
                  <a:pt x="265472" y="154473"/>
                  <a:pt x="266165" y="152488"/>
                </a:cubicBezTo>
                <a:cubicBezTo>
                  <a:pt x="267268" y="148935"/>
                  <a:pt x="268686" y="145489"/>
                  <a:pt x="270419" y="142188"/>
                </a:cubicBezTo>
                <a:cubicBezTo>
                  <a:pt x="270766" y="140972"/>
                  <a:pt x="271617" y="139958"/>
                  <a:pt x="272751" y="139384"/>
                </a:cubicBezTo>
                <a:cubicBezTo>
                  <a:pt x="272971" y="139249"/>
                  <a:pt x="273160" y="139104"/>
                  <a:pt x="273349" y="138943"/>
                </a:cubicBezTo>
                <a:lnTo>
                  <a:pt x="273948" y="138503"/>
                </a:lnTo>
                <a:cubicBezTo>
                  <a:pt x="275744" y="137557"/>
                  <a:pt x="289703" y="130218"/>
                  <a:pt x="287435" y="117083"/>
                </a:cubicBezTo>
                <a:cubicBezTo>
                  <a:pt x="286206" y="108421"/>
                  <a:pt x="279399" y="103822"/>
                  <a:pt x="272215" y="100798"/>
                </a:cubicBezTo>
                <a:cubicBezTo>
                  <a:pt x="269316" y="99538"/>
                  <a:pt x="266323" y="98561"/>
                  <a:pt x="263644" y="97648"/>
                </a:cubicBezTo>
                <a:lnTo>
                  <a:pt x="260998" y="96797"/>
                </a:lnTo>
                <a:lnTo>
                  <a:pt x="260493" y="96262"/>
                </a:lnTo>
                <a:lnTo>
                  <a:pt x="259579" y="95979"/>
                </a:lnTo>
                <a:cubicBezTo>
                  <a:pt x="258319" y="95635"/>
                  <a:pt x="257153" y="94999"/>
                  <a:pt x="256208" y="94120"/>
                </a:cubicBezTo>
                <a:lnTo>
                  <a:pt x="255263" y="93207"/>
                </a:lnTo>
                <a:lnTo>
                  <a:pt x="255263" y="92608"/>
                </a:lnTo>
                <a:cubicBezTo>
                  <a:pt x="254885" y="92170"/>
                  <a:pt x="254601" y="91669"/>
                  <a:pt x="254412" y="91128"/>
                </a:cubicBezTo>
                <a:cubicBezTo>
                  <a:pt x="252175" y="88116"/>
                  <a:pt x="249591" y="85395"/>
                  <a:pt x="246692" y="83032"/>
                </a:cubicBezTo>
                <a:cubicBezTo>
                  <a:pt x="243321" y="80389"/>
                  <a:pt x="239161" y="78969"/>
                  <a:pt x="234876" y="79000"/>
                </a:cubicBezTo>
                <a:cubicBezTo>
                  <a:pt x="232040" y="79079"/>
                  <a:pt x="229267" y="80011"/>
                  <a:pt x="226967" y="81678"/>
                </a:cubicBezTo>
                <a:lnTo>
                  <a:pt x="222051" y="84828"/>
                </a:lnTo>
                <a:lnTo>
                  <a:pt x="222240" y="74716"/>
                </a:lnTo>
                <a:cubicBezTo>
                  <a:pt x="222366" y="74360"/>
                  <a:pt x="222429" y="73989"/>
                  <a:pt x="222461" y="73614"/>
                </a:cubicBezTo>
                <a:cubicBezTo>
                  <a:pt x="222492" y="73069"/>
                  <a:pt x="222492" y="72521"/>
                  <a:pt x="222461" y="71976"/>
                </a:cubicBezTo>
                <a:lnTo>
                  <a:pt x="222461" y="68479"/>
                </a:lnTo>
                <a:lnTo>
                  <a:pt x="225959" y="68763"/>
                </a:lnTo>
                <a:cubicBezTo>
                  <a:pt x="230937" y="69645"/>
                  <a:pt x="240610" y="71188"/>
                  <a:pt x="240610" y="71188"/>
                </a:cubicBezTo>
                <a:close/>
              </a:path>
            </a:pathLst>
          </a:cu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5" name="Google Shape;1000;p85">
            <a:extLst>
              <a:ext uri="{FF2B5EF4-FFF2-40B4-BE49-F238E27FC236}">
                <a16:creationId xmlns:a16="http://schemas.microsoft.com/office/drawing/2014/main" id="{424776CB-9FB7-A616-CF95-BF0AD4261CB5}"/>
              </a:ext>
            </a:extLst>
          </p:cNvPr>
          <p:cNvSpPr/>
          <p:nvPr/>
        </p:nvSpPr>
        <p:spPr>
          <a:xfrm>
            <a:off x="6399901" y="2387763"/>
            <a:ext cx="360000" cy="360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288" y="306"/>
                </a:moveTo>
                <a:cubicBezTo>
                  <a:pt x="286" y="310"/>
                  <a:pt x="285" y="314"/>
                  <a:pt x="287" y="318"/>
                </a:cubicBezTo>
                <a:cubicBezTo>
                  <a:pt x="290" y="329"/>
                  <a:pt x="306" y="341"/>
                  <a:pt x="326" y="341"/>
                </a:cubicBezTo>
                <a:cubicBezTo>
                  <a:pt x="346" y="341"/>
                  <a:pt x="375" y="322"/>
                  <a:pt x="390" y="290"/>
                </a:cubicBezTo>
                <a:cubicBezTo>
                  <a:pt x="401" y="267"/>
                  <a:pt x="413" y="220"/>
                  <a:pt x="366" y="162"/>
                </a:cubicBezTo>
                <a:cubicBezTo>
                  <a:pt x="262" y="50"/>
                  <a:pt x="146" y="149"/>
                  <a:pt x="141" y="153"/>
                </a:cubicBezTo>
                <a:cubicBezTo>
                  <a:pt x="125" y="135"/>
                  <a:pt x="125" y="135"/>
                  <a:pt x="125" y="135"/>
                </a:cubicBezTo>
                <a:cubicBezTo>
                  <a:pt x="126" y="134"/>
                  <a:pt x="264" y="16"/>
                  <a:pt x="384" y="146"/>
                </a:cubicBezTo>
                <a:cubicBezTo>
                  <a:pt x="385" y="147"/>
                  <a:pt x="385" y="147"/>
                  <a:pt x="385" y="147"/>
                </a:cubicBezTo>
                <a:cubicBezTo>
                  <a:pt x="440" y="215"/>
                  <a:pt x="426" y="272"/>
                  <a:pt x="413" y="301"/>
                </a:cubicBezTo>
                <a:cubicBezTo>
                  <a:pt x="395" y="338"/>
                  <a:pt x="358" y="366"/>
                  <a:pt x="326" y="366"/>
                </a:cubicBezTo>
                <a:cubicBezTo>
                  <a:pt x="297" y="366"/>
                  <a:pt x="271" y="349"/>
                  <a:pt x="263" y="325"/>
                </a:cubicBezTo>
                <a:cubicBezTo>
                  <a:pt x="259" y="312"/>
                  <a:pt x="262" y="299"/>
                  <a:pt x="270" y="288"/>
                </a:cubicBezTo>
                <a:cubicBezTo>
                  <a:pt x="267" y="286"/>
                  <a:pt x="263" y="286"/>
                  <a:pt x="259" y="287"/>
                </a:cubicBezTo>
                <a:cubicBezTo>
                  <a:pt x="247" y="291"/>
                  <a:pt x="235" y="306"/>
                  <a:pt x="235" y="326"/>
                </a:cubicBezTo>
                <a:cubicBezTo>
                  <a:pt x="235" y="346"/>
                  <a:pt x="254" y="376"/>
                  <a:pt x="286" y="391"/>
                </a:cubicBezTo>
                <a:cubicBezTo>
                  <a:pt x="309" y="402"/>
                  <a:pt x="356" y="413"/>
                  <a:pt x="414" y="366"/>
                </a:cubicBezTo>
                <a:cubicBezTo>
                  <a:pt x="461" y="323"/>
                  <a:pt x="477" y="272"/>
                  <a:pt x="461" y="215"/>
                </a:cubicBezTo>
                <a:cubicBezTo>
                  <a:pt x="449" y="172"/>
                  <a:pt x="423" y="142"/>
                  <a:pt x="423" y="142"/>
                </a:cubicBezTo>
                <a:cubicBezTo>
                  <a:pt x="441" y="125"/>
                  <a:pt x="441" y="125"/>
                  <a:pt x="441" y="125"/>
                </a:cubicBezTo>
                <a:cubicBezTo>
                  <a:pt x="443" y="127"/>
                  <a:pt x="561" y="264"/>
                  <a:pt x="430" y="385"/>
                </a:cubicBezTo>
                <a:cubicBezTo>
                  <a:pt x="430" y="385"/>
                  <a:pt x="430" y="385"/>
                  <a:pt x="430" y="385"/>
                </a:cubicBezTo>
                <a:cubicBezTo>
                  <a:pt x="392" y="416"/>
                  <a:pt x="358" y="425"/>
                  <a:pt x="330" y="425"/>
                </a:cubicBezTo>
                <a:cubicBezTo>
                  <a:pt x="307" y="425"/>
                  <a:pt x="288" y="419"/>
                  <a:pt x="276" y="413"/>
                </a:cubicBezTo>
                <a:cubicBezTo>
                  <a:pt x="238" y="395"/>
                  <a:pt x="211" y="359"/>
                  <a:pt x="211" y="326"/>
                </a:cubicBezTo>
                <a:cubicBezTo>
                  <a:pt x="211" y="297"/>
                  <a:pt x="228" y="271"/>
                  <a:pt x="251" y="264"/>
                </a:cubicBezTo>
                <a:cubicBezTo>
                  <a:pt x="265" y="260"/>
                  <a:pt x="278" y="262"/>
                  <a:pt x="288" y="271"/>
                </a:cubicBezTo>
                <a:cubicBezTo>
                  <a:pt x="290" y="267"/>
                  <a:pt x="291" y="263"/>
                  <a:pt x="289" y="259"/>
                </a:cubicBezTo>
                <a:cubicBezTo>
                  <a:pt x="286" y="247"/>
                  <a:pt x="270" y="235"/>
                  <a:pt x="250" y="235"/>
                </a:cubicBezTo>
                <a:cubicBezTo>
                  <a:pt x="230" y="235"/>
                  <a:pt x="201" y="255"/>
                  <a:pt x="186" y="287"/>
                </a:cubicBezTo>
                <a:cubicBezTo>
                  <a:pt x="175" y="310"/>
                  <a:pt x="163" y="357"/>
                  <a:pt x="210" y="414"/>
                </a:cubicBezTo>
                <a:cubicBezTo>
                  <a:pt x="314" y="526"/>
                  <a:pt x="430" y="428"/>
                  <a:pt x="435" y="423"/>
                </a:cubicBezTo>
                <a:cubicBezTo>
                  <a:pt x="451" y="442"/>
                  <a:pt x="451" y="442"/>
                  <a:pt x="451" y="442"/>
                </a:cubicBezTo>
                <a:cubicBezTo>
                  <a:pt x="450" y="443"/>
                  <a:pt x="393" y="492"/>
                  <a:pt x="320" y="492"/>
                </a:cubicBezTo>
                <a:cubicBezTo>
                  <a:pt x="279" y="492"/>
                  <a:pt x="234" y="477"/>
                  <a:pt x="192" y="431"/>
                </a:cubicBezTo>
                <a:cubicBezTo>
                  <a:pt x="191" y="430"/>
                  <a:pt x="191" y="430"/>
                  <a:pt x="191" y="430"/>
                </a:cubicBezTo>
                <a:cubicBezTo>
                  <a:pt x="136" y="362"/>
                  <a:pt x="150" y="304"/>
                  <a:pt x="163" y="276"/>
                </a:cubicBezTo>
                <a:cubicBezTo>
                  <a:pt x="181" y="238"/>
                  <a:pt x="218" y="211"/>
                  <a:pt x="250" y="211"/>
                </a:cubicBezTo>
                <a:cubicBezTo>
                  <a:pt x="279" y="211"/>
                  <a:pt x="305" y="228"/>
                  <a:pt x="313" y="252"/>
                </a:cubicBezTo>
                <a:cubicBezTo>
                  <a:pt x="317" y="265"/>
                  <a:pt x="314" y="278"/>
                  <a:pt x="306" y="289"/>
                </a:cubicBezTo>
                <a:cubicBezTo>
                  <a:pt x="309" y="290"/>
                  <a:pt x="313" y="291"/>
                  <a:pt x="317" y="290"/>
                </a:cubicBezTo>
                <a:cubicBezTo>
                  <a:pt x="329" y="286"/>
                  <a:pt x="341" y="270"/>
                  <a:pt x="341" y="250"/>
                </a:cubicBezTo>
                <a:cubicBezTo>
                  <a:pt x="341" y="231"/>
                  <a:pt x="322" y="201"/>
                  <a:pt x="290" y="186"/>
                </a:cubicBezTo>
                <a:cubicBezTo>
                  <a:pt x="267" y="175"/>
                  <a:pt x="220" y="164"/>
                  <a:pt x="162" y="210"/>
                </a:cubicBezTo>
                <a:cubicBezTo>
                  <a:pt x="115" y="254"/>
                  <a:pt x="99" y="305"/>
                  <a:pt x="115" y="362"/>
                </a:cubicBezTo>
                <a:cubicBezTo>
                  <a:pt x="127" y="405"/>
                  <a:pt x="153" y="435"/>
                  <a:pt x="153" y="435"/>
                </a:cubicBezTo>
                <a:cubicBezTo>
                  <a:pt x="135" y="451"/>
                  <a:pt x="135" y="451"/>
                  <a:pt x="135" y="451"/>
                </a:cubicBezTo>
                <a:cubicBezTo>
                  <a:pt x="133" y="450"/>
                  <a:pt x="15" y="313"/>
                  <a:pt x="146" y="192"/>
                </a:cubicBezTo>
                <a:cubicBezTo>
                  <a:pt x="146" y="192"/>
                  <a:pt x="146" y="192"/>
                  <a:pt x="146" y="192"/>
                </a:cubicBezTo>
                <a:cubicBezTo>
                  <a:pt x="214" y="136"/>
                  <a:pt x="272" y="150"/>
                  <a:pt x="300" y="164"/>
                </a:cubicBezTo>
                <a:cubicBezTo>
                  <a:pt x="338" y="182"/>
                  <a:pt x="365" y="218"/>
                  <a:pt x="365" y="250"/>
                </a:cubicBezTo>
                <a:cubicBezTo>
                  <a:pt x="365" y="279"/>
                  <a:pt x="348" y="306"/>
                  <a:pt x="325" y="313"/>
                </a:cubicBezTo>
                <a:cubicBezTo>
                  <a:pt x="311" y="317"/>
                  <a:pt x="298" y="315"/>
                  <a:pt x="288" y="306"/>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6" name="Slide Number Placeholder 4">
            <a:extLst>
              <a:ext uri="{FF2B5EF4-FFF2-40B4-BE49-F238E27FC236}">
                <a16:creationId xmlns:a16="http://schemas.microsoft.com/office/drawing/2014/main" id="{8410E940-F17B-5726-12B9-4DF4D6D8C2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a:t>
            </a:fld>
            <a:endParaRPr lang="en-GB"/>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dirty="0"/>
              <a:t>Izmantotie avoti (2/2)</a:t>
            </a:r>
            <a:endParaRPr lang="en-US" dirty="0"/>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0</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dirty="0">
                <a:solidFill>
                  <a:schemeClr val="tx1"/>
                </a:solidFill>
                <a:ea typeface="Open Sans"/>
                <a:cs typeface="Open Sans"/>
              </a:rPr>
              <a:t>Valsts materiālo rezervju likums. Pieejams: </a:t>
            </a:r>
            <a:r>
              <a:rPr lang="lv-LV" sz="900" b="0" dirty="0">
                <a:solidFill>
                  <a:srgbClr val="A8192D"/>
                </a:solidFill>
                <a:ea typeface="Open Sans"/>
                <a:cs typeface="Open Sans"/>
              </a:rPr>
              <a:t>https://likumi.lv/ta/id/302995</a:t>
            </a:r>
            <a:endParaRPr lang="lv-LV" sz="900" b="0" dirty="0">
              <a:solidFill>
                <a:schemeClr val="tx1"/>
              </a:solidFill>
              <a:ea typeface="Open Sans"/>
              <a:cs typeface="Open Sans"/>
            </a:endParaRPr>
          </a:p>
          <a:p>
            <a:pPr marL="172800" indent="-172800">
              <a:spcBef>
                <a:spcPts val="300"/>
              </a:spcBef>
              <a:spcAft>
                <a:spcPts val="300"/>
              </a:spcAft>
              <a:buBlip>
                <a:blip r:embed="rId3"/>
              </a:buBlip>
            </a:pPr>
            <a:r>
              <a:rPr lang="lv-LV" sz="900" b="0" dirty="0">
                <a:solidFill>
                  <a:schemeClr val="tx1"/>
                </a:solidFill>
                <a:ea typeface="Open Sans"/>
                <a:cs typeface="Open Sans"/>
              </a:rPr>
              <a:t>Valsts ugunsdzēsības un glābšanas dienests. Katastrofu riska novērtēšanas rekomendācijas. Pieejams: </a:t>
            </a:r>
            <a:r>
              <a:rPr lang="lv-LV" sz="900" b="0" dirty="0">
                <a:solidFill>
                  <a:srgbClr val="A8192D"/>
                </a:solidFill>
                <a:ea typeface="Open Sans"/>
                <a:cs typeface="Open Sans"/>
              </a:rPr>
              <a:t>https://www.vugd.gov.lv/lv/media/340/download</a:t>
            </a:r>
          </a:p>
          <a:p>
            <a:pPr marL="172800" indent="-172800">
              <a:spcBef>
                <a:spcPts val="300"/>
              </a:spcBef>
              <a:spcAft>
                <a:spcPts val="300"/>
              </a:spcAft>
              <a:buBlip>
                <a:blip r:embed="rId3"/>
              </a:buBlip>
            </a:pPr>
            <a:r>
              <a:rPr lang="lv-LV" sz="900" b="0" dirty="0">
                <a:solidFill>
                  <a:schemeClr val="tx1"/>
                </a:solidFill>
                <a:ea typeface="Open Sans"/>
                <a:cs typeface="Open Sans"/>
              </a:rPr>
              <a:t>Veselības ministrija. 2020. Valsts katastrofu medicīnas plāns 2020: Ieteikumi individuālo aizsardzības līdzekļu lietošanai veselības nozarē strādājošajiem. Pieejams: </a:t>
            </a:r>
            <a:r>
              <a:rPr lang="lv-LV" sz="900" b="0" dirty="0">
                <a:solidFill>
                  <a:srgbClr val="A8192D"/>
                </a:solidFill>
                <a:ea typeface="Open Sans"/>
                <a:cs typeface="Open Sans"/>
              </a:rPr>
              <a:t>https://www.nmpd.gov.lv/lv/media/592/download</a:t>
            </a:r>
          </a:p>
        </p:txBody>
      </p:sp>
    </p:spTree>
    <p:extLst>
      <p:ext uri="{BB962C8B-B14F-4D97-AF65-F5344CB8AC3E}">
        <p14:creationId xmlns:p14="http://schemas.microsoft.com/office/powerpoint/2010/main" val="15410223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26D02910-881C-50EE-F448-D03745506520}"/>
              </a:ext>
            </a:extLst>
          </p:cNvPr>
          <p:cNvPicPr>
            <a:picLocks noGrp="1" noChangeAspect="1"/>
          </p:cNvPicPr>
          <p:nvPr>
            <p:ph type="pic" sz="quarter" idx="10"/>
          </p:nvPr>
        </p:nvPicPr>
        <p:blipFill rotWithShape="1">
          <a:blip r:embed="rId3" cstate="print">
            <a:extLst>
              <a:ext uri="{28A0092B-C50C-407E-A947-70E740481C1C}">
                <a14:useLocalDpi xmlns:a14="http://schemas.microsoft.com/office/drawing/2010/main"/>
              </a:ext>
            </a:extLst>
          </a:blip>
          <a:srcRect/>
          <a:stretch/>
        </p:blipFill>
        <p:spPr>
          <a:xfrm>
            <a:off x="4327525" y="0"/>
            <a:ext cx="7864475" cy="6858000"/>
          </a:xfrm>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p:nvPr>
        </p:nvSpPr>
        <p:spPr>
          <a:xfrm>
            <a:off x="442913" y="1893539"/>
            <a:ext cx="7418387" cy="2428875"/>
          </a:xfrm>
        </p:spPr>
        <p:txBody>
          <a:bodyPr vert="horz">
            <a:normAutofit/>
          </a:bodyPr>
          <a:lstStyle/>
          <a:p>
            <a:pPr>
              <a:lnSpc>
                <a:spcPct val="90000"/>
              </a:lnSpc>
            </a:pPr>
            <a:r>
              <a:rPr lang="lv-LV" sz="4000" dirty="0"/>
              <a:t>5</a:t>
            </a:r>
            <a:r>
              <a:rPr lang="lv-LV" sz="4000" dirty="0">
                <a:latin typeface="+mj-lt"/>
              </a:rPr>
              <a:t>.1. Katastrofu iedalījums</a:t>
            </a:r>
            <a:endParaRPr lang="en-GB" sz="4000" dirty="0">
              <a:latin typeface="+mj-lt"/>
              <a:cs typeface="Arial"/>
            </a:endParaRPr>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39015688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EF2C58F-54D4-34FE-66B6-5736E6266EE7}"/>
              </a:ext>
            </a:extLst>
          </p:cNvPr>
          <p:cNvPicPr>
            <a:picLocks noChangeAspect="1"/>
          </p:cNvPicPr>
          <p:nvPr/>
        </p:nvPicPr>
        <p:blipFill rotWithShape="1">
          <a:blip r:embed="rId2"/>
          <a:srcRect l="22517" r="22517"/>
          <a:stretch/>
        </p:blipFill>
        <p:spPr>
          <a:xfrm>
            <a:off x="8218486" y="1820719"/>
            <a:ext cx="3530601" cy="4279392"/>
          </a:xfrm>
          <a:prstGeom prst="rect">
            <a:avLst/>
          </a:prstGeom>
        </p:spPr>
      </p:pic>
      <p:sp>
        <p:nvSpPr>
          <p:cNvPr id="20" name="Rectangle 19">
            <a:extLst>
              <a:ext uri="{FF2B5EF4-FFF2-40B4-BE49-F238E27FC236}">
                <a16:creationId xmlns:a16="http://schemas.microsoft.com/office/drawing/2014/main" id="{750CFA16-F5ED-386C-ACD0-526E23BE4202}"/>
              </a:ext>
            </a:extLst>
          </p:cNvPr>
          <p:cNvSpPr/>
          <p:nvPr/>
        </p:nvSpPr>
        <p:spPr>
          <a:xfrm>
            <a:off x="1120997" y="2504729"/>
            <a:ext cx="6740303" cy="80249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Izraisījis cilvēku upurus un apdraud cilvēku dzīvību vai veselību </a:t>
            </a:r>
          </a:p>
        </p:txBody>
      </p:sp>
      <p:sp>
        <p:nvSpPr>
          <p:cNvPr id="21" name="Rectangle 20">
            <a:extLst>
              <a:ext uri="{FF2B5EF4-FFF2-40B4-BE49-F238E27FC236}">
                <a16:creationId xmlns:a16="http://schemas.microsoft.com/office/drawing/2014/main" id="{91C6A2FC-4259-0E1A-EA8F-BE3524661D43}"/>
              </a:ext>
            </a:extLst>
          </p:cNvPr>
          <p:cNvSpPr/>
          <p:nvPr/>
        </p:nvSpPr>
        <p:spPr>
          <a:xfrm>
            <a:off x="1120997" y="3459721"/>
            <a:ext cx="6740303" cy="80249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Nodarījis kaitējumu vai radījis apdraudējumu cilvēkiem, videi vai īpašumam </a:t>
            </a:r>
          </a:p>
        </p:txBody>
      </p:sp>
      <p:sp>
        <p:nvSpPr>
          <p:cNvPr id="22" name="Rectangle 21">
            <a:extLst>
              <a:ext uri="{FF2B5EF4-FFF2-40B4-BE49-F238E27FC236}">
                <a16:creationId xmlns:a16="http://schemas.microsoft.com/office/drawing/2014/main" id="{75EA268C-A12C-D491-C7B4-029D7DB4BA16}"/>
              </a:ext>
            </a:extLst>
          </p:cNvPr>
          <p:cNvSpPr/>
          <p:nvPr/>
        </p:nvSpPr>
        <p:spPr>
          <a:xfrm>
            <a:off x="1120997" y="4414712"/>
            <a:ext cx="6740303" cy="80249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Radījis vai rada būtiskus materiālos un finansiālos zaudējumus</a:t>
            </a:r>
          </a:p>
        </p:txBody>
      </p:sp>
      <p:sp>
        <p:nvSpPr>
          <p:cNvPr id="23" name="Rectangle 22">
            <a:extLst>
              <a:ext uri="{FF2B5EF4-FFF2-40B4-BE49-F238E27FC236}">
                <a16:creationId xmlns:a16="http://schemas.microsoft.com/office/drawing/2014/main" id="{054BFABF-5CDC-512F-603C-F85814449FD9}"/>
              </a:ext>
            </a:extLst>
          </p:cNvPr>
          <p:cNvSpPr/>
          <p:nvPr/>
        </p:nvSpPr>
        <p:spPr>
          <a:xfrm>
            <a:off x="1120997" y="5369704"/>
            <a:ext cx="6740303" cy="80249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Pārsniedz atbildīgo valsts un pašvaldības institūciju ikdienas spējas novērst notikuma postošos apstākļus</a:t>
            </a:r>
          </a:p>
        </p:txBody>
      </p:sp>
      <p:sp>
        <p:nvSpPr>
          <p:cNvPr id="29" name="Rectangle 28">
            <a:extLst>
              <a:ext uri="{FF2B5EF4-FFF2-40B4-BE49-F238E27FC236}">
                <a16:creationId xmlns:a16="http://schemas.microsoft.com/office/drawing/2014/main" id="{B65C18E6-C22E-6CD8-E276-2D1BC6F90630}"/>
              </a:ext>
            </a:extLst>
          </p:cNvPr>
          <p:cNvSpPr/>
          <p:nvPr/>
        </p:nvSpPr>
        <p:spPr>
          <a:xfrm>
            <a:off x="441326" y="2507719"/>
            <a:ext cx="576000" cy="799506"/>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2" name="Rectangle 31">
            <a:extLst>
              <a:ext uri="{FF2B5EF4-FFF2-40B4-BE49-F238E27FC236}">
                <a16:creationId xmlns:a16="http://schemas.microsoft.com/office/drawing/2014/main" id="{1C3BFF3D-CC40-8F41-6018-083CF770D94B}"/>
              </a:ext>
            </a:extLst>
          </p:cNvPr>
          <p:cNvSpPr/>
          <p:nvPr/>
        </p:nvSpPr>
        <p:spPr>
          <a:xfrm>
            <a:off x="441326" y="3462710"/>
            <a:ext cx="576000" cy="799506"/>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5" name="Rectangle 34">
            <a:extLst>
              <a:ext uri="{FF2B5EF4-FFF2-40B4-BE49-F238E27FC236}">
                <a16:creationId xmlns:a16="http://schemas.microsoft.com/office/drawing/2014/main" id="{42FE9F86-59A7-A9BA-CF35-594480594898}"/>
              </a:ext>
            </a:extLst>
          </p:cNvPr>
          <p:cNvSpPr/>
          <p:nvPr/>
        </p:nvSpPr>
        <p:spPr>
          <a:xfrm>
            <a:off x="441326" y="4417702"/>
            <a:ext cx="576000" cy="799506"/>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8" name="Rectangle 37">
            <a:extLst>
              <a:ext uri="{FF2B5EF4-FFF2-40B4-BE49-F238E27FC236}">
                <a16:creationId xmlns:a16="http://schemas.microsoft.com/office/drawing/2014/main" id="{45CCED97-0FBC-2B30-577C-38C777A8CE64}"/>
              </a:ext>
            </a:extLst>
          </p:cNvPr>
          <p:cNvSpPr/>
          <p:nvPr/>
        </p:nvSpPr>
        <p:spPr>
          <a:xfrm>
            <a:off x="441326" y="5372694"/>
            <a:ext cx="576000" cy="799506"/>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1" name="Title 10">
            <a:extLst>
              <a:ext uri="{FF2B5EF4-FFF2-40B4-BE49-F238E27FC236}">
                <a16:creationId xmlns:a16="http://schemas.microsoft.com/office/drawing/2014/main" id="{EE55BA21-9819-DAD8-7F67-6DA2DCD17D80}"/>
              </a:ext>
            </a:extLst>
          </p:cNvPr>
          <p:cNvSpPr>
            <a:spLocks noGrp="1"/>
          </p:cNvSpPr>
          <p:nvPr>
            <p:ph type="title"/>
          </p:nvPr>
        </p:nvSpPr>
        <p:spPr>
          <a:xfrm>
            <a:off x="442913" y="432001"/>
            <a:ext cx="11306175" cy="1387274"/>
          </a:xfrm>
        </p:spPr>
        <p:txBody>
          <a:bodyPr vert="horz"/>
          <a:lstStyle/>
          <a:p>
            <a:r>
              <a:rPr lang="lv-LV"/>
              <a:t>Katastrofas definīcija</a:t>
            </a:r>
            <a:endParaRPr lang="cs-CZ"/>
          </a:p>
        </p:txBody>
      </p:sp>
      <p:sp>
        <p:nvSpPr>
          <p:cNvPr id="25" name="Rectangle 24">
            <a:extLst>
              <a:ext uri="{FF2B5EF4-FFF2-40B4-BE49-F238E27FC236}">
                <a16:creationId xmlns:a16="http://schemas.microsoft.com/office/drawing/2014/main" id="{2C057126-F7D2-B911-E8D0-753C0D5EC6CE}"/>
              </a:ext>
            </a:extLst>
          </p:cNvPr>
          <p:cNvSpPr/>
          <p:nvPr/>
        </p:nvSpPr>
        <p:spPr>
          <a:xfrm>
            <a:off x="441326" y="1819275"/>
            <a:ext cx="7419974"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b="1"/>
              <a:t>Notikums, kas </a:t>
            </a:r>
          </a:p>
        </p:txBody>
      </p:sp>
      <p:sp>
        <p:nvSpPr>
          <p:cNvPr id="26" name="Rectangle 25">
            <a:extLst>
              <a:ext uri="{FF2B5EF4-FFF2-40B4-BE49-F238E27FC236}">
                <a16:creationId xmlns:a16="http://schemas.microsoft.com/office/drawing/2014/main" id="{2129DD34-A2A2-5891-579A-FEA7E25217A4}"/>
              </a:ext>
            </a:extLst>
          </p:cNvPr>
          <p:cNvSpPr/>
          <p:nvPr/>
        </p:nvSpPr>
        <p:spPr>
          <a:xfrm>
            <a:off x="7285300"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Rectangle 26">
            <a:extLst>
              <a:ext uri="{FF2B5EF4-FFF2-40B4-BE49-F238E27FC236}">
                <a16:creationId xmlns:a16="http://schemas.microsoft.com/office/drawing/2014/main" id="{29D43E03-FF0F-024A-2BD7-E0E894F6B19E}"/>
              </a:ext>
            </a:extLst>
          </p:cNvPr>
          <p:cNvSpPr/>
          <p:nvPr/>
        </p:nvSpPr>
        <p:spPr>
          <a:xfrm>
            <a:off x="72144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0" name="L-Shape 29">
            <a:extLst>
              <a:ext uri="{FF2B5EF4-FFF2-40B4-BE49-F238E27FC236}">
                <a16:creationId xmlns:a16="http://schemas.microsoft.com/office/drawing/2014/main" id="{D05B0344-CD6B-3B95-8FFC-80EDB8DE239D}"/>
              </a:ext>
            </a:extLst>
          </p:cNvPr>
          <p:cNvSpPr/>
          <p:nvPr/>
        </p:nvSpPr>
        <p:spPr>
          <a:xfrm rot="13500000">
            <a:off x="580626" y="2786927"/>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3" name="L-Shape 32">
            <a:extLst>
              <a:ext uri="{FF2B5EF4-FFF2-40B4-BE49-F238E27FC236}">
                <a16:creationId xmlns:a16="http://schemas.microsoft.com/office/drawing/2014/main" id="{249250FB-3C78-D8FA-6BD8-0AEAFC9DFFC6}"/>
              </a:ext>
            </a:extLst>
          </p:cNvPr>
          <p:cNvSpPr/>
          <p:nvPr/>
        </p:nvSpPr>
        <p:spPr>
          <a:xfrm rot="13500000">
            <a:off x="580626" y="3741919"/>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6" name="L-Shape 35">
            <a:extLst>
              <a:ext uri="{FF2B5EF4-FFF2-40B4-BE49-F238E27FC236}">
                <a16:creationId xmlns:a16="http://schemas.microsoft.com/office/drawing/2014/main" id="{D12C8F09-B0C4-C713-CEB8-853BC711F8E3}"/>
              </a:ext>
            </a:extLst>
          </p:cNvPr>
          <p:cNvSpPr/>
          <p:nvPr/>
        </p:nvSpPr>
        <p:spPr>
          <a:xfrm rot="13500000">
            <a:off x="580626" y="4696911"/>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9" name="L-Shape 38">
            <a:extLst>
              <a:ext uri="{FF2B5EF4-FFF2-40B4-BE49-F238E27FC236}">
                <a16:creationId xmlns:a16="http://schemas.microsoft.com/office/drawing/2014/main" id="{136883E1-A605-321E-7AC7-DFB74ED22F1A}"/>
              </a:ext>
            </a:extLst>
          </p:cNvPr>
          <p:cNvSpPr/>
          <p:nvPr/>
        </p:nvSpPr>
        <p:spPr>
          <a:xfrm rot="13500000">
            <a:off x="580626" y="5651902"/>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52" name="Google Shape;707;p79">
            <a:extLst>
              <a:ext uri="{FF2B5EF4-FFF2-40B4-BE49-F238E27FC236}">
                <a16:creationId xmlns:a16="http://schemas.microsoft.com/office/drawing/2014/main" id="{7FBF9839-3C9A-FA6B-C072-414A4EAC8495}"/>
              </a:ext>
            </a:extLst>
          </p:cNvPr>
          <p:cNvGrpSpPr/>
          <p:nvPr/>
        </p:nvGrpSpPr>
        <p:grpSpPr>
          <a:xfrm>
            <a:off x="7393300" y="1927275"/>
            <a:ext cx="360000" cy="360000"/>
            <a:chOff x="4276447" y="6040963"/>
            <a:chExt cx="457199" cy="457200"/>
          </a:xfrm>
          <a:solidFill>
            <a:schemeClr val="bg1"/>
          </a:solidFill>
        </p:grpSpPr>
        <p:sp>
          <p:nvSpPr>
            <p:cNvPr id="53" name="Google Shape;708;p79">
              <a:extLst>
                <a:ext uri="{FF2B5EF4-FFF2-40B4-BE49-F238E27FC236}">
                  <a16:creationId xmlns:a16="http://schemas.microsoft.com/office/drawing/2014/main" id="{21D0DF5D-03F8-D66E-5827-4C19958DF431}"/>
                </a:ext>
              </a:extLst>
            </p:cNvPr>
            <p:cNvSpPr/>
            <p:nvPr/>
          </p:nvSpPr>
          <p:spPr>
            <a:xfrm>
              <a:off x="4276447" y="6040963"/>
              <a:ext cx="457199" cy="457200"/>
            </a:xfrm>
            <a:custGeom>
              <a:avLst/>
              <a:gdLst/>
              <a:ahLst/>
              <a:cxnLst/>
              <a:rect l="l" t="t" r="r" b="b"/>
              <a:pathLst>
                <a:path w="457199" h="457200" extrusionOk="0">
                  <a:moveTo>
                    <a:pt x="0" y="0"/>
                  </a:moveTo>
                  <a:lnTo>
                    <a:pt x="0" y="375222"/>
                  </a:lnTo>
                  <a:lnTo>
                    <a:pt x="62611" y="375222"/>
                  </a:lnTo>
                  <a:lnTo>
                    <a:pt x="62611" y="457200"/>
                  </a:lnTo>
                  <a:lnTo>
                    <a:pt x="144590" y="375095"/>
                  </a:lnTo>
                  <a:lnTo>
                    <a:pt x="457200" y="375095"/>
                  </a:lnTo>
                  <a:lnTo>
                    <a:pt x="457200" y="0"/>
                  </a:lnTo>
                  <a:close/>
                  <a:moveTo>
                    <a:pt x="136525" y="355600"/>
                  </a:moveTo>
                  <a:lnTo>
                    <a:pt x="82106" y="409988"/>
                  </a:lnTo>
                  <a:lnTo>
                    <a:pt x="82106" y="355600"/>
                  </a:lnTo>
                  <a:lnTo>
                    <a:pt x="19463" y="355600"/>
                  </a:lnTo>
                  <a:lnTo>
                    <a:pt x="19463" y="19368"/>
                  </a:lnTo>
                  <a:lnTo>
                    <a:pt x="437706" y="19368"/>
                  </a:lnTo>
                  <a:lnTo>
                    <a:pt x="436975" y="35560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sp>
          <p:nvSpPr>
            <p:cNvPr id="54" name="Google Shape;709;p79">
              <a:extLst>
                <a:ext uri="{FF2B5EF4-FFF2-40B4-BE49-F238E27FC236}">
                  <a16:creationId xmlns:a16="http://schemas.microsoft.com/office/drawing/2014/main" id="{17E318ED-B1B6-2D87-639E-B263BFEF1021}"/>
                </a:ext>
              </a:extLst>
            </p:cNvPr>
            <p:cNvSpPr/>
            <p:nvPr/>
          </p:nvSpPr>
          <p:spPr>
            <a:xfrm>
              <a:off x="4483235" y="6106907"/>
              <a:ext cx="52197" cy="247554"/>
            </a:xfrm>
            <a:custGeom>
              <a:avLst/>
              <a:gdLst/>
              <a:ahLst/>
              <a:cxnLst/>
              <a:rect l="l" t="t" r="r" b="b"/>
              <a:pathLst>
                <a:path w="52197" h="247554" extrusionOk="0">
                  <a:moveTo>
                    <a:pt x="52197" y="196215"/>
                  </a:moveTo>
                  <a:lnTo>
                    <a:pt x="52197" y="247555"/>
                  </a:lnTo>
                  <a:lnTo>
                    <a:pt x="0" y="247555"/>
                  </a:lnTo>
                  <a:lnTo>
                    <a:pt x="0" y="196215"/>
                  </a:lnTo>
                  <a:close/>
                  <a:moveTo>
                    <a:pt x="37529" y="166687"/>
                  </a:moveTo>
                  <a:lnTo>
                    <a:pt x="13843" y="166687"/>
                  </a:lnTo>
                  <a:lnTo>
                    <a:pt x="1143" y="64008"/>
                  </a:lnTo>
                  <a:lnTo>
                    <a:pt x="1143" y="0"/>
                  </a:lnTo>
                  <a:lnTo>
                    <a:pt x="50514" y="0"/>
                  </a:lnTo>
                  <a:lnTo>
                    <a:pt x="50514" y="64008"/>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grpSp>
      <p:sp>
        <p:nvSpPr>
          <p:cNvPr id="55" name="Slide Number Placeholder 4">
            <a:extLst>
              <a:ext uri="{FF2B5EF4-FFF2-40B4-BE49-F238E27FC236}">
                <a16:creationId xmlns:a16="http://schemas.microsoft.com/office/drawing/2014/main" id="{6E8DC5A1-28C4-6DA0-F0AF-F9586FA75732}"/>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6</a:t>
            </a:fld>
            <a:endParaRPr lang="en-GB"/>
          </a:p>
        </p:txBody>
      </p:sp>
      <p:grpSp>
        <p:nvGrpSpPr>
          <p:cNvPr id="14" name="Group 13">
            <a:extLst>
              <a:ext uri="{FF2B5EF4-FFF2-40B4-BE49-F238E27FC236}">
                <a16:creationId xmlns:a16="http://schemas.microsoft.com/office/drawing/2014/main" id="{B1F1A040-01B9-2CA9-73CD-EC8883670C4D}"/>
              </a:ext>
            </a:extLst>
          </p:cNvPr>
          <p:cNvGrpSpPr/>
          <p:nvPr/>
        </p:nvGrpSpPr>
        <p:grpSpPr>
          <a:xfrm>
            <a:off x="8218488" y="5559425"/>
            <a:ext cx="3530600" cy="612775"/>
            <a:chOff x="8218488" y="5369703"/>
            <a:chExt cx="3530600" cy="612775"/>
          </a:xfrm>
        </p:grpSpPr>
        <p:sp>
          <p:nvSpPr>
            <p:cNvPr id="10" name="Rectangle 9">
              <a:extLst>
                <a:ext uri="{FF2B5EF4-FFF2-40B4-BE49-F238E27FC236}">
                  <a16:creationId xmlns:a16="http://schemas.microsoft.com/office/drawing/2014/main" id="{EFE34E8E-2062-28F4-360D-B819551E74D2}"/>
                </a:ext>
              </a:extLst>
            </p:cNvPr>
            <p:cNvSpPr/>
            <p:nvPr/>
          </p:nvSpPr>
          <p:spPr>
            <a:xfrm>
              <a:off x="8218488" y="5369703"/>
              <a:ext cx="3530600" cy="61277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576000" r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100000"/>
                </a:lnSpc>
                <a:spcAft>
                  <a:spcPts val="600"/>
                </a:spcAft>
                <a:buSzPct val="100000"/>
              </a:pPr>
              <a:r>
                <a:rPr lang="lv-LV" sz="1400" dirty="0">
                  <a:solidFill>
                    <a:schemeClr val="tx1"/>
                  </a:solidFill>
                  <a:hlinkClick r:id="rId3">
                    <a:extLst>
                      <a:ext uri="{A12FA001-AC4F-418D-AE19-62706E023703}">
                        <ahyp:hlinkClr xmlns:ahyp="http://schemas.microsoft.com/office/drawing/2018/hyperlinkcolor" val="tx"/>
                      </a:ext>
                    </a:extLst>
                  </a:hlinkClick>
                </a:rPr>
                <a:t>Civilās aizsardzības un katastrofas pārvaldīšanas likums</a:t>
              </a:r>
              <a:endParaRPr lang="lv-LV" sz="1400" dirty="0">
                <a:solidFill>
                  <a:schemeClr val="tx1"/>
                </a:solidFill>
              </a:endParaRPr>
            </a:p>
          </p:txBody>
        </p:sp>
        <p:sp>
          <p:nvSpPr>
            <p:cNvPr id="12" name="Freeform 50">
              <a:extLst>
                <a:ext uri="{FF2B5EF4-FFF2-40B4-BE49-F238E27FC236}">
                  <a16:creationId xmlns:a16="http://schemas.microsoft.com/office/drawing/2014/main" id="{6FF4D2E4-B8B0-227F-947E-7050D674DA88}"/>
                </a:ext>
              </a:extLst>
            </p:cNvPr>
            <p:cNvSpPr>
              <a:spLocks noChangeAspect="1"/>
            </p:cNvSpPr>
            <p:nvPr/>
          </p:nvSpPr>
          <p:spPr bwMode="auto">
            <a:xfrm>
              <a:off x="8369726" y="553448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83"/>
            </a:p>
          </p:txBody>
        </p:sp>
      </p:grpSp>
      <p:grpSp>
        <p:nvGrpSpPr>
          <p:cNvPr id="31" name="Group 30">
            <a:extLst>
              <a:ext uri="{FF2B5EF4-FFF2-40B4-BE49-F238E27FC236}">
                <a16:creationId xmlns:a16="http://schemas.microsoft.com/office/drawing/2014/main" id="{6AC2C522-13D0-4489-BECF-95273BB0F45D}"/>
              </a:ext>
            </a:extLst>
          </p:cNvPr>
          <p:cNvGrpSpPr/>
          <p:nvPr/>
        </p:nvGrpSpPr>
        <p:grpSpPr>
          <a:xfrm>
            <a:off x="8801780" y="159786"/>
            <a:ext cx="2947308" cy="217488"/>
            <a:chOff x="8801780" y="815106"/>
            <a:chExt cx="2947308" cy="217488"/>
          </a:xfrm>
        </p:grpSpPr>
        <p:sp>
          <p:nvSpPr>
            <p:cNvPr id="34" name="Rectangle 33">
              <a:extLst>
                <a:ext uri="{FF2B5EF4-FFF2-40B4-BE49-F238E27FC236}">
                  <a16:creationId xmlns:a16="http://schemas.microsoft.com/office/drawing/2014/main" id="{13C52B32-7272-5DF1-1395-967452873F3C}"/>
                </a:ext>
              </a:extLst>
            </p:cNvPr>
            <p:cNvSpPr/>
            <p:nvPr/>
          </p:nvSpPr>
          <p:spPr>
            <a:xfrm>
              <a:off x="8801780" y="81510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5</a:t>
              </a:r>
              <a:r>
                <a:rPr kumimoji="0" lang="lv-LV" sz="800" b="1" i="0" u="none" strike="noStrike" kern="0" cap="none" spc="0" normalizeH="0" baseline="0" dirty="0">
                  <a:ln>
                    <a:noFill/>
                  </a:ln>
                  <a:effectLst/>
                  <a:uLnTx/>
                  <a:uFillTx/>
                  <a:ea typeface="Georgia"/>
                  <a:cs typeface="Georgia"/>
                  <a:sym typeface="Georgia"/>
                </a:rPr>
                <a:t>.</a:t>
              </a:r>
              <a:r>
                <a:rPr lang="en-US" sz="800" b="1" kern="0" dirty="0">
                  <a:ea typeface="Georgia"/>
                  <a:cs typeface="Georgia"/>
                  <a:sym typeface="Georgia"/>
                </a:rPr>
                <a:t>1</a:t>
              </a:r>
              <a:endParaRPr kumimoji="0" lang="lv-LV" sz="800" b="1" i="0" u="none" strike="noStrike" kern="0" cap="none" spc="0" normalizeH="0" baseline="0" dirty="0">
                <a:ln>
                  <a:noFill/>
                </a:ln>
                <a:effectLst/>
                <a:uLnTx/>
                <a:uFillTx/>
                <a:ea typeface="Georgia"/>
                <a:cs typeface="Georgia"/>
                <a:sym typeface="Georgia"/>
              </a:endParaRPr>
            </a:p>
          </p:txBody>
        </p:sp>
        <p:sp>
          <p:nvSpPr>
            <p:cNvPr id="37" name="Rectangle 36">
              <a:extLst>
                <a:ext uri="{FF2B5EF4-FFF2-40B4-BE49-F238E27FC236}">
                  <a16:creationId xmlns:a16="http://schemas.microsoft.com/office/drawing/2014/main" id="{A462C7F6-1F0B-2722-28CE-92E075950C00}"/>
                </a:ext>
              </a:extLst>
            </p:cNvPr>
            <p:cNvSpPr/>
            <p:nvPr/>
          </p:nvSpPr>
          <p:spPr>
            <a:xfrm>
              <a:off x="11049434" y="81510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lang="en-US" sz="800" b="1" kern="0" dirty="0">
                  <a:solidFill>
                    <a:srgbClr val="A4A3B2"/>
                  </a:solidFill>
                  <a:ea typeface="Georgia"/>
                  <a:cs typeface="Georgia"/>
                  <a:sym typeface="Georgia"/>
                </a:rPr>
                <a:t>2</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40" name="Rectangle 39">
              <a:extLst>
                <a:ext uri="{FF2B5EF4-FFF2-40B4-BE49-F238E27FC236}">
                  <a16:creationId xmlns:a16="http://schemas.microsoft.com/office/drawing/2014/main" id="{773C33EA-E528-B436-C8EA-0E8D3C038DD9}"/>
                </a:ext>
              </a:extLst>
            </p:cNvPr>
            <p:cNvSpPr/>
            <p:nvPr/>
          </p:nvSpPr>
          <p:spPr>
            <a:xfrm>
              <a:off x="9043607" y="815106"/>
              <a:ext cx="198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Katastrofu </a:t>
              </a:r>
              <a:r>
                <a:rPr kumimoji="0" lang="en-US" sz="800" b="1" i="0" u="none" strike="noStrike" kern="0" cap="none" spc="0" normalizeH="0" baseline="0" dirty="0" err="1">
                  <a:ln>
                    <a:noFill/>
                  </a:ln>
                  <a:effectLst/>
                  <a:uLnTx/>
                  <a:uFillTx/>
                  <a:ea typeface="Georgia"/>
                  <a:cs typeface="Georgia"/>
                  <a:sym typeface="Georgia"/>
                </a:rPr>
                <a:t>iedalījums</a:t>
              </a:r>
              <a:endParaRPr kumimoji="0" lang="en-US" sz="800" b="1" i="0" u="none" strike="noStrike" kern="0" cap="none" spc="0" normalizeH="0" baseline="0" dirty="0">
                <a:ln>
                  <a:noFill/>
                </a:ln>
                <a:effectLst/>
                <a:uLnTx/>
                <a:uFillTx/>
                <a:ea typeface="Georgia"/>
                <a:cs typeface="Georgia"/>
                <a:sym typeface="Georgia"/>
              </a:endParaRPr>
            </a:p>
          </p:txBody>
        </p:sp>
        <p:sp>
          <p:nvSpPr>
            <p:cNvPr id="41" name="Rectangle 40">
              <a:extLst>
                <a:ext uri="{FF2B5EF4-FFF2-40B4-BE49-F238E27FC236}">
                  <a16:creationId xmlns:a16="http://schemas.microsoft.com/office/drawing/2014/main" id="{6E8AA8EF-583C-A8DE-D8B8-DA4A5699B860}"/>
                </a:ext>
              </a:extLst>
            </p:cNvPr>
            <p:cNvSpPr/>
            <p:nvPr/>
          </p:nvSpPr>
          <p:spPr>
            <a:xfrm>
              <a:off x="11291261" y="81510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3</a:t>
              </a:r>
            </a:p>
          </p:txBody>
        </p:sp>
        <p:sp>
          <p:nvSpPr>
            <p:cNvPr id="42" name="Rectangle 41">
              <a:extLst>
                <a:ext uri="{FF2B5EF4-FFF2-40B4-BE49-F238E27FC236}">
                  <a16:creationId xmlns:a16="http://schemas.microsoft.com/office/drawing/2014/main" id="{F35865C1-97C8-5140-2D1C-EB97EE56BC8A}"/>
                </a:ext>
              </a:extLst>
            </p:cNvPr>
            <p:cNvSpPr/>
            <p:nvPr/>
          </p:nvSpPr>
          <p:spPr>
            <a:xfrm>
              <a:off x="11533088" y="81510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16781787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Connector: Elbow 7">
            <a:extLst>
              <a:ext uri="{FF2B5EF4-FFF2-40B4-BE49-F238E27FC236}">
                <a16:creationId xmlns:a16="http://schemas.microsoft.com/office/drawing/2014/main" id="{2A5B4B87-A354-6B3E-9DB9-22F74AD5BB96}"/>
              </a:ext>
            </a:extLst>
          </p:cNvPr>
          <p:cNvCxnSpPr>
            <a:stCxn id="10" idx="2"/>
            <a:endCxn id="11" idx="0"/>
          </p:cNvCxnSpPr>
          <p:nvPr/>
        </p:nvCxnSpPr>
        <p:spPr>
          <a:xfrm rot="5400000">
            <a:off x="3621686" y="125638"/>
            <a:ext cx="195542" cy="4753088"/>
          </a:xfrm>
          <a:prstGeom prst="bentConnector3">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0" name="Connector: Elbow 19">
            <a:extLst>
              <a:ext uri="{FF2B5EF4-FFF2-40B4-BE49-F238E27FC236}">
                <a16:creationId xmlns:a16="http://schemas.microsoft.com/office/drawing/2014/main" id="{D18B4F60-5B17-5690-8087-22A883BB58A5}"/>
              </a:ext>
            </a:extLst>
          </p:cNvPr>
          <p:cNvCxnSpPr>
            <a:stCxn id="10" idx="2"/>
            <a:endCxn id="16" idx="0"/>
          </p:cNvCxnSpPr>
          <p:nvPr/>
        </p:nvCxnSpPr>
        <p:spPr>
          <a:xfrm rot="16200000" flipH="1">
            <a:off x="8374773" y="125638"/>
            <a:ext cx="195542" cy="4753087"/>
          </a:xfrm>
          <a:prstGeom prst="bentConnector3">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5" name="Connector: Elbow 24">
            <a:extLst>
              <a:ext uri="{FF2B5EF4-FFF2-40B4-BE49-F238E27FC236}">
                <a16:creationId xmlns:a16="http://schemas.microsoft.com/office/drawing/2014/main" id="{E65D8421-A167-A20C-C720-52A96D1EAA69}"/>
              </a:ext>
            </a:extLst>
          </p:cNvPr>
          <p:cNvCxnSpPr>
            <a:stCxn id="10" idx="2"/>
            <a:endCxn id="15" idx="0"/>
          </p:cNvCxnSpPr>
          <p:nvPr/>
        </p:nvCxnSpPr>
        <p:spPr>
          <a:xfrm rot="16200000" flipH="1">
            <a:off x="7424156" y="1076256"/>
            <a:ext cx="195542" cy="2851852"/>
          </a:xfrm>
          <a:prstGeom prst="bentConnector3">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1" name="Connector: Elbow 30">
            <a:extLst>
              <a:ext uri="{FF2B5EF4-FFF2-40B4-BE49-F238E27FC236}">
                <a16:creationId xmlns:a16="http://schemas.microsoft.com/office/drawing/2014/main" id="{43B84AF1-C63A-8178-0865-2C14FAB5AE38}"/>
              </a:ext>
            </a:extLst>
          </p:cNvPr>
          <p:cNvCxnSpPr>
            <a:stCxn id="10" idx="2"/>
            <a:endCxn id="12" idx="0"/>
          </p:cNvCxnSpPr>
          <p:nvPr/>
        </p:nvCxnSpPr>
        <p:spPr>
          <a:xfrm rot="5400000">
            <a:off x="4572304" y="1076256"/>
            <a:ext cx="195542" cy="2851853"/>
          </a:xfrm>
          <a:prstGeom prst="bentConnector3">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8" name="Connector: Elbow 37">
            <a:extLst>
              <a:ext uri="{FF2B5EF4-FFF2-40B4-BE49-F238E27FC236}">
                <a16:creationId xmlns:a16="http://schemas.microsoft.com/office/drawing/2014/main" id="{E7EA3359-9B2B-A0BE-7C7B-9024392953F7}"/>
              </a:ext>
            </a:extLst>
          </p:cNvPr>
          <p:cNvCxnSpPr>
            <a:stCxn id="10" idx="2"/>
            <a:endCxn id="13" idx="0"/>
          </p:cNvCxnSpPr>
          <p:nvPr/>
        </p:nvCxnSpPr>
        <p:spPr>
          <a:xfrm rot="5400000">
            <a:off x="5522921" y="2026873"/>
            <a:ext cx="195542" cy="950618"/>
          </a:xfrm>
          <a:prstGeom prst="bentConnector3">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1" name="Connector: Elbow 40">
            <a:extLst>
              <a:ext uri="{FF2B5EF4-FFF2-40B4-BE49-F238E27FC236}">
                <a16:creationId xmlns:a16="http://schemas.microsoft.com/office/drawing/2014/main" id="{E941BDD3-0E19-BF12-852D-EE1EF47230C1}"/>
              </a:ext>
            </a:extLst>
          </p:cNvPr>
          <p:cNvCxnSpPr>
            <a:stCxn id="10" idx="2"/>
            <a:endCxn id="14" idx="0"/>
          </p:cNvCxnSpPr>
          <p:nvPr/>
        </p:nvCxnSpPr>
        <p:spPr>
          <a:xfrm rot="16200000" flipH="1">
            <a:off x="6473538" y="2026873"/>
            <a:ext cx="195542" cy="950617"/>
          </a:xfrm>
          <a:prstGeom prst="bentConnector3">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4" name="Straight Connector 43">
            <a:extLst>
              <a:ext uri="{FF2B5EF4-FFF2-40B4-BE49-F238E27FC236}">
                <a16:creationId xmlns:a16="http://schemas.microsoft.com/office/drawing/2014/main" id="{34AC6855-5907-9E00-AD61-B7310F3BCDA4}"/>
              </a:ext>
            </a:extLst>
          </p:cNvPr>
          <p:cNvCxnSpPr>
            <a:stCxn id="11" idx="2"/>
            <a:endCxn id="18" idx="0"/>
          </p:cNvCxnSpPr>
          <p:nvPr/>
        </p:nvCxnSpPr>
        <p:spPr>
          <a:xfrm flipH="1">
            <a:off x="1342801" y="3031953"/>
            <a:ext cx="112" cy="780898"/>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6" name="Straight Connector 45">
            <a:extLst>
              <a:ext uri="{FF2B5EF4-FFF2-40B4-BE49-F238E27FC236}">
                <a16:creationId xmlns:a16="http://schemas.microsoft.com/office/drawing/2014/main" id="{64AF8FA9-E4F8-6EFF-CEEA-4FCCE08988EA}"/>
              </a:ext>
            </a:extLst>
          </p:cNvPr>
          <p:cNvCxnSpPr>
            <a:stCxn id="12" idx="2"/>
            <a:endCxn id="30" idx="0"/>
          </p:cNvCxnSpPr>
          <p:nvPr/>
        </p:nvCxnSpPr>
        <p:spPr>
          <a:xfrm flipH="1">
            <a:off x="3244036" y="3031953"/>
            <a:ext cx="112" cy="174449"/>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0" name="Straight Connector 49">
            <a:extLst>
              <a:ext uri="{FF2B5EF4-FFF2-40B4-BE49-F238E27FC236}">
                <a16:creationId xmlns:a16="http://schemas.microsoft.com/office/drawing/2014/main" id="{5ABAD64B-9274-89CF-615B-EF305757E18B}"/>
              </a:ext>
            </a:extLst>
          </p:cNvPr>
          <p:cNvCxnSpPr>
            <a:stCxn id="13" idx="2"/>
            <a:endCxn id="23" idx="0"/>
          </p:cNvCxnSpPr>
          <p:nvPr/>
        </p:nvCxnSpPr>
        <p:spPr>
          <a:xfrm flipH="1">
            <a:off x="5145271" y="3031953"/>
            <a:ext cx="112" cy="1387347"/>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4" name="Straight Connector 53">
            <a:extLst>
              <a:ext uri="{FF2B5EF4-FFF2-40B4-BE49-F238E27FC236}">
                <a16:creationId xmlns:a16="http://schemas.microsoft.com/office/drawing/2014/main" id="{41ECA2CD-32FC-2C08-3895-DBF1A179250E}"/>
              </a:ext>
            </a:extLst>
          </p:cNvPr>
          <p:cNvCxnSpPr>
            <a:stCxn id="14" idx="2"/>
            <a:endCxn id="37" idx="0"/>
          </p:cNvCxnSpPr>
          <p:nvPr/>
        </p:nvCxnSpPr>
        <p:spPr>
          <a:xfrm flipH="1">
            <a:off x="7046506" y="3031953"/>
            <a:ext cx="112" cy="2708245"/>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8" name="Straight Connector 57">
            <a:extLst>
              <a:ext uri="{FF2B5EF4-FFF2-40B4-BE49-F238E27FC236}">
                <a16:creationId xmlns:a16="http://schemas.microsoft.com/office/drawing/2014/main" id="{FEF0C8D5-9DE4-7D4A-8D7B-BAD82B86346C}"/>
              </a:ext>
            </a:extLst>
          </p:cNvPr>
          <p:cNvCxnSpPr>
            <a:stCxn id="15" idx="2"/>
            <a:endCxn id="28" idx="0"/>
          </p:cNvCxnSpPr>
          <p:nvPr/>
        </p:nvCxnSpPr>
        <p:spPr>
          <a:xfrm flipH="1">
            <a:off x="8947741" y="3031953"/>
            <a:ext cx="112" cy="1387347"/>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9" name="Title 8">
            <a:extLst>
              <a:ext uri="{FF2B5EF4-FFF2-40B4-BE49-F238E27FC236}">
                <a16:creationId xmlns:a16="http://schemas.microsoft.com/office/drawing/2014/main" id="{4475DEDF-2E62-D309-2387-E099871C9317}"/>
              </a:ext>
            </a:extLst>
          </p:cNvPr>
          <p:cNvSpPr>
            <a:spLocks noGrp="1"/>
          </p:cNvSpPr>
          <p:nvPr>
            <p:ph type="title"/>
          </p:nvPr>
        </p:nvSpPr>
        <p:spPr/>
        <p:txBody>
          <a:bodyPr vert="horz"/>
          <a:lstStyle/>
          <a:p>
            <a:r>
              <a:rPr lang="lv-LV"/>
              <a:t>Katastrofu iedalījums atbilstoši cēlonim</a:t>
            </a:r>
            <a:br>
              <a:rPr lang="lv-LV"/>
            </a:br>
            <a:r>
              <a:rPr lang="lv-LV">
                <a:solidFill>
                  <a:srgbClr val="9D2235"/>
                </a:solidFill>
              </a:rPr>
              <a:t>Dabas katastrofas</a:t>
            </a:r>
            <a:endParaRPr lang="en-GB">
              <a:solidFill>
                <a:srgbClr val="9D2235"/>
              </a:solidFill>
            </a:endParaRPr>
          </a:p>
        </p:txBody>
      </p:sp>
      <p:sp>
        <p:nvSpPr>
          <p:cNvPr id="4" name="Slide Number Placeholder 3">
            <a:extLst>
              <a:ext uri="{FF2B5EF4-FFF2-40B4-BE49-F238E27FC236}">
                <a16:creationId xmlns:a16="http://schemas.microsoft.com/office/drawing/2014/main" id="{02CDC888-6261-3588-73ED-715CE148F6E6}"/>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750" b="0" i="0" u="none" strike="noStrike" kern="1200" cap="none" spc="0" normalizeH="0" baseline="0" noProof="0">
              <a:ln>
                <a:noFill/>
              </a:ln>
              <a:solidFill>
                <a:srgbClr val="000000"/>
              </a:solidFill>
              <a:effectLst/>
              <a:uLnTx/>
              <a:uFillTx/>
              <a:latin typeface="Arial"/>
              <a:ea typeface="+mn-ea"/>
              <a:cs typeface="+mn-cs"/>
            </a:endParaRPr>
          </a:p>
        </p:txBody>
      </p:sp>
      <p:sp>
        <p:nvSpPr>
          <p:cNvPr id="10" name="Rectangle 9">
            <a:extLst>
              <a:ext uri="{FF2B5EF4-FFF2-40B4-BE49-F238E27FC236}">
                <a16:creationId xmlns:a16="http://schemas.microsoft.com/office/drawing/2014/main" id="{4160710A-5D9D-DA69-9CD1-96C46E819FB8}"/>
              </a:ext>
            </a:extLst>
          </p:cNvPr>
          <p:cNvSpPr/>
          <p:nvPr/>
        </p:nvSpPr>
        <p:spPr>
          <a:xfrm>
            <a:off x="442913" y="1828411"/>
            <a:ext cx="11306175"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b="1"/>
              <a:t>Dabas katastrofas</a:t>
            </a:r>
            <a:endParaRPr lang="cs-CZ" sz="1600" b="1"/>
          </a:p>
        </p:txBody>
      </p:sp>
      <p:sp>
        <p:nvSpPr>
          <p:cNvPr id="11" name="Rectangle 10">
            <a:extLst>
              <a:ext uri="{FF2B5EF4-FFF2-40B4-BE49-F238E27FC236}">
                <a16:creationId xmlns:a16="http://schemas.microsoft.com/office/drawing/2014/main" id="{16541673-F5A0-7515-259C-A866EA54C4AE}"/>
              </a:ext>
            </a:extLst>
          </p:cNvPr>
          <p:cNvSpPr/>
          <p:nvPr/>
        </p:nvSpPr>
        <p:spPr>
          <a:xfrm>
            <a:off x="442913" y="2599953"/>
            <a:ext cx="1800000" cy="43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t>Ģeofiziskās</a:t>
            </a:r>
            <a:endParaRPr lang="cs-CZ" sz="1400" b="1"/>
          </a:p>
        </p:txBody>
      </p:sp>
      <p:sp>
        <p:nvSpPr>
          <p:cNvPr id="12" name="Rectangle 11">
            <a:extLst>
              <a:ext uri="{FF2B5EF4-FFF2-40B4-BE49-F238E27FC236}">
                <a16:creationId xmlns:a16="http://schemas.microsoft.com/office/drawing/2014/main" id="{C00849EB-7BF8-70BB-7BD5-AE79C0A117A5}"/>
              </a:ext>
            </a:extLst>
          </p:cNvPr>
          <p:cNvSpPr/>
          <p:nvPr/>
        </p:nvSpPr>
        <p:spPr>
          <a:xfrm>
            <a:off x="2344148" y="2599953"/>
            <a:ext cx="1800000" cy="43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t>Hidroloģiskās</a:t>
            </a:r>
            <a:endParaRPr lang="cs-CZ" sz="1400" b="1"/>
          </a:p>
        </p:txBody>
      </p:sp>
      <p:sp>
        <p:nvSpPr>
          <p:cNvPr id="13" name="Rectangle 12">
            <a:extLst>
              <a:ext uri="{FF2B5EF4-FFF2-40B4-BE49-F238E27FC236}">
                <a16:creationId xmlns:a16="http://schemas.microsoft.com/office/drawing/2014/main" id="{E34959C7-6BA3-268F-55B8-C61631E7FD13}"/>
              </a:ext>
            </a:extLst>
          </p:cNvPr>
          <p:cNvSpPr/>
          <p:nvPr/>
        </p:nvSpPr>
        <p:spPr>
          <a:xfrm>
            <a:off x="4245383" y="2599953"/>
            <a:ext cx="1800000" cy="43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t>Meteoroloģiskās</a:t>
            </a:r>
            <a:endParaRPr lang="cs-CZ" sz="1400" b="1"/>
          </a:p>
        </p:txBody>
      </p:sp>
      <p:sp>
        <p:nvSpPr>
          <p:cNvPr id="14" name="Rectangle 13">
            <a:extLst>
              <a:ext uri="{FF2B5EF4-FFF2-40B4-BE49-F238E27FC236}">
                <a16:creationId xmlns:a16="http://schemas.microsoft.com/office/drawing/2014/main" id="{32699325-ABE2-D041-6AED-ED3728421A54}"/>
              </a:ext>
            </a:extLst>
          </p:cNvPr>
          <p:cNvSpPr/>
          <p:nvPr/>
        </p:nvSpPr>
        <p:spPr>
          <a:xfrm>
            <a:off x="6146618" y="2599953"/>
            <a:ext cx="1800000" cy="43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t>Klimatoloģiskās</a:t>
            </a:r>
            <a:endParaRPr lang="cs-CZ" sz="1400" b="1"/>
          </a:p>
        </p:txBody>
      </p:sp>
      <p:sp>
        <p:nvSpPr>
          <p:cNvPr id="15" name="Rectangle 14">
            <a:extLst>
              <a:ext uri="{FF2B5EF4-FFF2-40B4-BE49-F238E27FC236}">
                <a16:creationId xmlns:a16="http://schemas.microsoft.com/office/drawing/2014/main" id="{F6A8A608-8EBD-839B-B840-3222384B9593}"/>
              </a:ext>
            </a:extLst>
          </p:cNvPr>
          <p:cNvSpPr/>
          <p:nvPr/>
        </p:nvSpPr>
        <p:spPr>
          <a:xfrm>
            <a:off x="8047853" y="2599953"/>
            <a:ext cx="1800000" cy="43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t>Bioloģiskās</a:t>
            </a:r>
            <a:endParaRPr lang="cs-CZ" sz="1400" b="1"/>
          </a:p>
        </p:txBody>
      </p:sp>
      <p:sp>
        <p:nvSpPr>
          <p:cNvPr id="16" name="Rectangle 15">
            <a:extLst>
              <a:ext uri="{FF2B5EF4-FFF2-40B4-BE49-F238E27FC236}">
                <a16:creationId xmlns:a16="http://schemas.microsoft.com/office/drawing/2014/main" id="{CD4758FF-3CB2-91FA-F244-3E8D0F2F8C31}"/>
              </a:ext>
            </a:extLst>
          </p:cNvPr>
          <p:cNvSpPr/>
          <p:nvPr/>
        </p:nvSpPr>
        <p:spPr>
          <a:xfrm>
            <a:off x="9949088" y="2599953"/>
            <a:ext cx="1800000" cy="432000"/>
          </a:xfrm>
          <a:prstGeom prst="rect">
            <a:avLst/>
          </a:prstGeom>
          <a:solidFill>
            <a:srgbClr val="D0CFD7"/>
          </a:solidFill>
          <a:ln w="12700">
            <a:solidFill>
              <a:srgbClr val="6F8087"/>
            </a:solidFill>
            <a:prstDash val="dash"/>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b="1" err="1"/>
              <a:t>Kosmisk</a:t>
            </a:r>
            <a:r>
              <a:rPr lang="lv-LV" sz="1400" b="1"/>
              <a:t>ā</a:t>
            </a:r>
            <a:r>
              <a:rPr lang="en-US" sz="1400" b="1"/>
              <a:t>s</a:t>
            </a:r>
            <a:r>
              <a:rPr lang="lv-LV" sz="1400" b="1"/>
              <a:t>*</a:t>
            </a:r>
            <a:endParaRPr lang="cs-CZ" sz="1400" b="1"/>
          </a:p>
        </p:txBody>
      </p:sp>
      <p:sp>
        <p:nvSpPr>
          <p:cNvPr id="17" name="Rectangle 16">
            <a:extLst>
              <a:ext uri="{FF2B5EF4-FFF2-40B4-BE49-F238E27FC236}">
                <a16:creationId xmlns:a16="http://schemas.microsoft.com/office/drawing/2014/main" id="{E0F69C91-CB43-DA35-6381-80C49C47A6CD}"/>
              </a:ext>
            </a:extLst>
          </p:cNvPr>
          <p:cNvSpPr/>
          <p:nvPr/>
        </p:nvSpPr>
        <p:spPr>
          <a:xfrm>
            <a:off x="442688" y="3206402"/>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Zemestrīces</a:t>
            </a:r>
            <a:endParaRPr lang="en-US" sz="1400">
              <a:solidFill>
                <a:schemeClr val="tx1"/>
              </a:solidFill>
            </a:endParaRPr>
          </a:p>
        </p:txBody>
      </p:sp>
      <p:sp>
        <p:nvSpPr>
          <p:cNvPr id="18" name="Rectangle 17">
            <a:extLst>
              <a:ext uri="{FF2B5EF4-FFF2-40B4-BE49-F238E27FC236}">
                <a16:creationId xmlns:a16="http://schemas.microsoft.com/office/drawing/2014/main" id="{BF6A64EC-BC5C-FEF6-FED1-BBA289CB506C}"/>
              </a:ext>
            </a:extLst>
          </p:cNvPr>
          <p:cNvSpPr/>
          <p:nvPr/>
        </p:nvSpPr>
        <p:spPr>
          <a:xfrm>
            <a:off x="442688" y="3812851"/>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Zemes</a:t>
            </a:r>
            <a:r>
              <a:rPr lang="en-US" sz="1400">
                <a:solidFill>
                  <a:schemeClr val="tx1"/>
                </a:solidFill>
              </a:rPr>
              <a:t> </a:t>
            </a:r>
            <a:r>
              <a:rPr lang="en-US" sz="1400" err="1">
                <a:solidFill>
                  <a:schemeClr val="tx1"/>
                </a:solidFill>
              </a:rPr>
              <a:t>nogruvumi</a:t>
            </a:r>
            <a:endParaRPr lang="en-US" sz="1400">
              <a:solidFill>
                <a:schemeClr val="tx1"/>
              </a:solidFill>
            </a:endParaRPr>
          </a:p>
        </p:txBody>
      </p:sp>
      <p:sp>
        <p:nvSpPr>
          <p:cNvPr id="21" name="Rectangle 20">
            <a:extLst>
              <a:ext uri="{FF2B5EF4-FFF2-40B4-BE49-F238E27FC236}">
                <a16:creationId xmlns:a16="http://schemas.microsoft.com/office/drawing/2014/main" id="{A83B97BA-1DFF-D418-E599-48D273ACB0E7}"/>
              </a:ext>
            </a:extLst>
          </p:cNvPr>
          <p:cNvSpPr/>
          <p:nvPr/>
        </p:nvSpPr>
        <p:spPr>
          <a:xfrm>
            <a:off x="4245158" y="3206402"/>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Lietusgāzes</a:t>
            </a:r>
            <a:r>
              <a:rPr lang="en-US" sz="1400">
                <a:solidFill>
                  <a:schemeClr val="tx1"/>
                </a:solidFill>
              </a:rPr>
              <a:t>, </a:t>
            </a:r>
            <a:r>
              <a:rPr lang="en-US" sz="1400" err="1">
                <a:solidFill>
                  <a:schemeClr val="tx1"/>
                </a:solidFill>
              </a:rPr>
              <a:t>krusa</a:t>
            </a:r>
            <a:endParaRPr lang="cs-CZ" sz="1400">
              <a:solidFill>
                <a:schemeClr val="tx1"/>
              </a:solidFill>
            </a:endParaRPr>
          </a:p>
        </p:txBody>
      </p:sp>
      <p:sp>
        <p:nvSpPr>
          <p:cNvPr id="22" name="Rectangle 21">
            <a:extLst>
              <a:ext uri="{FF2B5EF4-FFF2-40B4-BE49-F238E27FC236}">
                <a16:creationId xmlns:a16="http://schemas.microsoft.com/office/drawing/2014/main" id="{AD8E31FA-3747-7F84-CF2B-8A563CD738EC}"/>
              </a:ext>
            </a:extLst>
          </p:cNvPr>
          <p:cNvSpPr/>
          <p:nvPr/>
        </p:nvSpPr>
        <p:spPr>
          <a:xfrm>
            <a:off x="4245158" y="3812851"/>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Sniega</a:t>
            </a:r>
            <a:r>
              <a:rPr lang="en-US" sz="1400">
                <a:solidFill>
                  <a:schemeClr val="tx1"/>
                </a:solidFill>
              </a:rPr>
              <a:t> </a:t>
            </a:r>
            <a:r>
              <a:rPr lang="en-US" sz="1400" err="1">
                <a:solidFill>
                  <a:schemeClr val="tx1"/>
                </a:solidFill>
              </a:rPr>
              <a:t>sanesumi</a:t>
            </a:r>
            <a:endParaRPr lang="cs-CZ" sz="1400">
              <a:solidFill>
                <a:schemeClr val="tx1"/>
              </a:solidFill>
            </a:endParaRPr>
          </a:p>
        </p:txBody>
      </p:sp>
      <p:sp>
        <p:nvSpPr>
          <p:cNvPr id="23" name="Rectangle 22">
            <a:extLst>
              <a:ext uri="{FF2B5EF4-FFF2-40B4-BE49-F238E27FC236}">
                <a16:creationId xmlns:a16="http://schemas.microsoft.com/office/drawing/2014/main" id="{9B7E2143-ADE3-A002-B6C6-A0CB8CD86B3E}"/>
              </a:ext>
            </a:extLst>
          </p:cNvPr>
          <p:cNvSpPr/>
          <p:nvPr/>
        </p:nvSpPr>
        <p:spPr>
          <a:xfrm>
            <a:off x="4245158" y="4419300"/>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Vētras</a:t>
            </a:r>
            <a:r>
              <a:rPr lang="en-US" sz="1400">
                <a:solidFill>
                  <a:schemeClr val="tx1"/>
                </a:solidFill>
              </a:rPr>
              <a:t>, v</a:t>
            </a:r>
            <a:r>
              <a:rPr lang="lv-LV" sz="1400">
                <a:solidFill>
                  <a:schemeClr val="tx1"/>
                </a:solidFill>
              </a:rPr>
              <a:t>iesuļi</a:t>
            </a:r>
            <a:endParaRPr lang="cs-CZ" sz="1400">
              <a:solidFill>
                <a:schemeClr val="tx1"/>
              </a:solidFill>
            </a:endParaRPr>
          </a:p>
        </p:txBody>
      </p:sp>
      <p:sp>
        <p:nvSpPr>
          <p:cNvPr id="26" name="Rectangle 25">
            <a:extLst>
              <a:ext uri="{FF2B5EF4-FFF2-40B4-BE49-F238E27FC236}">
                <a16:creationId xmlns:a16="http://schemas.microsoft.com/office/drawing/2014/main" id="{A6B82315-CF28-1E23-A46B-CD17B7C6300B}"/>
              </a:ext>
            </a:extLst>
          </p:cNvPr>
          <p:cNvSpPr/>
          <p:nvPr/>
        </p:nvSpPr>
        <p:spPr>
          <a:xfrm>
            <a:off x="8047628" y="3206402"/>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Epidēmijas</a:t>
            </a:r>
            <a:endParaRPr lang="cs-CZ" sz="1400">
              <a:solidFill>
                <a:schemeClr val="tx1"/>
              </a:solidFill>
            </a:endParaRPr>
          </a:p>
        </p:txBody>
      </p:sp>
      <p:sp>
        <p:nvSpPr>
          <p:cNvPr id="27" name="Rectangle 26">
            <a:extLst>
              <a:ext uri="{FF2B5EF4-FFF2-40B4-BE49-F238E27FC236}">
                <a16:creationId xmlns:a16="http://schemas.microsoft.com/office/drawing/2014/main" id="{1AF412B4-DAB7-7B12-FABD-413771DE90B9}"/>
              </a:ext>
            </a:extLst>
          </p:cNvPr>
          <p:cNvSpPr/>
          <p:nvPr/>
        </p:nvSpPr>
        <p:spPr>
          <a:xfrm>
            <a:off x="8047628" y="3812851"/>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Epizootijas</a:t>
            </a:r>
            <a:endParaRPr lang="cs-CZ" sz="1400">
              <a:solidFill>
                <a:schemeClr val="tx1"/>
              </a:solidFill>
            </a:endParaRPr>
          </a:p>
        </p:txBody>
      </p:sp>
      <p:sp>
        <p:nvSpPr>
          <p:cNvPr id="28" name="Rectangle 27">
            <a:extLst>
              <a:ext uri="{FF2B5EF4-FFF2-40B4-BE49-F238E27FC236}">
                <a16:creationId xmlns:a16="http://schemas.microsoft.com/office/drawing/2014/main" id="{7B958969-4482-9D1E-A32C-E58B9CA693ED}"/>
              </a:ext>
            </a:extLst>
          </p:cNvPr>
          <p:cNvSpPr/>
          <p:nvPr/>
        </p:nvSpPr>
        <p:spPr>
          <a:xfrm>
            <a:off x="8047628" y="4419300"/>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Epifitotijas</a:t>
            </a:r>
            <a:endParaRPr lang="cs-CZ" sz="1400">
              <a:solidFill>
                <a:schemeClr val="tx1"/>
              </a:solidFill>
            </a:endParaRPr>
          </a:p>
        </p:txBody>
      </p:sp>
      <p:sp>
        <p:nvSpPr>
          <p:cNvPr id="30" name="Rectangle 29">
            <a:extLst>
              <a:ext uri="{FF2B5EF4-FFF2-40B4-BE49-F238E27FC236}">
                <a16:creationId xmlns:a16="http://schemas.microsoft.com/office/drawing/2014/main" id="{E8FE2FA4-3123-3627-1348-F9E7DFC39274}"/>
              </a:ext>
            </a:extLst>
          </p:cNvPr>
          <p:cNvSpPr/>
          <p:nvPr/>
        </p:nvSpPr>
        <p:spPr>
          <a:xfrm>
            <a:off x="2343923" y="3206402"/>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a:solidFill>
                  <a:schemeClr val="tx1"/>
                </a:solidFill>
              </a:rPr>
              <a:t>P</a:t>
            </a:r>
            <a:r>
              <a:rPr lang="en-US" sz="1400" err="1">
                <a:solidFill>
                  <a:schemeClr val="tx1"/>
                </a:solidFill>
              </a:rPr>
              <a:t>lūdi</a:t>
            </a:r>
            <a:endParaRPr lang="cs-CZ" sz="1400">
              <a:solidFill>
                <a:schemeClr val="tx1"/>
              </a:solidFill>
            </a:endParaRPr>
          </a:p>
        </p:txBody>
      </p:sp>
      <p:sp>
        <p:nvSpPr>
          <p:cNvPr id="33" name="Rectangle 32">
            <a:extLst>
              <a:ext uri="{FF2B5EF4-FFF2-40B4-BE49-F238E27FC236}">
                <a16:creationId xmlns:a16="http://schemas.microsoft.com/office/drawing/2014/main" id="{A70ACDC4-51BA-A7EF-9898-C947D39B0B1C}"/>
              </a:ext>
            </a:extLst>
          </p:cNvPr>
          <p:cNvSpPr/>
          <p:nvPr/>
        </p:nvSpPr>
        <p:spPr>
          <a:xfrm>
            <a:off x="6146393" y="3812851"/>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a:solidFill>
                  <a:schemeClr val="tx1"/>
                </a:solidFill>
              </a:rPr>
              <a:t>A</a:t>
            </a:r>
            <a:r>
              <a:rPr lang="en-US" sz="1400" err="1">
                <a:solidFill>
                  <a:schemeClr val="tx1"/>
                </a:solidFill>
              </a:rPr>
              <a:t>pledojums</a:t>
            </a:r>
            <a:endParaRPr lang="cs-CZ" sz="1400">
              <a:solidFill>
                <a:schemeClr val="tx1"/>
              </a:solidFill>
            </a:endParaRPr>
          </a:p>
        </p:txBody>
      </p:sp>
      <p:sp>
        <p:nvSpPr>
          <p:cNvPr id="35" name="Rectangle 34">
            <a:extLst>
              <a:ext uri="{FF2B5EF4-FFF2-40B4-BE49-F238E27FC236}">
                <a16:creationId xmlns:a16="http://schemas.microsoft.com/office/drawing/2014/main" id="{C71EADC6-1011-659D-2852-B59A8D87A5E1}"/>
              </a:ext>
            </a:extLst>
          </p:cNvPr>
          <p:cNvSpPr/>
          <p:nvPr/>
        </p:nvSpPr>
        <p:spPr>
          <a:xfrm>
            <a:off x="6146393" y="4419300"/>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Sausums</a:t>
            </a:r>
            <a:endParaRPr lang="cs-CZ" sz="1400">
              <a:solidFill>
                <a:schemeClr val="tx1"/>
              </a:solidFill>
            </a:endParaRPr>
          </a:p>
        </p:txBody>
      </p:sp>
      <p:sp>
        <p:nvSpPr>
          <p:cNvPr id="36" name="Rectangle 35">
            <a:extLst>
              <a:ext uri="{FF2B5EF4-FFF2-40B4-BE49-F238E27FC236}">
                <a16:creationId xmlns:a16="http://schemas.microsoft.com/office/drawing/2014/main" id="{F89196AB-4FF3-4A10-3162-92713233FEE4}"/>
              </a:ext>
            </a:extLst>
          </p:cNvPr>
          <p:cNvSpPr/>
          <p:nvPr/>
        </p:nvSpPr>
        <p:spPr>
          <a:xfrm>
            <a:off x="6146393" y="5025749"/>
            <a:ext cx="1800225" cy="54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Meža</a:t>
            </a:r>
            <a:r>
              <a:rPr lang="en-US" sz="1400">
                <a:solidFill>
                  <a:schemeClr val="tx1"/>
                </a:solidFill>
              </a:rPr>
              <a:t> un </a:t>
            </a:r>
            <a:r>
              <a:rPr lang="en-US" sz="1400" err="1">
                <a:solidFill>
                  <a:schemeClr val="tx1"/>
                </a:solidFill>
              </a:rPr>
              <a:t>kūdras</a:t>
            </a:r>
            <a:r>
              <a:rPr lang="en-US" sz="1400">
                <a:solidFill>
                  <a:schemeClr val="tx1"/>
                </a:solidFill>
              </a:rPr>
              <a:t> </a:t>
            </a:r>
            <a:r>
              <a:rPr lang="en-US" sz="1400" err="1">
                <a:solidFill>
                  <a:schemeClr val="tx1"/>
                </a:solidFill>
              </a:rPr>
              <a:t>purvu</a:t>
            </a:r>
            <a:r>
              <a:rPr lang="en-US" sz="1400">
                <a:solidFill>
                  <a:schemeClr val="tx1"/>
                </a:solidFill>
              </a:rPr>
              <a:t> </a:t>
            </a:r>
            <a:r>
              <a:rPr lang="en-US" sz="1400" err="1">
                <a:solidFill>
                  <a:schemeClr val="tx1"/>
                </a:solidFill>
              </a:rPr>
              <a:t>ugunsgrēki</a:t>
            </a:r>
            <a:endParaRPr lang="cs-CZ" sz="1400">
              <a:solidFill>
                <a:schemeClr val="tx1"/>
              </a:solidFill>
            </a:endParaRPr>
          </a:p>
        </p:txBody>
      </p:sp>
      <p:sp>
        <p:nvSpPr>
          <p:cNvPr id="37" name="Rectangle 36">
            <a:extLst>
              <a:ext uri="{FF2B5EF4-FFF2-40B4-BE49-F238E27FC236}">
                <a16:creationId xmlns:a16="http://schemas.microsoft.com/office/drawing/2014/main" id="{F8467154-1858-7042-ADE2-7AED8396B0AF}"/>
              </a:ext>
            </a:extLst>
          </p:cNvPr>
          <p:cNvSpPr/>
          <p:nvPr/>
        </p:nvSpPr>
        <p:spPr>
          <a:xfrm>
            <a:off x="6146393" y="5740198"/>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Karstums</a:t>
            </a:r>
            <a:endParaRPr lang="cs-CZ" sz="1400">
              <a:solidFill>
                <a:schemeClr val="tx1"/>
              </a:solidFill>
            </a:endParaRPr>
          </a:p>
        </p:txBody>
      </p:sp>
      <p:sp>
        <p:nvSpPr>
          <p:cNvPr id="32" name="Rectangle 31">
            <a:extLst>
              <a:ext uri="{FF2B5EF4-FFF2-40B4-BE49-F238E27FC236}">
                <a16:creationId xmlns:a16="http://schemas.microsoft.com/office/drawing/2014/main" id="{8ABFBFDC-CA0E-4731-3A1F-4825867FD4CF}"/>
              </a:ext>
            </a:extLst>
          </p:cNvPr>
          <p:cNvSpPr/>
          <p:nvPr/>
        </p:nvSpPr>
        <p:spPr>
          <a:xfrm>
            <a:off x="6146393" y="3206402"/>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Stiprs</a:t>
            </a:r>
            <a:r>
              <a:rPr lang="en-US" sz="1400">
                <a:solidFill>
                  <a:schemeClr val="tx1"/>
                </a:solidFill>
              </a:rPr>
              <a:t> </a:t>
            </a:r>
            <a:r>
              <a:rPr lang="en-US" sz="1400" err="1">
                <a:solidFill>
                  <a:schemeClr val="tx1"/>
                </a:solidFill>
              </a:rPr>
              <a:t>sals</a:t>
            </a:r>
            <a:r>
              <a:rPr lang="en-US" sz="1400">
                <a:solidFill>
                  <a:schemeClr val="tx1"/>
                </a:solidFill>
              </a:rPr>
              <a:t>, </a:t>
            </a:r>
            <a:r>
              <a:rPr lang="en-US" sz="1400" err="1">
                <a:solidFill>
                  <a:schemeClr val="tx1"/>
                </a:solidFill>
              </a:rPr>
              <a:t>sniegs</a:t>
            </a:r>
            <a:endParaRPr lang="cs-CZ" sz="1400">
              <a:solidFill>
                <a:schemeClr val="tx1"/>
              </a:solidFill>
            </a:endParaRPr>
          </a:p>
        </p:txBody>
      </p:sp>
      <p:sp>
        <p:nvSpPr>
          <p:cNvPr id="3" name="TextBox 2">
            <a:extLst>
              <a:ext uri="{FF2B5EF4-FFF2-40B4-BE49-F238E27FC236}">
                <a16:creationId xmlns:a16="http://schemas.microsoft.com/office/drawing/2014/main" id="{9C6D97C2-F236-452B-18FC-09F24D1CEA02}"/>
              </a:ext>
            </a:extLst>
          </p:cNvPr>
          <p:cNvSpPr txBox="1"/>
          <p:nvPr/>
        </p:nvSpPr>
        <p:spPr>
          <a:xfrm>
            <a:off x="442688" y="6322963"/>
            <a:ext cx="11057709" cy="153888"/>
          </a:xfrm>
          <a:prstGeom prst="rect">
            <a:avLst/>
          </a:prstGeom>
          <a:noFill/>
        </p:spPr>
        <p:txBody>
          <a:bodyPr wrap="square" lIns="0" tIns="0" rIns="0" bIns="0" rtlCol="0">
            <a:spAutoFit/>
          </a:bodyPr>
          <a:lstStyle/>
          <a:p>
            <a:pPr>
              <a:lnSpc>
                <a:spcPct val="100000"/>
              </a:lnSpc>
              <a:spcAft>
                <a:spcPts val="600"/>
              </a:spcAft>
              <a:buSzPct val="100000"/>
            </a:pPr>
            <a:r>
              <a:rPr lang="lv-LV" sz="1000" dirty="0"/>
              <a:t>*Valsts civilās aizsardzības plānā nav iekļautas kosmiskās katastrofas</a:t>
            </a:r>
          </a:p>
        </p:txBody>
      </p:sp>
      <p:sp>
        <p:nvSpPr>
          <p:cNvPr id="19" name="Rectangle 18">
            <a:extLst>
              <a:ext uri="{FF2B5EF4-FFF2-40B4-BE49-F238E27FC236}">
                <a16:creationId xmlns:a16="http://schemas.microsoft.com/office/drawing/2014/main" id="{6D93C598-4DC4-6294-0F5A-C6C4CCAD941D}"/>
              </a:ext>
            </a:extLst>
          </p:cNvPr>
          <p:cNvSpPr/>
          <p:nvPr/>
        </p:nvSpPr>
        <p:spPr>
          <a:xfrm>
            <a:off x="442688" y="5561421"/>
            <a:ext cx="2371407" cy="61277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576000" r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100000"/>
              </a:lnSpc>
              <a:spcAft>
                <a:spcPts val="600"/>
              </a:spcAft>
              <a:buSzPct val="100000"/>
            </a:pPr>
            <a:r>
              <a:rPr lang="lv-LV" sz="1200" dirty="0">
                <a:solidFill>
                  <a:schemeClr val="tx1"/>
                </a:solidFill>
                <a:hlinkClick r:id="rId3">
                  <a:extLst>
                    <a:ext uri="{A12FA001-AC4F-418D-AE19-62706E023703}">
                      <ahyp:hlinkClr xmlns:ahyp="http://schemas.microsoft.com/office/drawing/2018/hyperlinkcolor" val="tx"/>
                    </a:ext>
                  </a:extLst>
                </a:hlinkClick>
              </a:rPr>
              <a:t>Civilās aizsardzības un katastrofas pārvaldīšanas likums</a:t>
            </a:r>
            <a:endParaRPr lang="lv-LV" sz="1200" dirty="0">
              <a:solidFill>
                <a:schemeClr val="tx1"/>
              </a:solidFill>
            </a:endParaRPr>
          </a:p>
        </p:txBody>
      </p:sp>
      <p:sp>
        <p:nvSpPr>
          <p:cNvPr id="24" name="Freeform 50">
            <a:extLst>
              <a:ext uri="{FF2B5EF4-FFF2-40B4-BE49-F238E27FC236}">
                <a16:creationId xmlns:a16="http://schemas.microsoft.com/office/drawing/2014/main" id="{8FD7ACE0-51A3-AE13-E269-1CD8F54FFF5D}"/>
              </a:ext>
            </a:extLst>
          </p:cNvPr>
          <p:cNvSpPr>
            <a:spLocks noChangeAspect="1"/>
          </p:cNvSpPr>
          <p:nvPr/>
        </p:nvSpPr>
        <p:spPr bwMode="auto">
          <a:xfrm>
            <a:off x="552574" y="573755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83"/>
          </a:p>
        </p:txBody>
      </p:sp>
      <p:grpSp>
        <p:nvGrpSpPr>
          <p:cNvPr id="2" name="Group 1">
            <a:extLst>
              <a:ext uri="{FF2B5EF4-FFF2-40B4-BE49-F238E27FC236}">
                <a16:creationId xmlns:a16="http://schemas.microsoft.com/office/drawing/2014/main" id="{5522510F-EAC4-5D87-2D38-90F0D7C1D615}"/>
              </a:ext>
            </a:extLst>
          </p:cNvPr>
          <p:cNvGrpSpPr/>
          <p:nvPr/>
        </p:nvGrpSpPr>
        <p:grpSpPr>
          <a:xfrm>
            <a:off x="8801780" y="159786"/>
            <a:ext cx="2947308" cy="217488"/>
            <a:chOff x="8801780" y="815106"/>
            <a:chExt cx="2947308" cy="217488"/>
          </a:xfrm>
        </p:grpSpPr>
        <p:sp>
          <p:nvSpPr>
            <p:cNvPr id="7" name="Rectangle 6">
              <a:extLst>
                <a:ext uri="{FF2B5EF4-FFF2-40B4-BE49-F238E27FC236}">
                  <a16:creationId xmlns:a16="http://schemas.microsoft.com/office/drawing/2014/main" id="{36F72A6D-FBEC-5F13-C702-2D113551DA47}"/>
                </a:ext>
              </a:extLst>
            </p:cNvPr>
            <p:cNvSpPr/>
            <p:nvPr/>
          </p:nvSpPr>
          <p:spPr>
            <a:xfrm>
              <a:off x="8801780" y="81510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5</a:t>
              </a:r>
              <a:r>
                <a:rPr kumimoji="0" lang="lv-LV" sz="800" b="1" i="0" u="none" strike="noStrike" kern="0" cap="none" spc="0" normalizeH="0" baseline="0" dirty="0">
                  <a:ln>
                    <a:noFill/>
                  </a:ln>
                  <a:effectLst/>
                  <a:uLnTx/>
                  <a:uFillTx/>
                  <a:ea typeface="Georgia"/>
                  <a:cs typeface="Georgia"/>
                  <a:sym typeface="Georgia"/>
                </a:rPr>
                <a:t>.</a:t>
              </a:r>
              <a:r>
                <a:rPr lang="en-US" sz="800" b="1" kern="0" dirty="0">
                  <a:ea typeface="Georgia"/>
                  <a:cs typeface="Georgia"/>
                  <a:sym typeface="Georgia"/>
                </a:rPr>
                <a:t>1</a:t>
              </a:r>
              <a:endParaRPr kumimoji="0" lang="lv-LV" sz="800" b="1" i="0" u="none" strike="noStrike" kern="0" cap="none" spc="0" normalizeH="0" baseline="0" dirty="0">
                <a:ln>
                  <a:noFill/>
                </a:ln>
                <a:effectLst/>
                <a:uLnTx/>
                <a:uFillTx/>
                <a:ea typeface="Georgia"/>
                <a:cs typeface="Georgia"/>
                <a:sym typeface="Georgia"/>
              </a:endParaRPr>
            </a:p>
          </p:txBody>
        </p:sp>
        <p:sp>
          <p:nvSpPr>
            <p:cNvPr id="40" name="Rectangle 39">
              <a:extLst>
                <a:ext uri="{FF2B5EF4-FFF2-40B4-BE49-F238E27FC236}">
                  <a16:creationId xmlns:a16="http://schemas.microsoft.com/office/drawing/2014/main" id="{EEB46E70-08C0-6B26-D7C6-42498AD9A249}"/>
                </a:ext>
              </a:extLst>
            </p:cNvPr>
            <p:cNvSpPr/>
            <p:nvPr/>
          </p:nvSpPr>
          <p:spPr>
            <a:xfrm>
              <a:off x="11049434" y="81510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lang="en-US" sz="800" b="1" kern="0" dirty="0">
                  <a:solidFill>
                    <a:srgbClr val="A4A3B2"/>
                  </a:solidFill>
                  <a:ea typeface="Georgia"/>
                  <a:cs typeface="Georgia"/>
                  <a:sym typeface="Georgia"/>
                </a:rPr>
                <a:t>2</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42" name="Rectangle 41">
              <a:extLst>
                <a:ext uri="{FF2B5EF4-FFF2-40B4-BE49-F238E27FC236}">
                  <a16:creationId xmlns:a16="http://schemas.microsoft.com/office/drawing/2014/main" id="{48B6BBDC-F60B-EFC5-784E-A2E266E00714}"/>
                </a:ext>
              </a:extLst>
            </p:cNvPr>
            <p:cNvSpPr/>
            <p:nvPr/>
          </p:nvSpPr>
          <p:spPr>
            <a:xfrm>
              <a:off x="9043607" y="815106"/>
              <a:ext cx="198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Katastrofu </a:t>
              </a:r>
              <a:r>
                <a:rPr kumimoji="0" lang="en-US" sz="800" b="1" i="0" u="none" strike="noStrike" kern="0" cap="none" spc="0" normalizeH="0" baseline="0" dirty="0" err="1">
                  <a:ln>
                    <a:noFill/>
                  </a:ln>
                  <a:effectLst/>
                  <a:uLnTx/>
                  <a:uFillTx/>
                  <a:ea typeface="Georgia"/>
                  <a:cs typeface="Georgia"/>
                  <a:sym typeface="Georgia"/>
                </a:rPr>
                <a:t>iedalījums</a:t>
              </a:r>
              <a:endParaRPr kumimoji="0" lang="en-US" sz="800" b="1" i="0" u="none" strike="noStrike" kern="0" cap="none" spc="0" normalizeH="0" baseline="0" dirty="0">
                <a:ln>
                  <a:noFill/>
                </a:ln>
                <a:effectLst/>
                <a:uLnTx/>
                <a:uFillTx/>
                <a:ea typeface="Georgia"/>
                <a:cs typeface="Georgia"/>
                <a:sym typeface="Georgia"/>
              </a:endParaRPr>
            </a:p>
          </p:txBody>
        </p:sp>
        <p:sp>
          <p:nvSpPr>
            <p:cNvPr id="43" name="Rectangle 42">
              <a:extLst>
                <a:ext uri="{FF2B5EF4-FFF2-40B4-BE49-F238E27FC236}">
                  <a16:creationId xmlns:a16="http://schemas.microsoft.com/office/drawing/2014/main" id="{9F19E966-2921-0A2F-7760-E42E65898133}"/>
                </a:ext>
              </a:extLst>
            </p:cNvPr>
            <p:cNvSpPr/>
            <p:nvPr/>
          </p:nvSpPr>
          <p:spPr>
            <a:xfrm>
              <a:off x="11291261" y="81510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3</a:t>
              </a:r>
            </a:p>
          </p:txBody>
        </p:sp>
        <p:sp>
          <p:nvSpPr>
            <p:cNvPr id="45" name="Rectangle 44">
              <a:extLst>
                <a:ext uri="{FF2B5EF4-FFF2-40B4-BE49-F238E27FC236}">
                  <a16:creationId xmlns:a16="http://schemas.microsoft.com/office/drawing/2014/main" id="{841D0CAA-B21D-1577-B8C9-BAB4E2AE29B1}"/>
                </a:ext>
              </a:extLst>
            </p:cNvPr>
            <p:cNvSpPr/>
            <p:nvPr/>
          </p:nvSpPr>
          <p:spPr>
            <a:xfrm>
              <a:off x="11533088" y="81510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36361019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6" name="Straight Connector 45">
            <a:extLst>
              <a:ext uri="{FF2B5EF4-FFF2-40B4-BE49-F238E27FC236}">
                <a16:creationId xmlns:a16="http://schemas.microsoft.com/office/drawing/2014/main" id="{8D028A7C-4D1D-B8D0-33B0-2F6B65307001}"/>
              </a:ext>
            </a:extLst>
          </p:cNvPr>
          <p:cNvCxnSpPr>
            <a:cxnSpLocks/>
            <a:stCxn id="16" idx="2"/>
            <a:endCxn id="34" idx="0"/>
          </p:cNvCxnSpPr>
          <p:nvPr/>
        </p:nvCxnSpPr>
        <p:spPr>
          <a:xfrm>
            <a:off x="6993732" y="3078220"/>
            <a:ext cx="17144" cy="280598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075" name="Rectangle 2074">
            <a:extLst>
              <a:ext uri="{FF2B5EF4-FFF2-40B4-BE49-F238E27FC236}">
                <a16:creationId xmlns:a16="http://schemas.microsoft.com/office/drawing/2014/main" id="{E137241E-4C0E-D775-79D3-0F56683C045F}"/>
              </a:ext>
            </a:extLst>
          </p:cNvPr>
          <p:cNvSpPr/>
          <p:nvPr/>
        </p:nvSpPr>
        <p:spPr>
          <a:xfrm>
            <a:off x="5680233" y="2224411"/>
            <a:ext cx="412592" cy="180000"/>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5" name="Rectangle 14">
            <a:extLst>
              <a:ext uri="{FF2B5EF4-FFF2-40B4-BE49-F238E27FC236}">
                <a16:creationId xmlns:a16="http://schemas.microsoft.com/office/drawing/2014/main" id="{9D84DE5B-F5D7-A893-16BE-B21220BE434D}"/>
              </a:ext>
            </a:extLst>
          </p:cNvPr>
          <p:cNvSpPr/>
          <p:nvPr/>
        </p:nvSpPr>
        <p:spPr>
          <a:xfrm>
            <a:off x="441325" y="1828411"/>
            <a:ext cx="11306175"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b="1"/>
              <a:t>Antropogēnās jeb cilvēku izraisītās katastrofas</a:t>
            </a:r>
            <a:endParaRPr lang="cs-CZ" sz="1600" b="1"/>
          </a:p>
        </p:txBody>
      </p:sp>
      <p:sp>
        <p:nvSpPr>
          <p:cNvPr id="9" name="Title 8">
            <a:extLst>
              <a:ext uri="{FF2B5EF4-FFF2-40B4-BE49-F238E27FC236}">
                <a16:creationId xmlns:a16="http://schemas.microsoft.com/office/drawing/2014/main" id="{4475DEDF-2E62-D309-2387-E099871C9317}"/>
              </a:ext>
            </a:extLst>
          </p:cNvPr>
          <p:cNvSpPr>
            <a:spLocks noGrp="1"/>
          </p:cNvSpPr>
          <p:nvPr>
            <p:ph type="title"/>
          </p:nvPr>
        </p:nvSpPr>
        <p:spPr>
          <a:xfrm>
            <a:off x="442913" y="432001"/>
            <a:ext cx="11306175" cy="1387274"/>
          </a:xfrm>
        </p:spPr>
        <p:txBody>
          <a:bodyPr vert="horz"/>
          <a:lstStyle/>
          <a:p>
            <a:r>
              <a:rPr lang="lv-LV"/>
              <a:t>Katastrofu iedalījums atbilstoši cēlonim</a:t>
            </a:r>
            <a:br>
              <a:rPr lang="lv-LV"/>
            </a:br>
            <a:r>
              <a:rPr lang="lv-LV">
                <a:solidFill>
                  <a:srgbClr val="9D2235"/>
                </a:solidFill>
              </a:rPr>
              <a:t>Antropogēnās jeb cilvēku izraisītās katastrofas</a:t>
            </a:r>
            <a:br>
              <a:rPr lang="lv-LV">
                <a:solidFill>
                  <a:srgbClr val="9D2235"/>
                </a:solidFill>
              </a:rPr>
            </a:br>
            <a:endParaRPr lang="en-GB"/>
          </a:p>
        </p:txBody>
      </p:sp>
      <p:sp>
        <p:nvSpPr>
          <p:cNvPr id="4" name="Slide Number Placeholder 3">
            <a:extLst>
              <a:ext uri="{FF2B5EF4-FFF2-40B4-BE49-F238E27FC236}">
                <a16:creationId xmlns:a16="http://schemas.microsoft.com/office/drawing/2014/main" id="{02CDC888-6261-3588-73ED-715CE148F6E6}"/>
              </a:ext>
            </a:extLst>
          </p:cNvPr>
          <p:cNvSpPr>
            <a:spLocks noGrp="1"/>
          </p:cNvSpPr>
          <p:nvPr>
            <p:ph type="sldNum" sz="quarter" idx="11"/>
          </p:nvPr>
        </p:nvSpPr>
        <p:spPr>
          <a:xfrm>
            <a:off x="9984296" y="6492240"/>
            <a:ext cx="1764792" cy="137160"/>
          </a:xfrm>
        </p:spPr>
        <p:txBody>
          <a:bodyPr/>
          <a:lstStyle/>
          <a:p>
            <a:pPr lvl="0"/>
            <a:fld id="{7870704B-CE94-48CC-AF30-84932A1262A7}" type="slidenum">
              <a:rPr lang="en-GB" noProof="0" smtClean="0"/>
              <a:pPr lvl="0"/>
              <a:t>8</a:t>
            </a:fld>
            <a:endParaRPr lang="en-GB" noProof="0"/>
          </a:p>
        </p:txBody>
      </p:sp>
      <p:sp>
        <p:nvSpPr>
          <p:cNvPr id="16" name="Rectangle 15">
            <a:extLst>
              <a:ext uri="{FF2B5EF4-FFF2-40B4-BE49-F238E27FC236}">
                <a16:creationId xmlns:a16="http://schemas.microsoft.com/office/drawing/2014/main" id="{8BEAEAF0-8F60-496D-E8E0-6834F6B83B23}"/>
              </a:ext>
            </a:extLst>
          </p:cNvPr>
          <p:cNvSpPr/>
          <p:nvPr/>
        </p:nvSpPr>
        <p:spPr>
          <a:xfrm>
            <a:off x="5228432" y="2646220"/>
            <a:ext cx="3530600" cy="43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t>Tehnogēnās katastrofas</a:t>
            </a:r>
            <a:endParaRPr lang="cs-CZ" sz="1200" b="1"/>
          </a:p>
        </p:txBody>
      </p:sp>
      <p:sp>
        <p:nvSpPr>
          <p:cNvPr id="17" name="Rectangle 16">
            <a:extLst>
              <a:ext uri="{FF2B5EF4-FFF2-40B4-BE49-F238E27FC236}">
                <a16:creationId xmlns:a16="http://schemas.microsoft.com/office/drawing/2014/main" id="{B1F2C88E-5233-4E2E-BB0B-A705ECD84F7F}"/>
              </a:ext>
            </a:extLst>
          </p:cNvPr>
          <p:cNvSpPr/>
          <p:nvPr/>
        </p:nvSpPr>
        <p:spPr>
          <a:xfrm>
            <a:off x="5228432" y="3221931"/>
            <a:ext cx="3530600" cy="28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Vielu noplūdes (avārijas)</a:t>
            </a:r>
            <a:endParaRPr lang="cs-CZ" sz="1200" b="1">
              <a:solidFill>
                <a:schemeClr val="tx1"/>
              </a:solidFill>
            </a:endParaRPr>
          </a:p>
        </p:txBody>
      </p:sp>
      <p:sp>
        <p:nvSpPr>
          <p:cNvPr id="18" name="Rectangle 17">
            <a:extLst>
              <a:ext uri="{FF2B5EF4-FFF2-40B4-BE49-F238E27FC236}">
                <a16:creationId xmlns:a16="http://schemas.microsoft.com/office/drawing/2014/main" id="{B1E38AD3-53EF-E3D7-A0C0-A923AA02B1EF}"/>
              </a:ext>
            </a:extLst>
          </p:cNvPr>
          <p:cNvSpPr/>
          <p:nvPr/>
        </p:nvSpPr>
        <p:spPr>
          <a:xfrm>
            <a:off x="5228432" y="3653642"/>
            <a:ext cx="3530600" cy="28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Ēkās un būvēs izcēlušies ugunsgrēki</a:t>
            </a:r>
            <a:endParaRPr lang="cs-CZ" sz="1200" b="1">
              <a:solidFill>
                <a:schemeClr val="tx1"/>
              </a:solidFill>
            </a:endParaRPr>
          </a:p>
        </p:txBody>
      </p:sp>
      <p:sp>
        <p:nvSpPr>
          <p:cNvPr id="19" name="Rectangle 18">
            <a:extLst>
              <a:ext uri="{FF2B5EF4-FFF2-40B4-BE49-F238E27FC236}">
                <a16:creationId xmlns:a16="http://schemas.microsoft.com/office/drawing/2014/main" id="{B4BAF7E5-CAC7-8245-AD27-2C38EBEC645E}"/>
              </a:ext>
            </a:extLst>
          </p:cNvPr>
          <p:cNvSpPr/>
          <p:nvPr/>
        </p:nvSpPr>
        <p:spPr>
          <a:xfrm>
            <a:off x="5228432" y="4085353"/>
            <a:ext cx="3530600" cy="28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Ēku un būvju sabrukums</a:t>
            </a:r>
            <a:endParaRPr lang="cs-CZ" sz="1200" b="1">
              <a:solidFill>
                <a:schemeClr val="tx1"/>
              </a:solidFill>
            </a:endParaRPr>
          </a:p>
        </p:txBody>
      </p:sp>
      <p:sp>
        <p:nvSpPr>
          <p:cNvPr id="20" name="Rectangle 19">
            <a:extLst>
              <a:ext uri="{FF2B5EF4-FFF2-40B4-BE49-F238E27FC236}">
                <a16:creationId xmlns:a16="http://schemas.microsoft.com/office/drawing/2014/main" id="{42982202-AE46-7EC9-E702-D53319A8A2B2}"/>
              </a:ext>
            </a:extLst>
          </p:cNvPr>
          <p:cNvSpPr/>
          <p:nvPr/>
        </p:nvSpPr>
        <p:spPr>
          <a:xfrm>
            <a:off x="5228432" y="4517064"/>
            <a:ext cx="3530600" cy="36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Dambju un citu hidrotehnisko </a:t>
            </a:r>
            <a:endParaRPr lang="en-US" sz="1200" b="1">
              <a:solidFill>
                <a:schemeClr val="tx1"/>
              </a:solidFill>
            </a:endParaRPr>
          </a:p>
          <a:p>
            <a:pPr algn="ctr">
              <a:lnSpc>
                <a:spcPct val="100000"/>
              </a:lnSpc>
            </a:pPr>
            <a:r>
              <a:rPr lang="lv-LV" sz="1200" b="1">
                <a:solidFill>
                  <a:schemeClr val="tx1"/>
                </a:solidFill>
              </a:rPr>
              <a:t>būvju pārrāvums</a:t>
            </a:r>
            <a:endParaRPr lang="cs-CZ" sz="1200" b="1">
              <a:solidFill>
                <a:schemeClr val="tx1"/>
              </a:solidFill>
            </a:endParaRPr>
          </a:p>
        </p:txBody>
      </p:sp>
      <p:sp>
        <p:nvSpPr>
          <p:cNvPr id="21" name="Rectangle 20">
            <a:extLst>
              <a:ext uri="{FF2B5EF4-FFF2-40B4-BE49-F238E27FC236}">
                <a16:creationId xmlns:a16="http://schemas.microsoft.com/office/drawing/2014/main" id="{CD97BD02-F15B-8B90-B835-44164E7DED49}"/>
              </a:ext>
            </a:extLst>
          </p:cNvPr>
          <p:cNvSpPr/>
          <p:nvPr/>
        </p:nvSpPr>
        <p:spPr>
          <a:xfrm>
            <a:off x="5228432" y="5020775"/>
            <a:ext cx="3530600" cy="28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Elektrotīklu bojājumi</a:t>
            </a:r>
            <a:endParaRPr lang="cs-CZ" sz="1200" b="1">
              <a:solidFill>
                <a:schemeClr val="tx1"/>
              </a:solidFill>
            </a:endParaRPr>
          </a:p>
        </p:txBody>
      </p:sp>
      <p:sp>
        <p:nvSpPr>
          <p:cNvPr id="22" name="Rectangle 21">
            <a:extLst>
              <a:ext uri="{FF2B5EF4-FFF2-40B4-BE49-F238E27FC236}">
                <a16:creationId xmlns:a16="http://schemas.microsoft.com/office/drawing/2014/main" id="{0AE5A568-9660-918E-35CF-7E5606DC17A7}"/>
              </a:ext>
            </a:extLst>
          </p:cNvPr>
          <p:cNvSpPr/>
          <p:nvPr/>
        </p:nvSpPr>
        <p:spPr>
          <a:xfrm>
            <a:off x="5228432" y="5452486"/>
            <a:ext cx="3530600" cy="28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Komunālo tīklu avārijas</a:t>
            </a:r>
            <a:endParaRPr lang="cs-CZ" sz="1200" b="1">
              <a:solidFill>
                <a:schemeClr val="tx1"/>
              </a:solidFill>
            </a:endParaRPr>
          </a:p>
        </p:txBody>
      </p:sp>
      <p:sp>
        <p:nvSpPr>
          <p:cNvPr id="23" name="Rectangle 22">
            <a:extLst>
              <a:ext uri="{FF2B5EF4-FFF2-40B4-BE49-F238E27FC236}">
                <a16:creationId xmlns:a16="http://schemas.microsoft.com/office/drawing/2014/main" id="{49DD505E-001C-3EE5-70FA-4E70E3127E7F}"/>
              </a:ext>
            </a:extLst>
          </p:cNvPr>
          <p:cNvSpPr/>
          <p:nvPr/>
        </p:nvSpPr>
        <p:spPr>
          <a:xfrm>
            <a:off x="2834879" y="2646220"/>
            <a:ext cx="2237740" cy="43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Sabiedriskās nekārtības, </a:t>
            </a:r>
            <a:endParaRPr lang="en-US" sz="1200" b="1">
              <a:solidFill>
                <a:schemeClr val="tx1"/>
              </a:solidFill>
            </a:endParaRPr>
          </a:p>
          <a:p>
            <a:pPr algn="ctr">
              <a:lnSpc>
                <a:spcPct val="100000"/>
              </a:lnSpc>
            </a:pPr>
            <a:r>
              <a:rPr lang="lv-LV" sz="1200" b="1">
                <a:solidFill>
                  <a:schemeClr val="tx1"/>
                </a:solidFill>
              </a:rPr>
              <a:t>iekšējie nemieri</a:t>
            </a:r>
            <a:endParaRPr lang="cs-CZ" sz="1200" b="1">
              <a:solidFill>
                <a:schemeClr val="tx1"/>
              </a:solidFill>
            </a:endParaRPr>
          </a:p>
        </p:txBody>
      </p:sp>
      <p:sp>
        <p:nvSpPr>
          <p:cNvPr id="24" name="Rectangle 23">
            <a:extLst>
              <a:ext uri="{FF2B5EF4-FFF2-40B4-BE49-F238E27FC236}">
                <a16:creationId xmlns:a16="http://schemas.microsoft.com/office/drawing/2014/main" id="{2DA901CD-6E45-11E8-9C9D-BF9F0B40E75C}"/>
              </a:ext>
            </a:extLst>
          </p:cNvPr>
          <p:cNvSpPr/>
          <p:nvPr/>
        </p:nvSpPr>
        <p:spPr>
          <a:xfrm>
            <a:off x="441325" y="2646220"/>
            <a:ext cx="2237740" cy="43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Terora akti</a:t>
            </a:r>
            <a:endParaRPr lang="cs-CZ" sz="1200" b="1">
              <a:solidFill>
                <a:schemeClr val="tx1"/>
              </a:solidFill>
            </a:endParaRPr>
          </a:p>
        </p:txBody>
      </p:sp>
      <p:sp>
        <p:nvSpPr>
          <p:cNvPr id="25" name="Rectangle 24">
            <a:extLst>
              <a:ext uri="{FF2B5EF4-FFF2-40B4-BE49-F238E27FC236}">
                <a16:creationId xmlns:a16="http://schemas.microsoft.com/office/drawing/2014/main" id="{BF30206C-12D4-EEB7-CE89-0C07AC6F469B}"/>
              </a:ext>
            </a:extLst>
          </p:cNvPr>
          <p:cNvSpPr/>
          <p:nvPr/>
        </p:nvSpPr>
        <p:spPr>
          <a:xfrm>
            <a:off x="9377679" y="3653973"/>
            <a:ext cx="2371407"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Ķīmisko vielu</a:t>
            </a:r>
            <a:endParaRPr lang="cs-CZ" sz="1200" b="1">
              <a:solidFill>
                <a:schemeClr val="tx1"/>
              </a:solidFill>
            </a:endParaRPr>
          </a:p>
        </p:txBody>
      </p:sp>
      <p:sp>
        <p:nvSpPr>
          <p:cNvPr id="26" name="Rectangle 25">
            <a:extLst>
              <a:ext uri="{FF2B5EF4-FFF2-40B4-BE49-F238E27FC236}">
                <a16:creationId xmlns:a16="http://schemas.microsoft.com/office/drawing/2014/main" id="{1067623A-B3C5-52F5-03E5-D1B8EDD0DF31}"/>
              </a:ext>
            </a:extLst>
          </p:cNvPr>
          <p:cNvSpPr/>
          <p:nvPr/>
        </p:nvSpPr>
        <p:spPr>
          <a:xfrm>
            <a:off x="9377679" y="4085353"/>
            <a:ext cx="2371407"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Bioloģisko vielu</a:t>
            </a:r>
            <a:endParaRPr lang="cs-CZ" sz="1200" b="1">
              <a:solidFill>
                <a:schemeClr val="tx1"/>
              </a:solidFill>
            </a:endParaRPr>
          </a:p>
        </p:txBody>
      </p:sp>
      <p:sp>
        <p:nvSpPr>
          <p:cNvPr id="27" name="Rectangle 26">
            <a:extLst>
              <a:ext uri="{FF2B5EF4-FFF2-40B4-BE49-F238E27FC236}">
                <a16:creationId xmlns:a16="http://schemas.microsoft.com/office/drawing/2014/main" id="{2D84E03B-9A7B-A02D-97B5-D94E764ABF89}"/>
              </a:ext>
            </a:extLst>
          </p:cNvPr>
          <p:cNvSpPr/>
          <p:nvPr/>
        </p:nvSpPr>
        <p:spPr>
          <a:xfrm>
            <a:off x="9377679" y="3222593"/>
            <a:ext cx="2371407"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Radiācijas</a:t>
            </a:r>
            <a:endParaRPr lang="cs-CZ" sz="1200" b="1">
              <a:solidFill>
                <a:schemeClr val="tx1"/>
              </a:solidFill>
            </a:endParaRPr>
          </a:p>
        </p:txBody>
      </p:sp>
      <p:sp>
        <p:nvSpPr>
          <p:cNvPr id="34" name="Rectangle 33">
            <a:extLst>
              <a:ext uri="{FF2B5EF4-FFF2-40B4-BE49-F238E27FC236}">
                <a16:creationId xmlns:a16="http://schemas.microsoft.com/office/drawing/2014/main" id="{B7B8A45B-AEFD-DCA9-0558-B0D90D3C7B43}"/>
              </a:ext>
            </a:extLst>
          </p:cNvPr>
          <p:cNvSpPr/>
          <p:nvPr/>
        </p:nvSpPr>
        <p:spPr>
          <a:xfrm>
            <a:off x="5245576" y="5884200"/>
            <a:ext cx="3530600" cy="28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Transporta avārijas</a:t>
            </a:r>
            <a:endParaRPr lang="cs-CZ" sz="1200" b="1">
              <a:solidFill>
                <a:schemeClr val="tx1"/>
              </a:solidFill>
            </a:endParaRPr>
          </a:p>
        </p:txBody>
      </p:sp>
      <p:sp>
        <p:nvSpPr>
          <p:cNvPr id="35" name="Rectangle 34">
            <a:extLst>
              <a:ext uri="{FF2B5EF4-FFF2-40B4-BE49-F238E27FC236}">
                <a16:creationId xmlns:a16="http://schemas.microsoft.com/office/drawing/2014/main" id="{E744447C-4F1F-BE8D-7558-98EACB739874}"/>
              </a:ext>
            </a:extLst>
          </p:cNvPr>
          <p:cNvSpPr/>
          <p:nvPr/>
        </p:nvSpPr>
        <p:spPr>
          <a:xfrm>
            <a:off x="2238060" y="5884862"/>
            <a:ext cx="2371725"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Aviācijas</a:t>
            </a:r>
            <a:endParaRPr lang="cs-CZ" sz="1200" b="1">
              <a:solidFill>
                <a:schemeClr val="tx1"/>
              </a:solidFill>
            </a:endParaRPr>
          </a:p>
        </p:txBody>
      </p:sp>
      <p:sp>
        <p:nvSpPr>
          <p:cNvPr id="36" name="Rectangle 35">
            <a:extLst>
              <a:ext uri="{FF2B5EF4-FFF2-40B4-BE49-F238E27FC236}">
                <a16:creationId xmlns:a16="http://schemas.microsoft.com/office/drawing/2014/main" id="{A0389670-D435-716D-7028-31CE40ECF7A5}"/>
              </a:ext>
            </a:extLst>
          </p:cNvPr>
          <p:cNvSpPr/>
          <p:nvPr/>
        </p:nvSpPr>
        <p:spPr>
          <a:xfrm>
            <a:off x="2238060" y="5453150"/>
            <a:ext cx="2371725"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Autotransporta</a:t>
            </a:r>
            <a:endParaRPr lang="cs-CZ" sz="1200" b="1">
              <a:solidFill>
                <a:schemeClr val="tx1"/>
              </a:solidFill>
            </a:endParaRPr>
          </a:p>
        </p:txBody>
      </p:sp>
      <p:sp>
        <p:nvSpPr>
          <p:cNvPr id="37" name="Rectangle 36">
            <a:extLst>
              <a:ext uri="{FF2B5EF4-FFF2-40B4-BE49-F238E27FC236}">
                <a16:creationId xmlns:a16="http://schemas.microsoft.com/office/drawing/2014/main" id="{034A5F98-DAD4-A147-D74A-8A66FEDB91E7}"/>
              </a:ext>
            </a:extLst>
          </p:cNvPr>
          <p:cNvSpPr/>
          <p:nvPr/>
        </p:nvSpPr>
        <p:spPr>
          <a:xfrm>
            <a:off x="2238060" y="5021438"/>
            <a:ext cx="2371725"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Dzelzceļa</a:t>
            </a:r>
            <a:endParaRPr lang="cs-CZ" sz="1200" b="1">
              <a:solidFill>
                <a:schemeClr val="tx1"/>
              </a:solidFill>
            </a:endParaRPr>
          </a:p>
        </p:txBody>
      </p:sp>
      <p:sp>
        <p:nvSpPr>
          <p:cNvPr id="38" name="Rectangle 37">
            <a:extLst>
              <a:ext uri="{FF2B5EF4-FFF2-40B4-BE49-F238E27FC236}">
                <a16:creationId xmlns:a16="http://schemas.microsoft.com/office/drawing/2014/main" id="{CF0D17AB-C101-3E43-A499-2608FDFBF2B8}"/>
              </a:ext>
            </a:extLst>
          </p:cNvPr>
          <p:cNvSpPr/>
          <p:nvPr/>
        </p:nvSpPr>
        <p:spPr>
          <a:xfrm>
            <a:off x="2238060" y="4589726"/>
            <a:ext cx="2371725"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Kuģu</a:t>
            </a:r>
            <a:endParaRPr lang="cs-CZ" sz="1200" b="1">
              <a:solidFill>
                <a:schemeClr val="tx1"/>
              </a:solidFill>
            </a:endParaRPr>
          </a:p>
        </p:txBody>
      </p:sp>
      <p:cxnSp>
        <p:nvCxnSpPr>
          <p:cNvPr id="2070" name="Connector: Elbow 2069">
            <a:extLst>
              <a:ext uri="{FF2B5EF4-FFF2-40B4-BE49-F238E27FC236}">
                <a16:creationId xmlns:a16="http://schemas.microsoft.com/office/drawing/2014/main" id="{C65A2074-51BD-FD48-A29D-7618E17FBAB9}"/>
              </a:ext>
            </a:extLst>
          </p:cNvPr>
          <p:cNvCxnSpPr>
            <a:cxnSpLocks/>
            <a:stCxn id="15" idx="2"/>
            <a:endCxn id="23" idx="0"/>
          </p:cNvCxnSpPr>
          <p:nvPr/>
        </p:nvCxnSpPr>
        <p:spPr>
          <a:xfrm rot="5400000">
            <a:off x="4903177" y="1454983"/>
            <a:ext cx="241809" cy="2140664"/>
          </a:xfrm>
          <a:prstGeom prst="bentConnector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sp>
        <p:nvSpPr>
          <p:cNvPr id="6" name="Rectangle 5">
            <a:extLst>
              <a:ext uri="{FF2B5EF4-FFF2-40B4-BE49-F238E27FC236}">
                <a16:creationId xmlns:a16="http://schemas.microsoft.com/office/drawing/2014/main" id="{32FA323C-4DF5-909B-878D-1628B45E296E}"/>
              </a:ext>
            </a:extLst>
          </p:cNvPr>
          <p:cNvSpPr/>
          <p:nvPr/>
        </p:nvSpPr>
        <p:spPr>
          <a:xfrm>
            <a:off x="9377679" y="5444839"/>
            <a:ext cx="2371407" cy="727361"/>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576000" r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100000"/>
              </a:lnSpc>
              <a:spcAft>
                <a:spcPts val="600"/>
              </a:spcAft>
              <a:buSzPct val="100000"/>
            </a:pPr>
            <a:r>
              <a:rPr lang="lv-LV" sz="1200" dirty="0">
                <a:solidFill>
                  <a:schemeClr val="tx1"/>
                </a:solidFill>
                <a:hlinkClick r:id="rId3">
                  <a:extLst>
                    <a:ext uri="{A12FA001-AC4F-418D-AE19-62706E023703}">
                      <ahyp:hlinkClr xmlns:ahyp="http://schemas.microsoft.com/office/drawing/2018/hyperlinkcolor" val="tx"/>
                    </a:ext>
                  </a:extLst>
                </a:hlinkClick>
              </a:rPr>
              <a:t>Civilās aizsardzības un katastrofas pārvaldīšanas likums</a:t>
            </a:r>
            <a:endParaRPr lang="lv-LV" sz="1200" dirty="0">
              <a:solidFill>
                <a:schemeClr val="tx1"/>
              </a:solidFill>
            </a:endParaRPr>
          </a:p>
        </p:txBody>
      </p:sp>
      <p:sp>
        <p:nvSpPr>
          <p:cNvPr id="8" name="Freeform 50">
            <a:extLst>
              <a:ext uri="{FF2B5EF4-FFF2-40B4-BE49-F238E27FC236}">
                <a16:creationId xmlns:a16="http://schemas.microsoft.com/office/drawing/2014/main" id="{4528EADE-8BEF-5FCB-E3FF-940456310D42}"/>
              </a:ext>
            </a:extLst>
          </p:cNvPr>
          <p:cNvSpPr>
            <a:spLocks noChangeAspect="1"/>
          </p:cNvSpPr>
          <p:nvPr/>
        </p:nvSpPr>
        <p:spPr bwMode="auto">
          <a:xfrm>
            <a:off x="9487565" y="566691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83"/>
          </a:p>
        </p:txBody>
      </p:sp>
      <p:cxnSp>
        <p:nvCxnSpPr>
          <p:cNvPr id="41" name="Straight Arrow Connector 40">
            <a:extLst>
              <a:ext uri="{FF2B5EF4-FFF2-40B4-BE49-F238E27FC236}">
                <a16:creationId xmlns:a16="http://schemas.microsoft.com/office/drawing/2014/main" id="{CEAAADF5-671B-80A4-6E5E-DA04481BCBC1}"/>
              </a:ext>
            </a:extLst>
          </p:cNvPr>
          <p:cNvCxnSpPr>
            <a:stCxn id="17" idx="3"/>
            <a:endCxn id="27" idx="1"/>
          </p:cNvCxnSpPr>
          <p:nvPr/>
        </p:nvCxnSpPr>
        <p:spPr>
          <a:xfrm>
            <a:off x="8759032" y="3365931"/>
            <a:ext cx="618647" cy="331"/>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47" name="Connector: Elbow 46">
            <a:extLst>
              <a:ext uri="{FF2B5EF4-FFF2-40B4-BE49-F238E27FC236}">
                <a16:creationId xmlns:a16="http://schemas.microsoft.com/office/drawing/2014/main" id="{077E2C34-DC09-2879-AACF-29F0C6604DF5}"/>
              </a:ext>
            </a:extLst>
          </p:cNvPr>
          <p:cNvCxnSpPr>
            <a:stCxn id="17" idx="3"/>
            <a:endCxn id="25" idx="1"/>
          </p:cNvCxnSpPr>
          <p:nvPr/>
        </p:nvCxnSpPr>
        <p:spPr>
          <a:xfrm>
            <a:off x="8759032" y="3365931"/>
            <a:ext cx="618647" cy="431711"/>
          </a:xfrm>
          <a:prstGeom prst="bentConnector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51" name="Connector: Elbow 50">
            <a:extLst>
              <a:ext uri="{FF2B5EF4-FFF2-40B4-BE49-F238E27FC236}">
                <a16:creationId xmlns:a16="http://schemas.microsoft.com/office/drawing/2014/main" id="{DAB9DF14-D314-01A6-E5C4-003DA0BC7733}"/>
              </a:ext>
            </a:extLst>
          </p:cNvPr>
          <p:cNvCxnSpPr>
            <a:stCxn id="17" idx="3"/>
            <a:endCxn id="26" idx="1"/>
          </p:cNvCxnSpPr>
          <p:nvPr/>
        </p:nvCxnSpPr>
        <p:spPr>
          <a:xfrm>
            <a:off x="8759032" y="3365931"/>
            <a:ext cx="618647" cy="863091"/>
          </a:xfrm>
          <a:prstGeom prst="bentConnector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30" name="Connector: Elbow 29">
            <a:extLst>
              <a:ext uri="{FF2B5EF4-FFF2-40B4-BE49-F238E27FC236}">
                <a16:creationId xmlns:a16="http://schemas.microsoft.com/office/drawing/2014/main" id="{9162BBEE-0406-8AE8-6310-3ED5A1A0D839}"/>
              </a:ext>
            </a:extLst>
          </p:cNvPr>
          <p:cNvCxnSpPr>
            <a:stCxn id="15" idx="2"/>
            <a:endCxn id="16" idx="0"/>
          </p:cNvCxnSpPr>
          <p:nvPr/>
        </p:nvCxnSpPr>
        <p:spPr>
          <a:xfrm rot="16200000" flipH="1">
            <a:off x="6423168" y="2075655"/>
            <a:ext cx="241809" cy="899319"/>
          </a:xfrm>
          <a:prstGeom prst="bentConnector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39" name="Connector: Elbow 38">
            <a:extLst>
              <a:ext uri="{FF2B5EF4-FFF2-40B4-BE49-F238E27FC236}">
                <a16:creationId xmlns:a16="http://schemas.microsoft.com/office/drawing/2014/main" id="{E0E79A37-9388-CAF6-5F69-909079588163}"/>
              </a:ext>
            </a:extLst>
          </p:cNvPr>
          <p:cNvCxnSpPr>
            <a:stCxn id="15" idx="2"/>
            <a:endCxn id="24" idx="0"/>
          </p:cNvCxnSpPr>
          <p:nvPr/>
        </p:nvCxnSpPr>
        <p:spPr>
          <a:xfrm rot="5400000">
            <a:off x="3706400" y="258206"/>
            <a:ext cx="241809" cy="4534218"/>
          </a:xfrm>
          <a:prstGeom prst="bentConnector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2050" name="Connector: Elbow 2049">
            <a:extLst>
              <a:ext uri="{FF2B5EF4-FFF2-40B4-BE49-F238E27FC236}">
                <a16:creationId xmlns:a16="http://schemas.microsoft.com/office/drawing/2014/main" id="{817DB9B9-C5E7-AD6A-DBD4-7B154FF215DF}"/>
              </a:ext>
            </a:extLst>
          </p:cNvPr>
          <p:cNvCxnSpPr>
            <a:cxnSpLocks/>
            <a:stCxn id="34" idx="1"/>
            <a:endCxn id="38" idx="3"/>
          </p:cNvCxnSpPr>
          <p:nvPr/>
        </p:nvCxnSpPr>
        <p:spPr>
          <a:xfrm rot="10800000">
            <a:off x="4609786" y="4733396"/>
            <a:ext cx="635791" cy="1294805"/>
          </a:xfrm>
          <a:prstGeom prst="bentConnector3">
            <a:avLst>
              <a:gd name="adj1" fmla="val 50000"/>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2053" name="Connector: Elbow 2052">
            <a:extLst>
              <a:ext uri="{FF2B5EF4-FFF2-40B4-BE49-F238E27FC236}">
                <a16:creationId xmlns:a16="http://schemas.microsoft.com/office/drawing/2014/main" id="{6441772F-FE0F-25E0-9A66-A6A3D3383D27}"/>
              </a:ext>
            </a:extLst>
          </p:cNvPr>
          <p:cNvCxnSpPr>
            <a:cxnSpLocks/>
            <a:stCxn id="34" idx="1"/>
            <a:endCxn id="37" idx="3"/>
          </p:cNvCxnSpPr>
          <p:nvPr/>
        </p:nvCxnSpPr>
        <p:spPr>
          <a:xfrm rot="10800000">
            <a:off x="4609786" y="5165108"/>
            <a:ext cx="635791" cy="863093"/>
          </a:xfrm>
          <a:prstGeom prst="bentConnector3">
            <a:avLst>
              <a:gd name="adj1" fmla="val 50000"/>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2058" name="Connector: Elbow 2057">
            <a:extLst>
              <a:ext uri="{FF2B5EF4-FFF2-40B4-BE49-F238E27FC236}">
                <a16:creationId xmlns:a16="http://schemas.microsoft.com/office/drawing/2014/main" id="{05A14248-A596-13C6-68A2-501562B33968}"/>
              </a:ext>
            </a:extLst>
          </p:cNvPr>
          <p:cNvCxnSpPr>
            <a:cxnSpLocks/>
            <a:stCxn id="34" idx="1"/>
            <a:endCxn id="36" idx="3"/>
          </p:cNvCxnSpPr>
          <p:nvPr/>
        </p:nvCxnSpPr>
        <p:spPr>
          <a:xfrm rot="10800000">
            <a:off x="4609786" y="5596820"/>
            <a:ext cx="635791" cy="431381"/>
          </a:xfrm>
          <a:prstGeom prst="bentConnector3">
            <a:avLst>
              <a:gd name="adj1" fmla="val 50000"/>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2064" name="Connector: Elbow 2063">
            <a:extLst>
              <a:ext uri="{FF2B5EF4-FFF2-40B4-BE49-F238E27FC236}">
                <a16:creationId xmlns:a16="http://schemas.microsoft.com/office/drawing/2014/main" id="{9B3B1B17-790E-1B82-6AE9-192A86B756CA}"/>
              </a:ext>
            </a:extLst>
          </p:cNvPr>
          <p:cNvCxnSpPr>
            <a:cxnSpLocks/>
            <a:stCxn id="34" idx="1"/>
            <a:endCxn id="35" idx="3"/>
          </p:cNvCxnSpPr>
          <p:nvPr/>
        </p:nvCxnSpPr>
        <p:spPr>
          <a:xfrm rot="10800000" flipV="1">
            <a:off x="4609786" y="6028199"/>
            <a:ext cx="635791" cy="331"/>
          </a:xfrm>
          <a:prstGeom prst="bentConnector3">
            <a:avLst>
              <a:gd name="adj1" fmla="val 50000"/>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grpSp>
        <p:nvGrpSpPr>
          <p:cNvPr id="2" name="Group 1">
            <a:extLst>
              <a:ext uri="{FF2B5EF4-FFF2-40B4-BE49-F238E27FC236}">
                <a16:creationId xmlns:a16="http://schemas.microsoft.com/office/drawing/2014/main" id="{237B977B-AEE9-A486-4D3C-983E1B980805}"/>
              </a:ext>
            </a:extLst>
          </p:cNvPr>
          <p:cNvGrpSpPr/>
          <p:nvPr/>
        </p:nvGrpSpPr>
        <p:grpSpPr>
          <a:xfrm>
            <a:off x="8801780" y="159786"/>
            <a:ext cx="2947308" cy="217488"/>
            <a:chOff x="8801780" y="815106"/>
            <a:chExt cx="2947308" cy="217488"/>
          </a:xfrm>
        </p:grpSpPr>
        <p:sp>
          <p:nvSpPr>
            <p:cNvPr id="7" name="Rectangle 6">
              <a:extLst>
                <a:ext uri="{FF2B5EF4-FFF2-40B4-BE49-F238E27FC236}">
                  <a16:creationId xmlns:a16="http://schemas.microsoft.com/office/drawing/2014/main" id="{5085E604-1144-A0FF-8178-6AEA2F007E84}"/>
                </a:ext>
              </a:extLst>
            </p:cNvPr>
            <p:cNvSpPr/>
            <p:nvPr/>
          </p:nvSpPr>
          <p:spPr>
            <a:xfrm>
              <a:off x="8801780" y="81510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5</a:t>
              </a:r>
              <a:r>
                <a:rPr kumimoji="0" lang="lv-LV" sz="800" b="1" i="0" u="none" strike="noStrike" kern="0" cap="none" spc="0" normalizeH="0" baseline="0" dirty="0">
                  <a:ln>
                    <a:noFill/>
                  </a:ln>
                  <a:effectLst/>
                  <a:uLnTx/>
                  <a:uFillTx/>
                  <a:ea typeface="Georgia"/>
                  <a:cs typeface="Georgia"/>
                  <a:sym typeface="Georgia"/>
                </a:rPr>
                <a:t>.</a:t>
              </a:r>
              <a:r>
                <a:rPr lang="en-US" sz="800" b="1" kern="0" dirty="0">
                  <a:ea typeface="Georgia"/>
                  <a:cs typeface="Georgia"/>
                  <a:sym typeface="Georgia"/>
                </a:rPr>
                <a:t>1</a:t>
              </a:r>
              <a:endParaRPr kumimoji="0" lang="lv-LV" sz="800" b="1" i="0" u="none" strike="noStrike" kern="0" cap="none" spc="0" normalizeH="0" baseline="0" dirty="0">
                <a:ln>
                  <a:noFill/>
                </a:ln>
                <a:effectLst/>
                <a:uLnTx/>
                <a:uFillTx/>
                <a:ea typeface="Georgia"/>
                <a:cs typeface="Georgia"/>
                <a:sym typeface="Georgia"/>
              </a:endParaRPr>
            </a:p>
          </p:txBody>
        </p:sp>
        <p:sp>
          <p:nvSpPr>
            <p:cNvPr id="14" name="Rectangle 13">
              <a:extLst>
                <a:ext uri="{FF2B5EF4-FFF2-40B4-BE49-F238E27FC236}">
                  <a16:creationId xmlns:a16="http://schemas.microsoft.com/office/drawing/2014/main" id="{6DE45B2D-0C38-E4C8-2982-E08214CD96C3}"/>
                </a:ext>
              </a:extLst>
            </p:cNvPr>
            <p:cNvSpPr/>
            <p:nvPr/>
          </p:nvSpPr>
          <p:spPr>
            <a:xfrm>
              <a:off x="11049434" y="81510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lang="en-US" sz="800" b="1" kern="0" dirty="0">
                  <a:solidFill>
                    <a:srgbClr val="A4A3B2"/>
                  </a:solidFill>
                  <a:ea typeface="Georgia"/>
                  <a:cs typeface="Georgia"/>
                  <a:sym typeface="Georgia"/>
                </a:rPr>
                <a:t>2</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28" name="Rectangle 27">
              <a:extLst>
                <a:ext uri="{FF2B5EF4-FFF2-40B4-BE49-F238E27FC236}">
                  <a16:creationId xmlns:a16="http://schemas.microsoft.com/office/drawing/2014/main" id="{61C94C98-9ACB-3F67-AB3A-E70C6719C712}"/>
                </a:ext>
              </a:extLst>
            </p:cNvPr>
            <p:cNvSpPr/>
            <p:nvPr/>
          </p:nvSpPr>
          <p:spPr>
            <a:xfrm>
              <a:off x="9043607" y="815106"/>
              <a:ext cx="198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Katastrofu </a:t>
              </a:r>
              <a:r>
                <a:rPr kumimoji="0" lang="en-US" sz="800" b="1" i="0" u="none" strike="noStrike" kern="0" cap="none" spc="0" normalizeH="0" baseline="0" dirty="0" err="1">
                  <a:ln>
                    <a:noFill/>
                  </a:ln>
                  <a:effectLst/>
                  <a:uLnTx/>
                  <a:uFillTx/>
                  <a:ea typeface="Georgia"/>
                  <a:cs typeface="Georgia"/>
                  <a:sym typeface="Georgia"/>
                </a:rPr>
                <a:t>iedalījums</a:t>
              </a:r>
              <a:endParaRPr kumimoji="0" lang="en-US" sz="800" b="1" i="0" u="none" strike="noStrike" kern="0" cap="none" spc="0" normalizeH="0" baseline="0" dirty="0">
                <a:ln>
                  <a:noFill/>
                </a:ln>
                <a:effectLst/>
                <a:uLnTx/>
                <a:uFillTx/>
                <a:ea typeface="Georgia"/>
                <a:cs typeface="Georgia"/>
                <a:sym typeface="Georgia"/>
              </a:endParaRPr>
            </a:p>
          </p:txBody>
        </p:sp>
        <p:sp>
          <p:nvSpPr>
            <p:cNvPr id="29" name="Rectangle 28">
              <a:extLst>
                <a:ext uri="{FF2B5EF4-FFF2-40B4-BE49-F238E27FC236}">
                  <a16:creationId xmlns:a16="http://schemas.microsoft.com/office/drawing/2014/main" id="{4E64774E-CD23-8B1A-A5E9-AB7EE56D28A6}"/>
                </a:ext>
              </a:extLst>
            </p:cNvPr>
            <p:cNvSpPr/>
            <p:nvPr/>
          </p:nvSpPr>
          <p:spPr>
            <a:xfrm>
              <a:off x="11291261" y="81510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3</a:t>
              </a:r>
            </a:p>
          </p:txBody>
        </p:sp>
        <p:sp>
          <p:nvSpPr>
            <p:cNvPr id="31" name="Rectangle 30">
              <a:extLst>
                <a:ext uri="{FF2B5EF4-FFF2-40B4-BE49-F238E27FC236}">
                  <a16:creationId xmlns:a16="http://schemas.microsoft.com/office/drawing/2014/main" id="{B9AE3AB8-0193-7CA8-23EB-79A67B09128E}"/>
                </a:ext>
              </a:extLst>
            </p:cNvPr>
            <p:cNvSpPr/>
            <p:nvPr/>
          </p:nvSpPr>
          <p:spPr>
            <a:xfrm>
              <a:off x="11533088" y="81510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12633837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5EE2C57A-1B74-0057-BDA3-2F154FBC5CCF}"/>
              </a:ext>
            </a:extLst>
          </p:cNvPr>
          <p:cNvSpPr/>
          <p:nvPr/>
        </p:nvSpPr>
        <p:spPr>
          <a:xfrm>
            <a:off x="442913" y="2659380"/>
            <a:ext cx="3544484" cy="351282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9" name="Rectangle 38">
            <a:extLst>
              <a:ext uri="{FF2B5EF4-FFF2-40B4-BE49-F238E27FC236}">
                <a16:creationId xmlns:a16="http://schemas.microsoft.com/office/drawing/2014/main" id="{5483D1D4-8431-30BC-5736-099206B8B484}"/>
              </a:ext>
            </a:extLst>
          </p:cNvPr>
          <p:cNvSpPr/>
          <p:nvPr/>
        </p:nvSpPr>
        <p:spPr>
          <a:xfrm>
            <a:off x="4322965" y="2659380"/>
            <a:ext cx="3544484" cy="351282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0" name="Rectangle 39">
            <a:extLst>
              <a:ext uri="{FF2B5EF4-FFF2-40B4-BE49-F238E27FC236}">
                <a16:creationId xmlns:a16="http://schemas.microsoft.com/office/drawing/2014/main" id="{057F3036-5C43-5BC3-939E-A103B51B3E2B}"/>
              </a:ext>
            </a:extLst>
          </p:cNvPr>
          <p:cNvSpPr/>
          <p:nvPr/>
        </p:nvSpPr>
        <p:spPr>
          <a:xfrm>
            <a:off x="8203016" y="2659380"/>
            <a:ext cx="3544484" cy="351282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0" name="Title 29">
            <a:extLst>
              <a:ext uri="{FF2B5EF4-FFF2-40B4-BE49-F238E27FC236}">
                <a16:creationId xmlns:a16="http://schemas.microsoft.com/office/drawing/2014/main" id="{38649D74-E29F-EDAC-569B-EFCDCE1450C0}"/>
              </a:ext>
            </a:extLst>
          </p:cNvPr>
          <p:cNvSpPr>
            <a:spLocks noGrp="1"/>
          </p:cNvSpPr>
          <p:nvPr>
            <p:ph type="title"/>
          </p:nvPr>
        </p:nvSpPr>
        <p:spPr>
          <a:xfrm>
            <a:off x="442913" y="432001"/>
            <a:ext cx="11306175" cy="1387274"/>
          </a:xfrm>
        </p:spPr>
        <p:txBody>
          <a:bodyPr vert="horz"/>
          <a:lstStyle/>
          <a:p>
            <a:r>
              <a:rPr lang="lv-LV"/>
              <a:t>Katastrofu iedalījums atbilstoši skartās teritorijas mērogam</a:t>
            </a:r>
            <a:endParaRPr lang="cs-CZ"/>
          </a:p>
        </p:txBody>
      </p:sp>
      <p:sp>
        <p:nvSpPr>
          <p:cNvPr id="4" name="Slide Number Placeholder 3">
            <a:extLst>
              <a:ext uri="{FF2B5EF4-FFF2-40B4-BE49-F238E27FC236}">
                <a16:creationId xmlns:a16="http://schemas.microsoft.com/office/drawing/2014/main" id="{FC28A04A-0E2E-C061-B351-D5E6D2A2EBF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9</a:t>
            </a:fld>
            <a:endParaRPr lang="en-GB"/>
          </a:p>
        </p:txBody>
      </p:sp>
      <p:sp>
        <p:nvSpPr>
          <p:cNvPr id="7" name="Content Placeholder 1">
            <a:extLst>
              <a:ext uri="{FF2B5EF4-FFF2-40B4-BE49-F238E27FC236}">
                <a16:creationId xmlns:a16="http://schemas.microsoft.com/office/drawing/2014/main" id="{AFD582C8-4DF4-4C7F-5B43-9D931DE50F5F}"/>
              </a:ext>
            </a:extLst>
          </p:cNvPr>
          <p:cNvSpPr txBox="1">
            <a:spLocks/>
          </p:cNvSpPr>
          <p:nvPr/>
        </p:nvSpPr>
        <p:spPr>
          <a:xfrm>
            <a:off x="4322965" y="2659380"/>
            <a:ext cx="3544888" cy="1945643"/>
          </a:xfrm>
          <a:prstGeom prst="rect">
            <a:avLst/>
          </a:prstGeom>
        </p:spPr>
        <p:txBody>
          <a:bodyPr vert="horz" lIns="72000" tIns="72000" rIns="72000" bIns="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a:solidFill>
                  <a:srgbClr val="A8192D"/>
                </a:solidFill>
              </a:rPr>
              <a:t>Reģionāla mēroga katastrofas</a:t>
            </a:r>
            <a:r>
              <a:rPr lang="en-US" sz="1400">
                <a:solidFill>
                  <a:srgbClr val="A8192D"/>
                </a:solidFill>
              </a:rPr>
              <a:t> – </a:t>
            </a:r>
            <a:r>
              <a:rPr lang="lv-LV" sz="1400" b="0">
                <a:solidFill>
                  <a:schemeClr val="tx1"/>
                </a:solidFill>
              </a:rPr>
              <a:t>katastrofas radīto</a:t>
            </a:r>
            <a:r>
              <a:rPr lang="en-US" sz="1400" b="0">
                <a:solidFill>
                  <a:schemeClr val="tx1"/>
                </a:solidFill>
              </a:rPr>
              <a:t> </a:t>
            </a:r>
            <a:r>
              <a:rPr lang="lv-LV" sz="1400" b="0">
                <a:solidFill>
                  <a:schemeClr val="tx1"/>
                </a:solidFill>
              </a:rPr>
              <a:t>postījumu apjoms pārsniedz</a:t>
            </a:r>
            <a:r>
              <a:rPr lang="en-US" sz="1400" b="0">
                <a:solidFill>
                  <a:schemeClr val="tx1"/>
                </a:solidFill>
              </a:rPr>
              <a:t> </a:t>
            </a:r>
            <a:r>
              <a:rPr lang="lv-LV" sz="1400" b="0">
                <a:solidFill>
                  <a:schemeClr val="tx1"/>
                </a:solidFill>
              </a:rPr>
              <a:t>vienas pašvaldības</a:t>
            </a:r>
          </a:p>
          <a:p>
            <a:pPr>
              <a:spcAft>
                <a:spcPts val="0"/>
              </a:spcAft>
            </a:pPr>
            <a:r>
              <a:rPr lang="lv-LV" sz="1400" b="0">
                <a:solidFill>
                  <a:schemeClr val="tx1"/>
                </a:solidFill>
              </a:rPr>
              <a:t>administratīvās teritorijas</a:t>
            </a:r>
            <a:r>
              <a:rPr lang="en-US" sz="1400" b="0">
                <a:solidFill>
                  <a:schemeClr val="tx1"/>
                </a:solidFill>
              </a:rPr>
              <a:t> </a:t>
            </a:r>
            <a:r>
              <a:rPr lang="lv-LV" sz="1400" b="0">
                <a:solidFill>
                  <a:schemeClr val="tx1"/>
                </a:solidFill>
              </a:rPr>
              <a:t>robežas</a:t>
            </a:r>
          </a:p>
          <a:p>
            <a:pPr>
              <a:spcAft>
                <a:spcPts val="0"/>
              </a:spcAft>
            </a:pPr>
            <a:endParaRPr lang="en-GB" sz="1400"/>
          </a:p>
        </p:txBody>
      </p:sp>
      <p:sp>
        <p:nvSpPr>
          <p:cNvPr id="11" name="Content Placeholder 1">
            <a:extLst>
              <a:ext uri="{FF2B5EF4-FFF2-40B4-BE49-F238E27FC236}">
                <a16:creationId xmlns:a16="http://schemas.microsoft.com/office/drawing/2014/main" id="{8443DA18-F158-0439-6EC8-90BD75B53F26}"/>
              </a:ext>
            </a:extLst>
          </p:cNvPr>
          <p:cNvSpPr txBox="1">
            <a:spLocks/>
          </p:cNvSpPr>
          <p:nvPr/>
        </p:nvSpPr>
        <p:spPr>
          <a:xfrm>
            <a:off x="8203016" y="2659380"/>
            <a:ext cx="3544888" cy="1945643"/>
          </a:xfrm>
          <a:prstGeom prst="rect">
            <a:avLst/>
          </a:prstGeom>
        </p:spPr>
        <p:txBody>
          <a:bodyPr vert="horz" lIns="72000" tIns="72000" rIns="72000" bIns="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a:solidFill>
                  <a:srgbClr val="A8192D"/>
                </a:solidFill>
              </a:rPr>
              <a:t>Valsts mēroga katastrofas</a:t>
            </a:r>
            <a:r>
              <a:rPr lang="en-US" sz="1400">
                <a:solidFill>
                  <a:srgbClr val="A8192D"/>
                </a:solidFill>
              </a:rPr>
              <a:t> – </a:t>
            </a:r>
          </a:p>
          <a:p>
            <a:pPr>
              <a:spcAft>
                <a:spcPts val="0"/>
              </a:spcAft>
            </a:pPr>
            <a:r>
              <a:rPr lang="lv-LV" sz="1400" b="0">
                <a:solidFill>
                  <a:schemeClr val="tx1"/>
                </a:solidFill>
              </a:rPr>
              <a:t>katastrofas radītie postījumi ietekmē visu valsts teritoriju vai nozīmīgu tās daļu</a:t>
            </a:r>
            <a:endParaRPr lang="en-GB" sz="1400" b="0">
              <a:solidFill>
                <a:schemeClr val="tx1"/>
              </a:solidFill>
            </a:endParaRPr>
          </a:p>
        </p:txBody>
      </p:sp>
      <p:sp>
        <p:nvSpPr>
          <p:cNvPr id="14" name="Rectangle 13">
            <a:extLst>
              <a:ext uri="{FF2B5EF4-FFF2-40B4-BE49-F238E27FC236}">
                <a16:creationId xmlns:a16="http://schemas.microsoft.com/office/drawing/2014/main" id="{85AF2FF4-7244-F475-595C-254FDFBDD230}"/>
              </a:ext>
            </a:extLst>
          </p:cNvPr>
          <p:cNvSpPr/>
          <p:nvPr/>
        </p:nvSpPr>
        <p:spPr>
          <a:xfrm>
            <a:off x="441325" y="1819275"/>
            <a:ext cx="11306175"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Kādus piemērus Jūs varat nosaukt dažāda mēroga katastrofām?</a:t>
            </a:r>
          </a:p>
        </p:txBody>
      </p:sp>
      <p:sp>
        <p:nvSpPr>
          <p:cNvPr id="15" name="Rectangle 14">
            <a:extLst>
              <a:ext uri="{FF2B5EF4-FFF2-40B4-BE49-F238E27FC236}">
                <a16:creationId xmlns:a16="http://schemas.microsoft.com/office/drawing/2014/main" id="{1AEEB028-8B4A-954E-DB11-B68759067C9A}"/>
              </a:ext>
            </a:extLst>
          </p:cNvPr>
          <p:cNvSpPr/>
          <p:nvPr/>
        </p:nvSpPr>
        <p:spPr>
          <a:xfrm>
            <a:off x="11171500"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6" name="Rectangle 15">
            <a:extLst>
              <a:ext uri="{FF2B5EF4-FFF2-40B4-BE49-F238E27FC236}">
                <a16:creationId xmlns:a16="http://schemas.microsoft.com/office/drawing/2014/main" id="{7D14AB53-41EC-361F-8CBD-34A144B3E4A5}"/>
              </a:ext>
            </a:extLst>
          </p:cNvPr>
          <p:cNvSpPr/>
          <p:nvPr/>
        </p:nvSpPr>
        <p:spPr>
          <a:xfrm>
            <a:off x="111006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3" name="Content Placeholder 1">
            <a:extLst>
              <a:ext uri="{FF2B5EF4-FFF2-40B4-BE49-F238E27FC236}">
                <a16:creationId xmlns:a16="http://schemas.microsoft.com/office/drawing/2014/main" id="{9946895D-BC51-06A4-900F-F4C00B51C404}"/>
              </a:ext>
            </a:extLst>
          </p:cNvPr>
          <p:cNvSpPr txBox="1">
            <a:spLocks/>
          </p:cNvSpPr>
          <p:nvPr/>
        </p:nvSpPr>
        <p:spPr>
          <a:xfrm>
            <a:off x="442912" y="2659380"/>
            <a:ext cx="3544888" cy="1946275"/>
          </a:xfrm>
          <a:prstGeom prst="rect">
            <a:avLst/>
          </a:prstGeom>
        </p:spPr>
        <p:txBody>
          <a:bodyPr vert="horz" lIns="72000" tIns="72000" rIns="72000" bIns="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en-GB" sz="1400" err="1">
                <a:solidFill>
                  <a:srgbClr val="A8192D"/>
                </a:solidFill>
              </a:rPr>
              <a:t>Vietēja</a:t>
            </a:r>
            <a:r>
              <a:rPr lang="en-GB" sz="1400">
                <a:solidFill>
                  <a:srgbClr val="A8192D"/>
                </a:solidFill>
              </a:rPr>
              <a:t> </a:t>
            </a:r>
            <a:r>
              <a:rPr lang="en-GB" sz="1400" err="1">
                <a:solidFill>
                  <a:srgbClr val="A8192D"/>
                </a:solidFill>
              </a:rPr>
              <a:t>mēroga</a:t>
            </a:r>
            <a:r>
              <a:rPr lang="en-GB" sz="1400">
                <a:solidFill>
                  <a:srgbClr val="A8192D"/>
                </a:solidFill>
              </a:rPr>
              <a:t> </a:t>
            </a:r>
            <a:r>
              <a:rPr lang="en-GB" sz="1400" err="1">
                <a:solidFill>
                  <a:srgbClr val="A8192D"/>
                </a:solidFill>
              </a:rPr>
              <a:t>katastrofas</a:t>
            </a:r>
            <a:r>
              <a:rPr lang="en-GB" sz="1400">
                <a:solidFill>
                  <a:srgbClr val="A8192D"/>
                </a:solidFill>
              </a:rPr>
              <a:t> – </a:t>
            </a:r>
          </a:p>
          <a:p>
            <a:pPr>
              <a:spcAft>
                <a:spcPts val="0"/>
              </a:spcAft>
            </a:pPr>
            <a:r>
              <a:rPr lang="lv-LV" sz="1400" b="0">
                <a:solidFill>
                  <a:schemeClr val="tx1"/>
                </a:solidFill>
              </a:rPr>
              <a:t>k</a:t>
            </a:r>
            <a:r>
              <a:rPr lang="en-GB" sz="1400" b="0" err="1">
                <a:solidFill>
                  <a:schemeClr val="tx1"/>
                </a:solidFill>
              </a:rPr>
              <a:t>atastrofas</a:t>
            </a:r>
            <a:r>
              <a:rPr lang="en-GB" sz="1400" b="0">
                <a:solidFill>
                  <a:schemeClr val="tx1"/>
                </a:solidFill>
              </a:rPr>
              <a:t> </a:t>
            </a:r>
            <a:r>
              <a:rPr lang="en-GB" sz="1400" b="0" err="1">
                <a:solidFill>
                  <a:schemeClr val="tx1"/>
                </a:solidFill>
              </a:rPr>
              <a:t>radīto</a:t>
            </a:r>
            <a:r>
              <a:rPr lang="en-GB" sz="1400" b="0">
                <a:solidFill>
                  <a:schemeClr val="tx1"/>
                </a:solidFill>
              </a:rPr>
              <a:t> </a:t>
            </a:r>
            <a:r>
              <a:rPr lang="en-GB" sz="1400" b="0" err="1">
                <a:solidFill>
                  <a:schemeClr val="tx1"/>
                </a:solidFill>
              </a:rPr>
              <a:t>postījumu</a:t>
            </a:r>
            <a:r>
              <a:rPr lang="en-GB" sz="1400" b="0">
                <a:solidFill>
                  <a:schemeClr val="tx1"/>
                </a:solidFill>
              </a:rPr>
              <a:t> </a:t>
            </a:r>
            <a:r>
              <a:rPr lang="en-GB" sz="1400" b="0" err="1">
                <a:solidFill>
                  <a:schemeClr val="tx1"/>
                </a:solidFill>
              </a:rPr>
              <a:t>apjoms</a:t>
            </a:r>
            <a:endParaRPr lang="en-GB" sz="1400" b="0">
              <a:solidFill>
                <a:schemeClr val="tx1"/>
              </a:solidFill>
            </a:endParaRPr>
          </a:p>
          <a:p>
            <a:pPr>
              <a:spcAft>
                <a:spcPts val="0"/>
              </a:spcAft>
            </a:pPr>
            <a:r>
              <a:rPr lang="en-GB" sz="1400" b="0" err="1">
                <a:solidFill>
                  <a:schemeClr val="tx1"/>
                </a:solidFill>
              </a:rPr>
              <a:t>nepārsniedz</a:t>
            </a:r>
            <a:r>
              <a:rPr lang="en-GB" sz="1400" b="0">
                <a:solidFill>
                  <a:schemeClr val="tx1"/>
                </a:solidFill>
              </a:rPr>
              <a:t> </a:t>
            </a:r>
            <a:r>
              <a:rPr lang="en-GB" sz="1400" b="0" err="1">
                <a:solidFill>
                  <a:schemeClr val="tx1"/>
                </a:solidFill>
              </a:rPr>
              <a:t>vienas</a:t>
            </a:r>
            <a:r>
              <a:rPr lang="en-GB" sz="1400" b="0">
                <a:solidFill>
                  <a:schemeClr val="tx1"/>
                </a:solidFill>
              </a:rPr>
              <a:t> </a:t>
            </a:r>
            <a:r>
              <a:rPr lang="en-GB" sz="1400" b="0" err="1">
                <a:solidFill>
                  <a:schemeClr val="tx1"/>
                </a:solidFill>
              </a:rPr>
              <a:t>pašvaldības</a:t>
            </a:r>
            <a:endParaRPr lang="en-GB" sz="1400" b="0">
              <a:solidFill>
                <a:schemeClr val="tx1"/>
              </a:solidFill>
            </a:endParaRPr>
          </a:p>
          <a:p>
            <a:pPr>
              <a:spcAft>
                <a:spcPts val="0"/>
              </a:spcAft>
            </a:pPr>
            <a:r>
              <a:rPr lang="en-GB" sz="1400" b="0" err="1">
                <a:solidFill>
                  <a:schemeClr val="tx1"/>
                </a:solidFill>
              </a:rPr>
              <a:t>administratīvās</a:t>
            </a:r>
            <a:r>
              <a:rPr lang="en-GB" sz="1400" b="0">
                <a:solidFill>
                  <a:schemeClr val="tx1"/>
                </a:solidFill>
              </a:rPr>
              <a:t> </a:t>
            </a:r>
            <a:r>
              <a:rPr lang="en-GB" sz="1400" b="0" err="1">
                <a:solidFill>
                  <a:schemeClr val="tx1"/>
                </a:solidFill>
              </a:rPr>
              <a:t>teritorijas</a:t>
            </a:r>
            <a:r>
              <a:rPr lang="en-GB" sz="1400" b="0">
                <a:solidFill>
                  <a:schemeClr val="tx1"/>
                </a:solidFill>
              </a:rPr>
              <a:t> </a:t>
            </a:r>
            <a:r>
              <a:rPr lang="en-GB" sz="1400" b="0" err="1">
                <a:solidFill>
                  <a:schemeClr val="tx1"/>
                </a:solidFill>
              </a:rPr>
              <a:t>robežas</a:t>
            </a:r>
            <a:endParaRPr lang="en-GB" sz="1400" b="0">
              <a:solidFill>
                <a:schemeClr val="tx1"/>
              </a:solidFill>
            </a:endParaRPr>
          </a:p>
          <a:p>
            <a:pPr>
              <a:spcAft>
                <a:spcPts val="0"/>
              </a:spcAft>
            </a:pPr>
            <a:endParaRPr lang="en-GB" sz="1400"/>
          </a:p>
        </p:txBody>
      </p:sp>
      <p:sp>
        <p:nvSpPr>
          <p:cNvPr id="26" name="Google Shape;764;p79">
            <a:extLst>
              <a:ext uri="{FF2B5EF4-FFF2-40B4-BE49-F238E27FC236}">
                <a16:creationId xmlns:a16="http://schemas.microsoft.com/office/drawing/2014/main" id="{81AD3CCD-24B7-4140-627E-662BA7CD54E5}"/>
              </a:ext>
            </a:extLst>
          </p:cNvPr>
          <p:cNvSpPr/>
          <p:nvPr/>
        </p:nvSpPr>
        <p:spPr>
          <a:xfrm>
            <a:off x="11279500" y="1927275"/>
            <a:ext cx="360000" cy="360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178" y="228"/>
                </a:moveTo>
                <a:cubicBezTo>
                  <a:pt x="178" y="210"/>
                  <a:pt x="180" y="194"/>
                  <a:pt x="186" y="180"/>
                </a:cubicBezTo>
                <a:cubicBezTo>
                  <a:pt x="191" y="165"/>
                  <a:pt x="199" y="153"/>
                  <a:pt x="209" y="143"/>
                </a:cubicBezTo>
                <a:cubicBezTo>
                  <a:pt x="219" y="132"/>
                  <a:pt x="231" y="124"/>
                  <a:pt x="246" y="119"/>
                </a:cubicBezTo>
                <a:cubicBezTo>
                  <a:pt x="260" y="113"/>
                  <a:pt x="276" y="110"/>
                  <a:pt x="294" y="110"/>
                </a:cubicBezTo>
                <a:cubicBezTo>
                  <a:pt x="309" y="110"/>
                  <a:pt x="322" y="112"/>
                  <a:pt x="335" y="117"/>
                </a:cubicBezTo>
                <a:cubicBezTo>
                  <a:pt x="348" y="121"/>
                  <a:pt x="359" y="127"/>
                  <a:pt x="369" y="136"/>
                </a:cubicBezTo>
                <a:cubicBezTo>
                  <a:pt x="378" y="144"/>
                  <a:pt x="386" y="154"/>
                  <a:pt x="391" y="166"/>
                </a:cubicBezTo>
                <a:cubicBezTo>
                  <a:pt x="397" y="179"/>
                  <a:pt x="399" y="192"/>
                  <a:pt x="399" y="208"/>
                </a:cubicBezTo>
                <a:cubicBezTo>
                  <a:pt x="399" y="219"/>
                  <a:pt x="398" y="229"/>
                  <a:pt x="396" y="237"/>
                </a:cubicBezTo>
                <a:cubicBezTo>
                  <a:pt x="393" y="245"/>
                  <a:pt x="390" y="253"/>
                  <a:pt x="386" y="258"/>
                </a:cubicBezTo>
                <a:cubicBezTo>
                  <a:pt x="382" y="264"/>
                  <a:pt x="377" y="270"/>
                  <a:pt x="372" y="274"/>
                </a:cubicBezTo>
                <a:cubicBezTo>
                  <a:pt x="367" y="279"/>
                  <a:pt x="362" y="284"/>
                  <a:pt x="357" y="288"/>
                </a:cubicBezTo>
                <a:cubicBezTo>
                  <a:pt x="351" y="293"/>
                  <a:pt x="345" y="298"/>
                  <a:pt x="340" y="303"/>
                </a:cubicBezTo>
                <a:cubicBezTo>
                  <a:pt x="335" y="308"/>
                  <a:pt x="330" y="313"/>
                  <a:pt x="326" y="319"/>
                </a:cubicBezTo>
                <a:cubicBezTo>
                  <a:pt x="322" y="325"/>
                  <a:pt x="319" y="332"/>
                  <a:pt x="317" y="341"/>
                </a:cubicBezTo>
                <a:cubicBezTo>
                  <a:pt x="315" y="349"/>
                  <a:pt x="314" y="358"/>
                  <a:pt x="314" y="370"/>
                </a:cubicBezTo>
                <a:cubicBezTo>
                  <a:pt x="262" y="370"/>
                  <a:pt x="262" y="370"/>
                  <a:pt x="262" y="370"/>
                </a:cubicBezTo>
                <a:cubicBezTo>
                  <a:pt x="262" y="356"/>
                  <a:pt x="263" y="344"/>
                  <a:pt x="264" y="334"/>
                </a:cubicBezTo>
                <a:cubicBezTo>
                  <a:pt x="266" y="324"/>
                  <a:pt x="268" y="316"/>
                  <a:pt x="271" y="308"/>
                </a:cubicBezTo>
                <a:cubicBezTo>
                  <a:pt x="274" y="301"/>
                  <a:pt x="278" y="294"/>
                  <a:pt x="283" y="288"/>
                </a:cubicBezTo>
                <a:cubicBezTo>
                  <a:pt x="288" y="283"/>
                  <a:pt x="293" y="277"/>
                  <a:pt x="300" y="272"/>
                </a:cubicBezTo>
                <a:cubicBezTo>
                  <a:pt x="305" y="267"/>
                  <a:pt x="310" y="263"/>
                  <a:pt x="314" y="259"/>
                </a:cubicBezTo>
                <a:cubicBezTo>
                  <a:pt x="319" y="255"/>
                  <a:pt x="323" y="251"/>
                  <a:pt x="327" y="246"/>
                </a:cubicBezTo>
                <a:cubicBezTo>
                  <a:pt x="331" y="242"/>
                  <a:pt x="334" y="236"/>
                  <a:pt x="336" y="231"/>
                </a:cubicBezTo>
                <a:cubicBezTo>
                  <a:pt x="338" y="225"/>
                  <a:pt x="339" y="218"/>
                  <a:pt x="339" y="210"/>
                </a:cubicBezTo>
                <a:cubicBezTo>
                  <a:pt x="339" y="200"/>
                  <a:pt x="337" y="192"/>
                  <a:pt x="334" y="185"/>
                </a:cubicBezTo>
                <a:cubicBezTo>
                  <a:pt x="330" y="178"/>
                  <a:pt x="326" y="172"/>
                  <a:pt x="321" y="168"/>
                </a:cubicBezTo>
                <a:cubicBezTo>
                  <a:pt x="317" y="164"/>
                  <a:pt x="311" y="161"/>
                  <a:pt x="306" y="159"/>
                </a:cubicBezTo>
                <a:cubicBezTo>
                  <a:pt x="300" y="157"/>
                  <a:pt x="296" y="156"/>
                  <a:pt x="291" y="156"/>
                </a:cubicBezTo>
                <a:cubicBezTo>
                  <a:pt x="271" y="156"/>
                  <a:pt x="257" y="163"/>
                  <a:pt x="247" y="176"/>
                </a:cubicBezTo>
                <a:cubicBezTo>
                  <a:pt x="238" y="189"/>
                  <a:pt x="233" y="206"/>
                  <a:pt x="233" y="228"/>
                </a:cubicBezTo>
                <a:lnTo>
                  <a:pt x="178" y="228"/>
                </a:lnTo>
                <a:close/>
                <a:moveTo>
                  <a:pt x="255" y="403"/>
                </a:moveTo>
                <a:cubicBezTo>
                  <a:pt x="319" y="403"/>
                  <a:pt x="319" y="403"/>
                  <a:pt x="319" y="403"/>
                </a:cubicBezTo>
                <a:cubicBezTo>
                  <a:pt x="319" y="464"/>
                  <a:pt x="319" y="464"/>
                  <a:pt x="319" y="464"/>
                </a:cubicBezTo>
                <a:cubicBezTo>
                  <a:pt x="255" y="464"/>
                  <a:pt x="255" y="464"/>
                  <a:pt x="255" y="464"/>
                </a:cubicBezTo>
                <a:lnTo>
                  <a:pt x="255" y="403"/>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146" name="Graphic 2">
            <a:extLst>
              <a:ext uri="{FF2B5EF4-FFF2-40B4-BE49-F238E27FC236}">
                <a16:creationId xmlns:a16="http://schemas.microsoft.com/office/drawing/2014/main" id="{A26111C1-2BCD-B211-4344-13364A8F8DB2}"/>
              </a:ext>
            </a:extLst>
          </p:cNvPr>
          <p:cNvGrpSpPr/>
          <p:nvPr/>
        </p:nvGrpSpPr>
        <p:grpSpPr>
          <a:xfrm>
            <a:off x="8375498" y="3952242"/>
            <a:ext cx="3199520" cy="1945642"/>
            <a:chOff x="7958277" y="6242587"/>
            <a:chExt cx="2823019" cy="1716690"/>
          </a:xfrm>
          <a:solidFill>
            <a:srgbClr val="DEDEDE"/>
          </a:solidFill>
        </p:grpSpPr>
        <p:sp>
          <p:nvSpPr>
            <p:cNvPr id="147" name="Freeform: Shape 146">
              <a:extLst>
                <a:ext uri="{FF2B5EF4-FFF2-40B4-BE49-F238E27FC236}">
                  <a16:creationId xmlns:a16="http://schemas.microsoft.com/office/drawing/2014/main" id="{66B0A30B-A62B-BA8A-1205-E128D333D445}"/>
                </a:ext>
              </a:extLst>
            </p:cNvPr>
            <p:cNvSpPr/>
            <p:nvPr/>
          </p:nvSpPr>
          <p:spPr>
            <a:xfrm>
              <a:off x="7958658" y="6242587"/>
              <a:ext cx="2822638" cy="1716690"/>
            </a:xfrm>
            <a:custGeom>
              <a:avLst/>
              <a:gdLst>
                <a:gd name="connsiteX0" fmla="*/ 2485644 w 2822638"/>
                <a:gd name="connsiteY0" fmla="*/ 400336 h 1716690"/>
                <a:gd name="connsiteX1" fmla="*/ 2553843 w 2822638"/>
                <a:gd name="connsiteY1" fmla="*/ 399669 h 1716690"/>
                <a:gd name="connsiteX2" fmla="*/ 2551748 w 2822638"/>
                <a:gd name="connsiteY2" fmla="*/ 426053 h 1716690"/>
                <a:gd name="connsiteX3" fmla="*/ 2552891 w 2822638"/>
                <a:gd name="connsiteY3" fmla="*/ 443198 h 1716690"/>
                <a:gd name="connsiteX4" fmla="*/ 2548700 w 2822638"/>
                <a:gd name="connsiteY4" fmla="*/ 458057 h 1716690"/>
                <a:gd name="connsiteX5" fmla="*/ 2547366 w 2822638"/>
                <a:gd name="connsiteY5" fmla="*/ 470726 h 1716690"/>
                <a:gd name="connsiteX6" fmla="*/ 2557082 w 2822638"/>
                <a:gd name="connsiteY6" fmla="*/ 481394 h 1716690"/>
                <a:gd name="connsiteX7" fmla="*/ 2597849 w 2822638"/>
                <a:gd name="connsiteY7" fmla="*/ 500729 h 1716690"/>
                <a:gd name="connsiteX8" fmla="*/ 2618708 w 2822638"/>
                <a:gd name="connsiteY8" fmla="*/ 524256 h 1716690"/>
                <a:gd name="connsiteX9" fmla="*/ 2623947 w 2822638"/>
                <a:gd name="connsiteY9" fmla="*/ 530257 h 1716690"/>
                <a:gd name="connsiteX10" fmla="*/ 2663381 w 2822638"/>
                <a:gd name="connsiteY10" fmla="*/ 554927 h 1716690"/>
                <a:gd name="connsiteX11" fmla="*/ 2670620 w 2822638"/>
                <a:gd name="connsiteY11" fmla="*/ 561404 h 1716690"/>
                <a:gd name="connsiteX12" fmla="*/ 2675477 w 2822638"/>
                <a:gd name="connsiteY12" fmla="*/ 571691 h 1716690"/>
                <a:gd name="connsiteX13" fmla="*/ 2677763 w 2822638"/>
                <a:gd name="connsiteY13" fmla="*/ 588550 h 1716690"/>
                <a:gd name="connsiteX14" fmla="*/ 2675858 w 2822638"/>
                <a:gd name="connsiteY14" fmla="*/ 628936 h 1716690"/>
                <a:gd name="connsiteX15" fmla="*/ 2673001 w 2822638"/>
                <a:gd name="connsiteY15" fmla="*/ 651034 h 1716690"/>
                <a:gd name="connsiteX16" fmla="*/ 2669286 w 2822638"/>
                <a:gd name="connsiteY16" fmla="*/ 666369 h 1716690"/>
                <a:gd name="connsiteX17" fmla="*/ 2657475 w 2822638"/>
                <a:gd name="connsiteY17" fmla="*/ 677609 h 1716690"/>
                <a:gd name="connsiteX18" fmla="*/ 2621280 w 2822638"/>
                <a:gd name="connsiteY18" fmla="*/ 695230 h 1716690"/>
                <a:gd name="connsiteX19" fmla="*/ 2613946 w 2822638"/>
                <a:gd name="connsiteY19" fmla="*/ 705993 h 1716690"/>
                <a:gd name="connsiteX20" fmla="*/ 2619375 w 2822638"/>
                <a:gd name="connsiteY20" fmla="*/ 719042 h 1716690"/>
                <a:gd name="connsiteX21" fmla="*/ 2629472 w 2822638"/>
                <a:gd name="connsiteY21" fmla="*/ 724376 h 1716690"/>
                <a:gd name="connsiteX22" fmla="*/ 2638616 w 2822638"/>
                <a:gd name="connsiteY22" fmla="*/ 731520 h 1716690"/>
                <a:gd name="connsiteX23" fmla="*/ 2640616 w 2822638"/>
                <a:gd name="connsiteY23" fmla="*/ 749903 h 1716690"/>
                <a:gd name="connsiteX24" fmla="*/ 2638711 w 2822638"/>
                <a:gd name="connsiteY24" fmla="*/ 757714 h 1716690"/>
                <a:gd name="connsiteX25" fmla="*/ 2632424 w 2822638"/>
                <a:gd name="connsiteY25" fmla="*/ 773144 h 1716690"/>
                <a:gd name="connsiteX26" fmla="*/ 2630043 w 2822638"/>
                <a:gd name="connsiteY26" fmla="*/ 781050 h 1716690"/>
                <a:gd name="connsiteX27" fmla="*/ 2628996 w 2822638"/>
                <a:gd name="connsiteY27" fmla="*/ 788289 h 1716690"/>
                <a:gd name="connsiteX28" fmla="*/ 2628138 w 2822638"/>
                <a:gd name="connsiteY28" fmla="*/ 802577 h 1716690"/>
                <a:gd name="connsiteX29" fmla="*/ 2626805 w 2822638"/>
                <a:gd name="connsiteY29" fmla="*/ 810673 h 1716690"/>
                <a:gd name="connsiteX30" fmla="*/ 2600897 w 2822638"/>
                <a:gd name="connsiteY30" fmla="*/ 866394 h 1716690"/>
                <a:gd name="connsiteX31" fmla="*/ 2592991 w 2822638"/>
                <a:gd name="connsiteY31" fmla="*/ 891350 h 1716690"/>
                <a:gd name="connsiteX32" fmla="*/ 2599277 w 2822638"/>
                <a:gd name="connsiteY32" fmla="*/ 893064 h 1716690"/>
                <a:gd name="connsiteX33" fmla="*/ 2605850 w 2822638"/>
                <a:gd name="connsiteY33" fmla="*/ 894874 h 1716690"/>
                <a:gd name="connsiteX34" fmla="*/ 2638139 w 2822638"/>
                <a:gd name="connsiteY34" fmla="*/ 876681 h 1716690"/>
                <a:gd name="connsiteX35" fmla="*/ 2654617 w 2822638"/>
                <a:gd name="connsiteY35" fmla="*/ 872109 h 1716690"/>
                <a:gd name="connsiteX36" fmla="*/ 2671953 w 2822638"/>
                <a:gd name="connsiteY36" fmla="*/ 877062 h 1716690"/>
                <a:gd name="connsiteX37" fmla="*/ 2680335 w 2822638"/>
                <a:gd name="connsiteY37" fmla="*/ 884206 h 1716690"/>
                <a:gd name="connsiteX38" fmla="*/ 2695671 w 2822638"/>
                <a:gd name="connsiteY38" fmla="*/ 901732 h 1716690"/>
                <a:gd name="connsiteX39" fmla="*/ 2704243 w 2822638"/>
                <a:gd name="connsiteY39" fmla="*/ 908590 h 1716690"/>
                <a:gd name="connsiteX40" fmla="*/ 2706338 w 2822638"/>
                <a:gd name="connsiteY40" fmla="*/ 918782 h 1716690"/>
                <a:gd name="connsiteX41" fmla="*/ 2699004 w 2822638"/>
                <a:gd name="connsiteY41" fmla="*/ 934974 h 1716690"/>
                <a:gd name="connsiteX42" fmla="*/ 2689670 w 2822638"/>
                <a:gd name="connsiteY42" fmla="*/ 951738 h 1716690"/>
                <a:gd name="connsiteX43" fmla="*/ 2685574 w 2822638"/>
                <a:gd name="connsiteY43" fmla="*/ 963644 h 1716690"/>
                <a:gd name="connsiteX44" fmla="*/ 2692241 w 2822638"/>
                <a:gd name="connsiteY44" fmla="*/ 975836 h 1716690"/>
                <a:gd name="connsiteX45" fmla="*/ 2730532 w 2822638"/>
                <a:gd name="connsiteY45" fmla="*/ 1003078 h 1716690"/>
                <a:gd name="connsiteX46" fmla="*/ 2734532 w 2822638"/>
                <a:gd name="connsiteY46" fmla="*/ 1015175 h 1716690"/>
                <a:gd name="connsiteX47" fmla="*/ 2734818 w 2822638"/>
                <a:gd name="connsiteY47" fmla="*/ 1046988 h 1716690"/>
                <a:gd name="connsiteX48" fmla="*/ 2736914 w 2822638"/>
                <a:gd name="connsiteY48" fmla="*/ 1061942 h 1716690"/>
                <a:gd name="connsiteX49" fmla="*/ 2742152 w 2822638"/>
                <a:gd name="connsiteY49" fmla="*/ 1073468 h 1716690"/>
                <a:gd name="connsiteX50" fmla="*/ 2749010 w 2822638"/>
                <a:gd name="connsiteY50" fmla="*/ 1081088 h 1716690"/>
                <a:gd name="connsiteX51" fmla="*/ 2780157 w 2822638"/>
                <a:gd name="connsiteY51" fmla="*/ 1096328 h 1716690"/>
                <a:gd name="connsiteX52" fmla="*/ 2787015 w 2822638"/>
                <a:gd name="connsiteY52" fmla="*/ 1101566 h 1716690"/>
                <a:gd name="connsiteX53" fmla="*/ 2789396 w 2822638"/>
                <a:gd name="connsiteY53" fmla="*/ 1109853 h 1716690"/>
                <a:gd name="connsiteX54" fmla="*/ 2786634 w 2822638"/>
                <a:gd name="connsiteY54" fmla="*/ 1116140 h 1716690"/>
                <a:gd name="connsiteX55" fmla="*/ 2776538 w 2822638"/>
                <a:gd name="connsiteY55" fmla="*/ 1125855 h 1716690"/>
                <a:gd name="connsiteX56" fmla="*/ 2774252 w 2822638"/>
                <a:gd name="connsiteY56" fmla="*/ 1134142 h 1716690"/>
                <a:gd name="connsiteX57" fmla="*/ 2775490 w 2822638"/>
                <a:gd name="connsiteY57" fmla="*/ 1141000 h 1716690"/>
                <a:gd name="connsiteX58" fmla="*/ 2778633 w 2822638"/>
                <a:gd name="connsiteY58" fmla="*/ 1147286 h 1716690"/>
                <a:gd name="connsiteX59" fmla="*/ 2798921 w 2822638"/>
                <a:gd name="connsiteY59" fmla="*/ 1173290 h 1716690"/>
                <a:gd name="connsiteX60" fmla="*/ 2801969 w 2822638"/>
                <a:gd name="connsiteY60" fmla="*/ 1179100 h 1716690"/>
                <a:gd name="connsiteX61" fmla="*/ 2803398 w 2822638"/>
                <a:gd name="connsiteY61" fmla="*/ 1186720 h 1716690"/>
                <a:gd name="connsiteX62" fmla="*/ 2801969 w 2822638"/>
                <a:gd name="connsiteY62" fmla="*/ 1210913 h 1716690"/>
                <a:gd name="connsiteX63" fmla="*/ 2803112 w 2822638"/>
                <a:gd name="connsiteY63" fmla="*/ 1227011 h 1716690"/>
                <a:gd name="connsiteX64" fmla="*/ 2805970 w 2822638"/>
                <a:gd name="connsiteY64" fmla="*/ 1241203 h 1716690"/>
                <a:gd name="connsiteX65" fmla="*/ 2821686 w 2822638"/>
                <a:gd name="connsiteY65" fmla="*/ 1289114 h 1716690"/>
                <a:gd name="connsiteX66" fmla="*/ 2822639 w 2822638"/>
                <a:gd name="connsiteY66" fmla="*/ 1296543 h 1716690"/>
                <a:gd name="connsiteX67" fmla="*/ 2821877 w 2822638"/>
                <a:gd name="connsiteY67" fmla="*/ 1306830 h 1716690"/>
                <a:gd name="connsiteX68" fmla="*/ 2819591 w 2822638"/>
                <a:gd name="connsiteY68" fmla="*/ 1312355 h 1716690"/>
                <a:gd name="connsiteX69" fmla="*/ 2816447 w 2822638"/>
                <a:gd name="connsiteY69" fmla="*/ 1316927 h 1716690"/>
                <a:gd name="connsiteX70" fmla="*/ 2813209 w 2822638"/>
                <a:gd name="connsiteY70" fmla="*/ 1324356 h 1716690"/>
                <a:gd name="connsiteX71" fmla="*/ 2809780 w 2822638"/>
                <a:gd name="connsiteY71" fmla="*/ 1340834 h 1716690"/>
                <a:gd name="connsiteX72" fmla="*/ 2807494 w 2822638"/>
                <a:gd name="connsiteY72" fmla="*/ 1357408 h 1716690"/>
                <a:gd name="connsiteX73" fmla="*/ 2803779 w 2822638"/>
                <a:gd name="connsiteY73" fmla="*/ 1372934 h 1716690"/>
                <a:gd name="connsiteX74" fmla="*/ 2795873 w 2822638"/>
                <a:gd name="connsiteY74" fmla="*/ 1386459 h 1716690"/>
                <a:gd name="connsiteX75" fmla="*/ 2781110 w 2822638"/>
                <a:gd name="connsiteY75" fmla="*/ 1376363 h 1716690"/>
                <a:gd name="connsiteX76" fmla="*/ 2764441 w 2822638"/>
                <a:gd name="connsiteY76" fmla="*/ 1382840 h 1716690"/>
                <a:gd name="connsiteX77" fmla="*/ 2757773 w 2822638"/>
                <a:gd name="connsiteY77" fmla="*/ 1387697 h 1716690"/>
                <a:gd name="connsiteX78" fmla="*/ 2747105 w 2822638"/>
                <a:gd name="connsiteY78" fmla="*/ 1395413 h 1716690"/>
                <a:gd name="connsiteX79" fmla="*/ 2730437 w 2822638"/>
                <a:gd name="connsiteY79" fmla="*/ 1403509 h 1716690"/>
                <a:gd name="connsiteX80" fmla="*/ 2714339 w 2822638"/>
                <a:gd name="connsiteY80" fmla="*/ 1406938 h 1716690"/>
                <a:gd name="connsiteX81" fmla="*/ 2709482 w 2822638"/>
                <a:gd name="connsiteY81" fmla="*/ 1409510 h 1716690"/>
                <a:gd name="connsiteX82" fmla="*/ 2703386 w 2822638"/>
                <a:gd name="connsiteY82" fmla="*/ 1415891 h 1716690"/>
                <a:gd name="connsiteX83" fmla="*/ 2699480 w 2822638"/>
                <a:gd name="connsiteY83" fmla="*/ 1423511 h 1716690"/>
                <a:gd name="connsiteX84" fmla="*/ 2696051 w 2822638"/>
                <a:gd name="connsiteY84" fmla="*/ 1432084 h 1716690"/>
                <a:gd name="connsiteX85" fmla="*/ 2691384 w 2822638"/>
                <a:gd name="connsiteY85" fmla="*/ 1441323 h 1716690"/>
                <a:gd name="connsiteX86" fmla="*/ 2664809 w 2822638"/>
                <a:gd name="connsiteY86" fmla="*/ 1461802 h 1716690"/>
                <a:gd name="connsiteX87" fmla="*/ 2652617 w 2822638"/>
                <a:gd name="connsiteY87" fmla="*/ 1474470 h 1716690"/>
                <a:gd name="connsiteX88" fmla="*/ 2650998 w 2822638"/>
                <a:gd name="connsiteY88" fmla="*/ 1491139 h 1716690"/>
                <a:gd name="connsiteX89" fmla="*/ 2638330 w 2822638"/>
                <a:gd name="connsiteY89" fmla="*/ 1513904 h 1716690"/>
                <a:gd name="connsiteX90" fmla="*/ 2599658 w 2822638"/>
                <a:gd name="connsiteY90" fmla="*/ 1539526 h 1716690"/>
                <a:gd name="connsiteX91" fmla="*/ 2588800 w 2822638"/>
                <a:gd name="connsiteY91" fmla="*/ 1570292 h 1716690"/>
                <a:gd name="connsiteX92" fmla="*/ 2586038 w 2822638"/>
                <a:gd name="connsiteY92" fmla="*/ 1603343 h 1716690"/>
                <a:gd name="connsiteX93" fmla="*/ 2582704 w 2822638"/>
                <a:gd name="connsiteY93" fmla="*/ 1618107 h 1716690"/>
                <a:gd name="connsiteX94" fmla="*/ 2579275 w 2822638"/>
                <a:gd name="connsiteY94" fmla="*/ 1628775 h 1716690"/>
                <a:gd name="connsiteX95" fmla="*/ 2568321 w 2822638"/>
                <a:gd name="connsiteY95" fmla="*/ 1630204 h 1716690"/>
                <a:gd name="connsiteX96" fmla="*/ 2519363 w 2822638"/>
                <a:gd name="connsiteY96" fmla="*/ 1625727 h 1716690"/>
                <a:gd name="connsiteX97" fmla="*/ 2506504 w 2822638"/>
                <a:gd name="connsiteY97" fmla="*/ 1621822 h 1716690"/>
                <a:gd name="connsiteX98" fmla="*/ 2494312 w 2822638"/>
                <a:gd name="connsiteY98" fmla="*/ 1614583 h 1716690"/>
                <a:gd name="connsiteX99" fmla="*/ 2484596 w 2822638"/>
                <a:gd name="connsiteY99" fmla="*/ 1603248 h 1716690"/>
                <a:gd name="connsiteX100" fmla="*/ 2476596 w 2822638"/>
                <a:gd name="connsiteY100" fmla="*/ 1612678 h 1716690"/>
                <a:gd name="connsiteX101" fmla="*/ 2458403 w 2822638"/>
                <a:gd name="connsiteY101" fmla="*/ 1630490 h 1716690"/>
                <a:gd name="connsiteX102" fmla="*/ 2450878 w 2822638"/>
                <a:gd name="connsiteY102" fmla="*/ 1633728 h 1716690"/>
                <a:gd name="connsiteX103" fmla="*/ 2440115 w 2822638"/>
                <a:gd name="connsiteY103" fmla="*/ 1627727 h 1716690"/>
                <a:gd name="connsiteX104" fmla="*/ 2415826 w 2822638"/>
                <a:gd name="connsiteY104" fmla="*/ 1607058 h 1716690"/>
                <a:gd name="connsiteX105" fmla="*/ 2407349 w 2822638"/>
                <a:gd name="connsiteY105" fmla="*/ 1602391 h 1716690"/>
                <a:gd name="connsiteX106" fmla="*/ 2391537 w 2822638"/>
                <a:gd name="connsiteY106" fmla="*/ 1599724 h 1716690"/>
                <a:gd name="connsiteX107" fmla="*/ 2341055 w 2822638"/>
                <a:gd name="connsiteY107" fmla="*/ 1606201 h 1716690"/>
                <a:gd name="connsiteX108" fmla="*/ 2340388 w 2822638"/>
                <a:gd name="connsiteY108" fmla="*/ 1606582 h 1716690"/>
                <a:gd name="connsiteX109" fmla="*/ 2332006 w 2822638"/>
                <a:gd name="connsiteY109" fmla="*/ 1611916 h 1716690"/>
                <a:gd name="connsiteX110" fmla="*/ 2309527 w 2822638"/>
                <a:gd name="connsiteY110" fmla="*/ 1639538 h 1716690"/>
                <a:gd name="connsiteX111" fmla="*/ 2287238 w 2822638"/>
                <a:gd name="connsiteY111" fmla="*/ 1680591 h 1716690"/>
                <a:gd name="connsiteX112" fmla="*/ 2279428 w 2822638"/>
                <a:gd name="connsiteY112" fmla="*/ 1689735 h 1716690"/>
                <a:gd name="connsiteX113" fmla="*/ 2248376 w 2822638"/>
                <a:gd name="connsiteY113" fmla="*/ 1705832 h 1716690"/>
                <a:gd name="connsiteX114" fmla="*/ 2239423 w 2822638"/>
                <a:gd name="connsiteY114" fmla="*/ 1706499 h 1716690"/>
                <a:gd name="connsiteX115" fmla="*/ 2218658 w 2822638"/>
                <a:gd name="connsiteY115" fmla="*/ 1698117 h 1716690"/>
                <a:gd name="connsiteX116" fmla="*/ 2208276 w 2822638"/>
                <a:gd name="connsiteY116" fmla="*/ 1696974 h 1716690"/>
                <a:gd name="connsiteX117" fmla="*/ 2198751 w 2822638"/>
                <a:gd name="connsiteY117" fmla="*/ 1702213 h 1716690"/>
                <a:gd name="connsiteX118" fmla="*/ 2190560 w 2822638"/>
                <a:gd name="connsiteY118" fmla="*/ 1716691 h 1716690"/>
                <a:gd name="connsiteX119" fmla="*/ 2168366 w 2822638"/>
                <a:gd name="connsiteY119" fmla="*/ 1714976 h 1716690"/>
                <a:gd name="connsiteX120" fmla="*/ 2146364 w 2822638"/>
                <a:gd name="connsiteY120" fmla="*/ 1708880 h 1716690"/>
                <a:gd name="connsiteX121" fmla="*/ 2092357 w 2822638"/>
                <a:gd name="connsiteY121" fmla="*/ 1682591 h 1716690"/>
                <a:gd name="connsiteX122" fmla="*/ 2067973 w 2822638"/>
                <a:gd name="connsiteY122" fmla="*/ 1664018 h 1716690"/>
                <a:gd name="connsiteX123" fmla="*/ 2047399 w 2822638"/>
                <a:gd name="connsiteY123" fmla="*/ 1626870 h 1716690"/>
                <a:gd name="connsiteX124" fmla="*/ 2038350 w 2822638"/>
                <a:gd name="connsiteY124" fmla="*/ 1605725 h 1716690"/>
                <a:gd name="connsiteX125" fmla="*/ 2028539 w 2822638"/>
                <a:gd name="connsiteY125" fmla="*/ 1590389 h 1716690"/>
                <a:gd name="connsiteX126" fmla="*/ 1989963 w 2822638"/>
                <a:gd name="connsiteY126" fmla="*/ 1556671 h 1716690"/>
                <a:gd name="connsiteX127" fmla="*/ 1965865 w 2822638"/>
                <a:gd name="connsiteY127" fmla="*/ 1529429 h 1716690"/>
                <a:gd name="connsiteX128" fmla="*/ 1943862 w 2822638"/>
                <a:gd name="connsiteY128" fmla="*/ 1514761 h 1716690"/>
                <a:gd name="connsiteX129" fmla="*/ 1908810 w 2822638"/>
                <a:gd name="connsiteY129" fmla="*/ 1491329 h 1716690"/>
                <a:gd name="connsiteX130" fmla="*/ 1879283 w 2822638"/>
                <a:gd name="connsiteY130" fmla="*/ 1457896 h 1716690"/>
                <a:gd name="connsiteX131" fmla="*/ 1867948 w 2822638"/>
                <a:gd name="connsiteY131" fmla="*/ 1444943 h 1716690"/>
                <a:gd name="connsiteX132" fmla="*/ 1845564 w 2822638"/>
                <a:gd name="connsiteY132" fmla="*/ 1429321 h 1716690"/>
                <a:gd name="connsiteX133" fmla="*/ 1840802 w 2822638"/>
                <a:gd name="connsiteY133" fmla="*/ 1424559 h 1716690"/>
                <a:gd name="connsiteX134" fmla="*/ 1837373 w 2822638"/>
                <a:gd name="connsiteY134" fmla="*/ 1417320 h 1716690"/>
                <a:gd name="connsiteX135" fmla="*/ 1830134 w 2822638"/>
                <a:gd name="connsiteY135" fmla="*/ 1393793 h 1716690"/>
                <a:gd name="connsiteX136" fmla="*/ 1827276 w 2822638"/>
                <a:gd name="connsiteY136" fmla="*/ 1387602 h 1716690"/>
                <a:gd name="connsiteX137" fmla="*/ 1822514 w 2822638"/>
                <a:gd name="connsiteY137" fmla="*/ 1385507 h 1716690"/>
                <a:gd name="connsiteX138" fmla="*/ 1799273 w 2822638"/>
                <a:gd name="connsiteY138" fmla="*/ 1387412 h 1716690"/>
                <a:gd name="connsiteX139" fmla="*/ 1792605 w 2822638"/>
                <a:gd name="connsiteY139" fmla="*/ 1386078 h 1716690"/>
                <a:gd name="connsiteX140" fmla="*/ 1773079 w 2822638"/>
                <a:gd name="connsiteY140" fmla="*/ 1376648 h 1716690"/>
                <a:gd name="connsiteX141" fmla="*/ 1746599 w 2822638"/>
                <a:gd name="connsiteY141" fmla="*/ 1381506 h 1716690"/>
                <a:gd name="connsiteX142" fmla="*/ 1705451 w 2822638"/>
                <a:gd name="connsiteY142" fmla="*/ 1374362 h 1716690"/>
                <a:gd name="connsiteX143" fmla="*/ 1612011 w 2822638"/>
                <a:gd name="connsiteY143" fmla="*/ 1358170 h 1716690"/>
                <a:gd name="connsiteX144" fmla="*/ 1597914 w 2822638"/>
                <a:gd name="connsiteY144" fmla="*/ 1347883 h 1716690"/>
                <a:gd name="connsiteX145" fmla="*/ 1586579 w 2822638"/>
                <a:gd name="connsiteY145" fmla="*/ 1326737 h 1716690"/>
                <a:gd name="connsiteX146" fmla="*/ 1579626 w 2822638"/>
                <a:gd name="connsiteY146" fmla="*/ 1304163 h 1716690"/>
                <a:gd name="connsiteX147" fmla="*/ 1575816 w 2822638"/>
                <a:gd name="connsiteY147" fmla="*/ 1297305 h 1716690"/>
                <a:gd name="connsiteX148" fmla="*/ 1562862 w 2822638"/>
                <a:gd name="connsiteY148" fmla="*/ 1282827 h 1716690"/>
                <a:gd name="connsiteX149" fmla="*/ 1558957 w 2822638"/>
                <a:gd name="connsiteY149" fmla="*/ 1275588 h 1716690"/>
                <a:gd name="connsiteX150" fmla="*/ 1554671 w 2822638"/>
                <a:gd name="connsiteY150" fmla="*/ 1262539 h 1716690"/>
                <a:gd name="connsiteX151" fmla="*/ 1544574 w 2822638"/>
                <a:gd name="connsiteY151" fmla="*/ 1219962 h 1716690"/>
                <a:gd name="connsiteX152" fmla="*/ 1534382 w 2822638"/>
                <a:gd name="connsiteY152" fmla="*/ 1190435 h 1716690"/>
                <a:gd name="connsiteX153" fmla="*/ 1527429 w 2822638"/>
                <a:gd name="connsiteY153" fmla="*/ 1178624 h 1716690"/>
                <a:gd name="connsiteX154" fmla="*/ 1519142 w 2822638"/>
                <a:gd name="connsiteY154" fmla="*/ 1175861 h 1716690"/>
                <a:gd name="connsiteX155" fmla="*/ 1513713 w 2822638"/>
                <a:gd name="connsiteY155" fmla="*/ 1181005 h 1716690"/>
                <a:gd name="connsiteX156" fmla="*/ 1512284 w 2822638"/>
                <a:gd name="connsiteY156" fmla="*/ 1188530 h 1716690"/>
                <a:gd name="connsiteX157" fmla="*/ 1511808 w 2822638"/>
                <a:gd name="connsiteY157" fmla="*/ 1196340 h 1716690"/>
                <a:gd name="connsiteX158" fmla="*/ 1509332 w 2822638"/>
                <a:gd name="connsiteY158" fmla="*/ 1202531 h 1716690"/>
                <a:gd name="connsiteX159" fmla="*/ 1506188 w 2822638"/>
                <a:gd name="connsiteY159" fmla="*/ 1203198 h 1716690"/>
                <a:gd name="connsiteX160" fmla="*/ 1497616 w 2822638"/>
                <a:gd name="connsiteY160" fmla="*/ 1199769 h 1716690"/>
                <a:gd name="connsiteX161" fmla="*/ 1493711 w 2822638"/>
                <a:gd name="connsiteY161" fmla="*/ 1199960 h 1716690"/>
                <a:gd name="connsiteX162" fmla="*/ 1458468 w 2822638"/>
                <a:gd name="connsiteY162" fmla="*/ 1215676 h 1716690"/>
                <a:gd name="connsiteX163" fmla="*/ 1444276 w 2822638"/>
                <a:gd name="connsiteY163" fmla="*/ 1221962 h 1716690"/>
                <a:gd name="connsiteX164" fmla="*/ 1428940 w 2822638"/>
                <a:gd name="connsiteY164" fmla="*/ 1234154 h 1716690"/>
                <a:gd name="connsiteX165" fmla="*/ 1397318 w 2822638"/>
                <a:gd name="connsiteY165" fmla="*/ 1277303 h 1716690"/>
                <a:gd name="connsiteX166" fmla="*/ 1389983 w 2822638"/>
                <a:gd name="connsiteY166" fmla="*/ 1285018 h 1716690"/>
                <a:gd name="connsiteX167" fmla="*/ 1367504 w 2822638"/>
                <a:gd name="connsiteY167" fmla="*/ 1298162 h 1716690"/>
                <a:gd name="connsiteX168" fmla="*/ 1354265 w 2822638"/>
                <a:gd name="connsiteY168" fmla="*/ 1303973 h 1716690"/>
                <a:gd name="connsiteX169" fmla="*/ 1341501 w 2822638"/>
                <a:gd name="connsiteY169" fmla="*/ 1300448 h 1716690"/>
                <a:gd name="connsiteX170" fmla="*/ 1316736 w 2822638"/>
                <a:gd name="connsiteY170" fmla="*/ 1282160 h 1716690"/>
                <a:gd name="connsiteX171" fmla="*/ 1304163 w 2822638"/>
                <a:gd name="connsiteY171" fmla="*/ 1277207 h 1716690"/>
                <a:gd name="connsiteX172" fmla="*/ 1292162 w 2822638"/>
                <a:gd name="connsiteY172" fmla="*/ 1279303 h 1716690"/>
                <a:gd name="connsiteX173" fmla="*/ 1245108 w 2822638"/>
                <a:gd name="connsiteY173" fmla="*/ 1303973 h 1716690"/>
                <a:gd name="connsiteX174" fmla="*/ 1234821 w 2822638"/>
                <a:gd name="connsiteY174" fmla="*/ 1305878 h 1716690"/>
                <a:gd name="connsiteX175" fmla="*/ 1234250 w 2822638"/>
                <a:gd name="connsiteY175" fmla="*/ 1305878 h 1716690"/>
                <a:gd name="connsiteX176" fmla="*/ 1222439 w 2822638"/>
                <a:gd name="connsiteY176" fmla="*/ 1303687 h 1716690"/>
                <a:gd name="connsiteX177" fmla="*/ 1209389 w 2822638"/>
                <a:gd name="connsiteY177" fmla="*/ 1296353 h 1716690"/>
                <a:gd name="connsiteX178" fmla="*/ 1172813 w 2822638"/>
                <a:gd name="connsiteY178" fmla="*/ 1267396 h 1716690"/>
                <a:gd name="connsiteX179" fmla="*/ 1129856 w 2822638"/>
                <a:gd name="connsiteY179" fmla="*/ 1253585 h 1716690"/>
                <a:gd name="connsiteX180" fmla="*/ 1124807 w 2822638"/>
                <a:gd name="connsiteY180" fmla="*/ 1251966 h 1716690"/>
                <a:gd name="connsiteX181" fmla="*/ 1111949 w 2822638"/>
                <a:gd name="connsiteY181" fmla="*/ 1251585 h 1716690"/>
                <a:gd name="connsiteX182" fmla="*/ 1085088 w 2822638"/>
                <a:gd name="connsiteY182" fmla="*/ 1257871 h 1716690"/>
                <a:gd name="connsiteX183" fmla="*/ 1072991 w 2822638"/>
                <a:gd name="connsiteY183" fmla="*/ 1255871 h 1716690"/>
                <a:gd name="connsiteX184" fmla="*/ 1072515 w 2822638"/>
                <a:gd name="connsiteY184" fmla="*/ 1253585 h 1716690"/>
                <a:gd name="connsiteX185" fmla="*/ 1072991 w 2822638"/>
                <a:gd name="connsiteY185" fmla="*/ 1249204 h 1716690"/>
                <a:gd name="connsiteX186" fmla="*/ 1072515 w 2822638"/>
                <a:gd name="connsiteY186" fmla="*/ 1243965 h 1716690"/>
                <a:gd name="connsiteX187" fmla="*/ 1069181 w 2822638"/>
                <a:gd name="connsiteY187" fmla="*/ 1239107 h 1716690"/>
                <a:gd name="connsiteX188" fmla="*/ 1065943 w 2822638"/>
                <a:gd name="connsiteY188" fmla="*/ 1237869 h 1716690"/>
                <a:gd name="connsiteX189" fmla="*/ 1055275 w 2822638"/>
                <a:gd name="connsiteY189" fmla="*/ 1239679 h 1716690"/>
                <a:gd name="connsiteX190" fmla="*/ 1028224 w 2822638"/>
                <a:gd name="connsiteY190" fmla="*/ 1238250 h 1716690"/>
                <a:gd name="connsiteX191" fmla="*/ 1015746 w 2822638"/>
                <a:gd name="connsiteY191" fmla="*/ 1241965 h 1716690"/>
                <a:gd name="connsiteX192" fmla="*/ 992314 w 2822638"/>
                <a:gd name="connsiteY192" fmla="*/ 1255967 h 1716690"/>
                <a:gd name="connsiteX193" fmla="*/ 978313 w 2822638"/>
                <a:gd name="connsiteY193" fmla="*/ 1254919 h 1716690"/>
                <a:gd name="connsiteX194" fmla="*/ 938022 w 2822638"/>
                <a:gd name="connsiteY194" fmla="*/ 1237679 h 1716690"/>
                <a:gd name="connsiteX195" fmla="*/ 911828 w 2822638"/>
                <a:gd name="connsiteY195" fmla="*/ 1226439 h 1716690"/>
                <a:gd name="connsiteX196" fmla="*/ 903161 w 2822638"/>
                <a:gd name="connsiteY196" fmla="*/ 1224725 h 1716690"/>
                <a:gd name="connsiteX197" fmla="*/ 858012 w 2822638"/>
                <a:gd name="connsiteY197" fmla="*/ 1235297 h 1716690"/>
                <a:gd name="connsiteX198" fmla="*/ 850868 w 2822638"/>
                <a:gd name="connsiteY198" fmla="*/ 1239869 h 1716690"/>
                <a:gd name="connsiteX199" fmla="*/ 854202 w 2822638"/>
                <a:gd name="connsiteY199" fmla="*/ 1247204 h 1716690"/>
                <a:gd name="connsiteX200" fmla="*/ 834676 w 2822638"/>
                <a:gd name="connsiteY200" fmla="*/ 1268349 h 1716690"/>
                <a:gd name="connsiteX201" fmla="*/ 815054 w 2822638"/>
                <a:gd name="connsiteY201" fmla="*/ 1273016 h 1716690"/>
                <a:gd name="connsiteX202" fmla="*/ 797338 w 2822638"/>
                <a:gd name="connsiteY202" fmla="*/ 1259205 h 1716690"/>
                <a:gd name="connsiteX203" fmla="*/ 783622 w 2822638"/>
                <a:gd name="connsiteY203" fmla="*/ 1224534 h 1716690"/>
                <a:gd name="connsiteX204" fmla="*/ 774097 w 2822638"/>
                <a:gd name="connsiteY204" fmla="*/ 1204246 h 1716690"/>
                <a:gd name="connsiteX205" fmla="*/ 761429 w 2822638"/>
                <a:gd name="connsiteY205" fmla="*/ 1197102 h 1716690"/>
                <a:gd name="connsiteX206" fmla="*/ 747617 w 2822638"/>
                <a:gd name="connsiteY206" fmla="*/ 1199674 h 1716690"/>
                <a:gd name="connsiteX207" fmla="*/ 736187 w 2822638"/>
                <a:gd name="connsiteY207" fmla="*/ 1207675 h 1716690"/>
                <a:gd name="connsiteX208" fmla="*/ 721900 w 2822638"/>
                <a:gd name="connsiteY208" fmla="*/ 1217676 h 1716690"/>
                <a:gd name="connsiteX209" fmla="*/ 666845 w 2822638"/>
                <a:gd name="connsiteY209" fmla="*/ 1240536 h 1716690"/>
                <a:gd name="connsiteX210" fmla="*/ 660940 w 2822638"/>
                <a:gd name="connsiteY210" fmla="*/ 1241393 h 1716690"/>
                <a:gd name="connsiteX211" fmla="*/ 654177 w 2822638"/>
                <a:gd name="connsiteY211" fmla="*/ 1238536 h 1716690"/>
                <a:gd name="connsiteX212" fmla="*/ 636937 w 2822638"/>
                <a:gd name="connsiteY212" fmla="*/ 1220248 h 1716690"/>
                <a:gd name="connsiteX213" fmla="*/ 626650 w 2822638"/>
                <a:gd name="connsiteY213" fmla="*/ 1214628 h 1716690"/>
                <a:gd name="connsiteX214" fmla="*/ 625697 w 2822638"/>
                <a:gd name="connsiteY214" fmla="*/ 1214152 h 1716690"/>
                <a:gd name="connsiteX215" fmla="*/ 600742 w 2822638"/>
                <a:gd name="connsiteY215" fmla="*/ 1208342 h 1716690"/>
                <a:gd name="connsiteX216" fmla="*/ 485204 w 2822638"/>
                <a:gd name="connsiteY216" fmla="*/ 1212247 h 1716690"/>
                <a:gd name="connsiteX217" fmla="*/ 477584 w 2822638"/>
                <a:gd name="connsiteY217" fmla="*/ 1209104 h 1716690"/>
                <a:gd name="connsiteX218" fmla="*/ 463106 w 2822638"/>
                <a:gd name="connsiteY218" fmla="*/ 1198245 h 1716690"/>
                <a:gd name="connsiteX219" fmla="*/ 455676 w 2822638"/>
                <a:gd name="connsiteY219" fmla="*/ 1194435 h 1716690"/>
                <a:gd name="connsiteX220" fmla="*/ 438150 w 2822638"/>
                <a:gd name="connsiteY220" fmla="*/ 1193197 h 1716690"/>
                <a:gd name="connsiteX221" fmla="*/ 395002 w 2822638"/>
                <a:gd name="connsiteY221" fmla="*/ 1213676 h 1716690"/>
                <a:gd name="connsiteX222" fmla="*/ 388049 w 2822638"/>
                <a:gd name="connsiteY222" fmla="*/ 1217009 h 1716690"/>
                <a:gd name="connsiteX223" fmla="*/ 278702 w 2822638"/>
                <a:gd name="connsiteY223" fmla="*/ 1268730 h 1716690"/>
                <a:gd name="connsiteX224" fmla="*/ 244221 w 2822638"/>
                <a:gd name="connsiteY224" fmla="*/ 1270254 h 1716690"/>
                <a:gd name="connsiteX225" fmla="*/ 229743 w 2822638"/>
                <a:gd name="connsiteY225" fmla="*/ 1277684 h 1716690"/>
                <a:gd name="connsiteX226" fmla="*/ 175355 w 2822638"/>
                <a:gd name="connsiteY226" fmla="*/ 1319689 h 1716690"/>
                <a:gd name="connsiteX227" fmla="*/ 169259 w 2822638"/>
                <a:gd name="connsiteY227" fmla="*/ 1321689 h 1716690"/>
                <a:gd name="connsiteX228" fmla="*/ 151638 w 2822638"/>
                <a:gd name="connsiteY228" fmla="*/ 1322546 h 1716690"/>
                <a:gd name="connsiteX229" fmla="*/ 139732 w 2822638"/>
                <a:gd name="connsiteY229" fmla="*/ 1328738 h 1716690"/>
                <a:gd name="connsiteX230" fmla="*/ 125254 w 2822638"/>
                <a:gd name="connsiteY230" fmla="*/ 1340930 h 1716690"/>
                <a:gd name="connsiteX231" fmla="*/ 111443 w 2822638"/>
                <a:gd name="connsiteY231" fmla="*/ 1356170 h 1716690"/>
                <a:gd name="connsiteX232" fmla="*/ 101632 w 2822638"/>
                <a:gd name="connsiteY232" fmla="*/ 1371600 h 1716690"/>
                <a:gd name="connsiteX233" fmla="*/ 94964 w 2822638"/>
                <a:gd name="connsiteY233" fmla="*/ 1394079 h 1716690"/>
                <a:gd name="connsiteX234" fmla="*/ 92107 w 2822638"/>
                <a:gd name="connsiteY234" fmla="*/ 1413320 h 1716690"/>
                <a:gd name="connsiteX235" fmla="*/ 86297 w 2822638"/>
                <a:gd name="connsiteY235" fmla="*/ 1426559 h 1716690"/>
                <a:gd name="connsiteX236" fmla="*/ 70676 w 2822638"/>
                <a:gd name="connsiteY236" fmla="*/ 1430941 h 1716690"/>
                <a:gd name="connsiteX237" fmla="*/ 47816 w 2822638"/>
                <a:gd name="connsiteY237" fmla="*/ 1431131 h 1716690"/>
                <a:gd name="connsiteX238" fmla="*/ 33052 w 2822638"/>
                <a:gd name="connsiteY238" fmla="*/ 1434846 h 1716690"/>
                <a:gd name="connsiteX239" fmla="*/ 33052 w 2822638"/>
                <a:gd name="connsiteY239" fmla="*/ 1434656 h 1716690"/>
                <a:gd name="connsiteX240" fmla="*/ 32766 w 2822638"/>
                <a:gd name="connsiteY240" fmla="*/ 1431417 h 1716690"/>
                <a:gd name="connsiteX241" fmla="*/ 28956 w 2822638"/>
                <a:gd name="connsiteY241" fmla="*/ 1405604 h 1716690"/>
                <a:gd name="connsiteX242" fmla="*/ 23527 w 2822638"/>
                <a:gd name="connsiteY242" fmla="*/ 1382649 h 1716690"/>
                <a:gd name="connsiteX243" fmla="*/ 6096 w 2822638"/>
                <a:gd name="connsiteY243" fmla="*/ 1338548 h 1716690"/>
                <a:gd name="connsiteX244" fmla="*/ 1905 w 2822638"/>
                <a:gd name="connsiteY244" fmla="*/ 1323404 h 1716690"/>
                <a:gd name="connsiteX245" fmla="*/ 191 w 2822638"/>
                <a:gd name="connsiteY245" fmla="*/ 1308354 h 1716690"/>
                <a:gd name="connsiteX246" fmla="*/ 952 w 2822638"/>
                <a:gd name="connsiteY246" fmla="*/ 1303973 h 1716690"/>
                <a:gd name="connsiteX247" fmla="*/ 4572 w 2822638"/>
                <a:gd name="connsiteY247" fmla="*/ 1290257 h 1716690"/>
                <a:gd name="connsiteX248" fmla="*/ 5525 w 2822638"/>
                <a:gd name="connsiteY248" fmla="*/ 1282256 h 1716690"/>
                <a:gd name="connsiteX249" fmla="*/ 5525 w 2822638"/>
                <a:gd name="connsiteY249" fmla="*/ 1274731 h 1716690"/>
                <a:gd name="connsiteX250" fmla="*/ 5048 w 2822638"/>
                <a:gd name="connsiteY250" fmla="*/ 1268444 h 1716690"/>
                <a:gd name="connsiteX251" fmla="*/ 952 w 2822638"/>
                <a:gd name="connsiteY251" fmla="*/ 1240822 h 1716690"/>
                <a:gd name="connsiteX252" fmla="*/ 0 w 2822638"/>
                <a:gd name="connsiteY252" fmla="*/ 1226725 h 1716690"/>
                <a:gd name="connsiteX253" fmla="*/ 762 w 2822638"/>
                <a:gd name="connsiteY253" fmla="*/ 1213199 h 1716690"/>
                <a:gd name="connsiteX254" fmla="*/ 4096 w 2822638"/>
                <a:gd name="connsiteY254" fmla="*/ 1202436 h 1716690"/>
                <a:gd name="connsiteX255" fmla="*/ 9335 w 2822638"/>
                <a:gd name="connsiteY255" fmla="*/ 1192911 h 1716690"/>
                <a:gd name="connsiteX256" fmla="*/ 11621 w 2822638"/>
                <a:gd name="connsiteY256" fmla="*/ 1187387 h 1716690"/>
                <a:gd name="connsiteX257" fmla="*/ 13526 w 2822638"/>
                <a:gd name="connsiteY257" fmla="*/ 1181005 h 1716690"/>
                <a:gd name="connsiteX258" fmla="*/ 14383 w 2822638"/>
                <a:gd name="connsiteY258" fmla="*/ 1173194 h 1716690"/>
                <a:gd name="connsiteX259" fmla="*/ 14383 w 2822638"/>
                <a:gd name="connsiteY259" fmla="*/ 1159383 h 1716690"/>
                <a:gd name="connsiteX260" fmla="*/ 16383 w 2822638"/>
                <a:gd name="connsiteY260" fmla="*/ 1152144 h 1716690"/>
                <a:gd name="connsiteX261" fmla="*/ 13526 w 2822638"/>
                <a:gd name="connsiteY261" fmla="*/ 1140238 h 1716690"/>
                <a:gd name="connsiteX262" fmla="*/ 12478 w 2822638"/>
                <a:gd name="connsiteY262" fmla="*/ 1127474 h 1716690"/>
                <a:gd name="connsiteX263" fmla="*/ 14764 w 2822638"/>
                <a:gd name="connsiteY263" fmla="*/ 1120902 h 1716690"/>
                <a:gd name="connsiteX264" fmla="*/ 21717 w 2822638"/>
                <a:gd name="connsiteY264" fmla="*/ 1127570 h 1716690"/>
                <a:gd name="connsiteX265" fmla="*/ 24194 w 2822638"/>
                <a:gd name="connsiteY265" fmla="*/ 1134904 h 1716690"/>
                <a:gd name="connsiteX266" fmla="*/ 26289 w 2822638"/>
                <a:gd name="connsiteY266" fmla="*/ 1153382 h 1716690"/>
                <a:gd name="connsiteX267" fmla="*/ 29718 w 2822638"/>
                <a:gd name="connsiteY267" fmla="*/ 1161764 h 1716690"/>
                <a:gd name="connsiteX268" fmla="*/ 24194 w 2822638"/>
                <a:gd name="connsiteY268" fmla="*/ 1171385 h 1716690"/>
                <a:gd name="connsiteX269" fmla="*/ 26861 w 2822638"/>
                <a:gd name="connsiteY269" fmla="*/ 1174052 h 1716690"/>
                <a:gd name="connsiteX270" fmla="*/ 29718 w 2822638"/>
                <a:gd name="connsiteY270" fmla="*/ 1175766 h 1716690"/>
                <a:gd name="connsiteX271" fmla="*/ 29718 w 2822638"/>
                <a:gd name="connsiteY271" fmla="*/ 1190625 h 1716690"/>
                <a:gd name="connsiteX272" fmla="*/ 24194 w 2822638"/>
                <a:gd name="connsiteY272" fmla="*/ 1199769 h 1716690"/>
                <a:gd name="connsiteX273" fmla="*/ 33052 w 2822638"/>
                <a:gd name="connsiteY273" fmla="*/ 1212533 h 1716690"/>
                <a:gd name="connsiteX274" fmla="*/ 36290 w 2822638"/>
                <a:gd name="connsiteY274" fmla="*/ 1214628 h 1716690"/>
                <a:gd name="connsiteX275" fmla="*/ 39529 w 2822638"/>
                <a:gd name="connsiteY275" fmla="*/ 1213009 h 1716690"/>
                <a:gd name="connsiteX276" fmla="*/ 42291 w 2822638"/>
                <a:gd name="connsiteY276" fmla="*/ 1208913 h 1716690"/>
                <a:gd name="connsiteX277" fmla="*/ 43339 w 2822638"/>
                <a:gd name="connsiteY277" fmla="*/ 1203389 h 1716690"/>
                <a:gd name="connsiteX278" fmla="*/ 38957 w 2822638"/>
                <a:gd name="connsiteY278" fmla="*/ 1188625 h 1716690"/>
                <a:gd name="connsiteX279" fmla="*/ 38195 w 2822638"/>
                <a:gd name="connsiteY279" fmla="*/ 1176147 h 1716690"/>
                <a:gd name="connsiteX280" fmla="*/ 38767 w 2822638"/>
                <a:gd name="connsiteY280" fmla="*/ 1164241 h 1716690"/>
                <a:gd name="connsiteX281" fmla="*/ 40291 w 2822638"/>
                <a:gd name="connsiteY281" fmla="*/ 1156716 h 1716690"/>
                <a:gd name="connsiteX282" fmla="*/ 38576 w 2822638"/>
                <a:gd name="connsiteY282" fmla="*/ 1151858 h 1716690"/>
                <a:gd name="connsiteX283" fmla="*/ 36862 w 2822638"/>
                <a:gd name="connsiteY283" fmla="*/ 1139476 h 1716690"/>
                <a:gd name="connsiteX284" fmla="*/ 34957 w 2822638"/>
                <a:gd name="connsiteY284" fmla="*/ 1132618 h 1716690"/>
                <a:gd name="connsiteX285" fmla="*/ 32861 w 2822638"/>
                <a:gd name="connsiteY285" fmla="*/ 1127379 h 1716690"/>
                <a:gd name="connsiteX286" fmla="*/ 30956 w 2822638"/>
                <a:gd name="connsiteY286" fmla="*/ 1124141 h 1716690"/>
                <a:gd name="connsiteX287" fmla="*/ 24098 w 2822638"/>
                <a:gd name="connsiteY287" fmla="*/ 1118140 h 1716690"/>
                <a:gd name="connsiteX288" fmla="*/ 19812 w 2822638"/>
                <a:gd name="connsiteY288" fmla="*/ 1116044 h 1716690"/>
                <a:gd name="connsiteX289" fmla="*/ 16288 w 2822638"/>
                <a:gd name="connsiteY289" fmla="*/ 1115568 h 1716690"/>
                <a:gd name="connsiteX290" fmla="*/ 13430 w 2822638"/>
                <a:gd name="connsiteY290" fmla="*/ 1113949 h 1716690"/>
                <a:gd name="connsiteX291" fmla="*/ 10763 w 2822638"/>
                <a:gd name="connsiteY291" fmla="*/ 1108424 h 1716690"/>
                <a:gd name="connsiteX292" fmla="*/ 9144 w 2822638"/>
                <a:gd name="connsiteY292" fmla="*/ 1100614 h 1716690"/>
                <a:gd name="connsiteX293" fmla="*/ 10287 w 2822638"/>
                <a:gd name="connsiteY293" fmla="*/ 1097471 h 1716690"/>
                <a:gd name="connsiteX294" fmla="*/ 12287 w 2822638"/>
                <a:gd name="connsiteY294" fmla="*/ 1094423 h 1716690"/>
                <a:gd name="connsiteX295" fmla="*/ 16288 w 2822638"/>
                <a:gd name="connsiteY295" fmla="*/ 1065467 h 1716690"/>
                <a:gd name="connsiteX296" fmla="*/ 30194 w 2822638"/>
                <a:gd name="connsiteY296" fmla="*/ 1024795 h 1716690"/>
                <a:gd name="connsiteX297" fmla="*/ 34957 w 2822638"/>
                <a:gd name="connsiteY297" fmla="*/ 1001744 h 1716690"/>
                <a:gd name="connsiteX298" fmla="*/ 37624 w 2822638"/>
                <a:gd name="connsiteY298" fmla="*/ 940975 h 1716690"/>
                <a:gd name="connsiteX299" fmla="*/ 36100 w 2822638"/>
                <a:gd name="connsiteY299" fmla="*/ 926878 h 1716690"/>
                <a:gd name="connsiteX300" fmla="*/ 33338 w 2822638"/>
                <a:gd name="connsiteY300" fmla="*/ 914210 h 1716690"/>
                <a:gd name="connsiteX301" fmla="*/ 32766 w 2822638"/>
                <a:gd name="connsiteY301" fmla="*/ 902113 h 1716690"/>
                <a:gd name="connsiteX302" fmla="*/ 37624 w 2822638"/>
                <a:gd name="connsiteY302" fmla="*/ 889730 h 1716690"/>
                <a:gd name="connsiteX303" fmla="*/ 69533 w 2822638"/>
                <a:gd name="connsiteY303" fmla="*/ 868299 h 1716690"/>
                <a:gd name="connsiteX304" fmla="*/ 73247 w 2822638"/>
                <a:gd name="connsiteY304" fmla="*/ 861727 h 1716690"/>
                <a:gd name="connsiteX305" fmla="*/ 98965 w 2822638"/>
                <a:gd name="connsiteY305" fmla="*/ 845915 h 1716690"/>
                <a:gd name="connsiteX306" fmla="*/ 106013 w 2822638"/>
                <a:gd name="connsiteY306" fmla="*/ 838391 h 1716690"/>
                <a:gd name="connsiteX307" fmla="*/ 120301 w 2822638"/>
                <a:gd name="connsiteY307" fmla="*/ 816388 h 1716690"/>
                <a:gd name="connsiteX308" fmla="*/ 124301 w 2822638"/>
                <a:gd name="connsiteY308" fmla="*/ 811816 h 1716690"/>
                <a:gd name="connsiteX309" fmla="*/ 129159 w 2822638"/>
                <a:gd name="connsiteY309" fmla="*/ 808958 h 1716690"/>
                <a:gd name="connsiteX310" fmla="*/ 140113 w 2822638"/>
                <a:gd name="connsiteY310" fmla="*/ 798862 h 1716690"/>
                <a:gd name="connsiteX311" fmla="*/ 152495 w 2822638"/>
                <a:gd name="connsiteY311" fmla="*/ 787337 h 1716690"/>
                <a:gd name="connsiteX312" fmla="*/ 161163 w 2822638"/>
                <a:gd name="connsiteY312" fmla="*/ 773620 h 1716690"/>
                <a:gd name="connsiteX313" fmla="*/ 168593 w 2822638"/>
                <a:gd name="connsiteY313" fmla="*/ 753142 h 1716690"/>
                <a:gd name="connsiteX314" fmla="*/ 173260 w 2822638"/>
                <a:gd name="connsiteY314" fmla="*/ 727615 h 1716690"/>
                <a:gd name="connsiteX315" fmla="*/ 173736 w 2822638"/>
                <a:gd name="connsiteY315" fmla="*/ 698468 h 1716690"/>
                <a:gd name="connsiteX316" fmla="*/ 172593 w 2822638"/>
                <a:gd name="connsiteY316" fmla="*/ 690848 h 1716690"/>
                <a:gd name="connsiteX317" fmla="*/ 168402 w 2822638"/>
                <a:gd name="connsiteY317" fmla="*/ 671608 h 1716690"/>
                <a:gd name="connsiteX318" fmla="*/ 169259 w 2822638"/>
                <a:gd name="connsiteY318" fmla="*/ 663893 h 1716690"/>
                <a:gd name="connsiteX319" fmla="*/ 172974 w 2822638"/>
                <a:gd name="connsiteY319" fmla="*/ 653701 h 1716690"/>
                <a:gd name="connsiteX320" fmla="*/ 173831 w 2822638"/>
                <a:gd name="connsiteY320" fmla="*/ 647510 h 1716690"/>
                <a:gd name="connsiteX321" fmla="*/ 172974 w 2822638"/>
                <a:gd name="connsiteY321" fmla="*/ 600647 h 1716690"/>
                <a:gd name="connsiteX322" fmla="*/ 173831 w 2822638"/>
                <a:gd name="connsiteY322" fmla="*/ 585597 h 1716690"/>
                <a:gd name="connsiteX323" fmla="*/ 176403 w 2822638"/>
                <a:gd name="connsiteY323" fmla="*/ 572738 h 1716690"/>
                <a:gd name="connsiteX324" fmla="*/ 181166 w 2822638"/>
                <a:gd name="connsiteY324" fmla="*/ 559975 h 1716690"/>
                <a:gd name="connsiteX325" fmla="*/ 187357 w 2822638"/>
                <a:gd name="connsiteY325" fmla="*/ 550164 h 1716690"/>
                <a:gd name="connsiteX326" fmla="*/ 194024 w 2822638"/>
                <a:gd name="connsiteY326" fmla="*/ 546164 h 1716690"/>
                <a:gd name="connsiteX327" fmla="*/ 199358 w 2822638"/>
                <a:gd name="connsiteY327" fmla="*/ 540258 h 1716690"/>
                <a:gd name="connsiteX328" fmla="*/ 213932 w 2822638"/>
                <a:gd name="connsiteY328" fmla="*/ 501301 h 1716690"/>
                <a:gd name="connsiteX329" fmla="*/ 241745 w 2822638"/>
                <a:gd name="connsiteY329" fmla="*/ 464249 h 1716690"/>
                <a:gd name="connsiteX330" fmla="*/ 284607 w 2822638"/>
                <a:gd name="connsiteY330" fmla="*/ 379762 h 1716690"/>
                <a:gd name="connsiteX331" fmla="*/ 296418 w 2822638"/>
                <a:gd name="connsiteY331" fmla="*/ 366332 h 1716690"/>
                <a:gd name="connsiteX332" fmla="*/ 312801 w 2822638"/>
                <a:gd name="connsiteY332" fmla="*/ 357378 h 1716690"/>
                <a:gd name="connsiteX333" fmla="*/ 384524 w 2822638"/>
                <a:gd name="connsiteY333" fmla="*/ 352425 h 1716690"/>
                <a:gd name="connsiteX334" fmla="*/ 401384 w 2822638"/>
                <a:gd name="connsiteY334" fmla="*/ 347091 h 1716690"/>
                <a:gd name="connsiteX335" fmla="*/ 477393 w 2822638"/>
                <a:gd name="connsiteY335" fmla="*/ 305467 h 1716690"/>
                <a:gd name="connsiteX336" fmla="*/ 589979 w 2822638"/>
                <a:gd name="connsiteY336" fmla="*/ 243650 h 1716690"/>
                <a:gd name="connsiteX337" fmla="*/ 606457 w 2822638"/>
                <a:gd name="connsiteY337" fmla="*/ 238411 h 1716690"/>
                <a:gd name="connsiteX338" fmla="*/ 615410 w 2822638"/>
                <a:gd name="connsiteY338" fmla="*/ 237744 h 1716690"/>
                <a:gd name="connsiteX339" fmla="*/ 619792 w 2822638"/>
                <a:gd name="connsiteY339" fmla="*/ 236220 h 1716690"/>
                <a:gd name="connsiteX340" fmla="*/ 624554 w 2822638"/>
                <a:gd name="connsiteY340" fmla="*/ 233267 h 1716690"/>
                <a:gd name="connsiteX341" fmla="*/ 629698 w 2822638"/>
                <a:gd name="connsiteY341" fmla="*/ 231172 h 1716690"/>
                <a:gd name="connsiteX342" fmla="*/ 635318 w 2822638"/>
                <a:gd name="connsiteY342" fmla="*/ 232410 h 1716690"/>
                <a:gd name="connsiteX343" fmla="*/ 639223 w 2822638"/>
                <a:gd name="connsiteY343" fmla="*/ 234887 h 1716690"/>
                <a:gd name="connsiteX344" fmla="*/ 639223 w 2822638"/>
                <a:gd name="connsiteY344" fmla="*/ 235744 h 1716690"/>
                <a:gd name="connsiteX345" fmla="*/ 637127 w 2822638"/>
                <a:gd name="connsiteY345" fmla="*/ 237554 h 1716690"/>
                <a:gd name="connsiteX346" fmla="*/ 635318 w 2822638"/>
                <a:gd name="connsiteY346" fmla="*/ 242792 h 1716690"/>
                <a:gd name="connsiteX347" fmla="*/ 631603 w 2822638"/>
                <a:gd name="connsiteY347" fmla="*/ 270320 h 1716690"/>
                <a:gd name="connsiteX348" fmla="*/ 630174 w 2822638"/>
                <a:gd name="connsiteY348" fmla="*/ 300323 h 1716690"/>
                <a:gd name="connsiteX349" fmla="*/ 631698 w 2822638"/>
                <a:gd name="connsiteY349" fmla="*/ 315087 h 1716690"/>
                <a:gd name="connsiteX350" fmla="*/ 635508 w 2822638"/>
                <a:gd name="connsiteY350" fmla="*/ 325755 h 1716690"/>
                <a:gd name="connsiteX351" fmla="*/ 657035 w 2822638"/>
                <a:gd name="connsiteY351" fmla="*/ 357950 h 1716690"/>
                <a:gd name="connsiteX352" fmla="*/ 743807 w 2822638"/>
                <a:gd name="connsiteY352" fmla="*/ 433769 h 1716690"/>
                <a:gd name="connsiteX353" fmla="*/ 771620 w 2822638"/>
                <a:gd name="connsiteY353" fmla="*/ 468821 h 1716690"/>
                <a:gd name="connsiteX354" fmla="*/ 803148 w 2822638"/>
                <a:gd name="connsiteY354" fmla="*/ 496538 h 1716690"/>
                <a:gd name="connsiteX355" fmla="*/ 823341 w 2822638"/>
                <a:gd name="connsiteY355" fmla="*/ 508254 h 1716690"/>
                <a:gd name="connsiteX356" fmla="*/ 836676 w 2822638"/>
                <a:gd name="connsiteY356" fmla="*/ 511397 h 1716690"/>
                <a:gd name="connsiteX357" fmla="*/ 841629 w 2822638"/>
                <a:gd name="connsiteY357" fmla="*/ 513683 h 1716690"/>
                <a:gd name="connsiteX358" fmla="*/ 842772 w 2822638"/>
                <a:gd name="connsiteY358" fmla="*/ 519303 h 1716690"/>
                <a:gd name="connsiteX359" fmla="*/ 842963 w 2822638"/>
                <a:gd name="connsiteY359" fmla="*/ 526447 h 1716690"/>
                <a:gd name="connsiteX360" fmla="*/ 844677 w 2822638"/>
                <a:gd name="connsiteY360" fmla="*/ 533591 h 1716690"/>
                <a:gd name="connsiteX361" fmla="*/ 853250 w 2822638"/>
                <a:gd name="connsiteY361" fmla="*/ 551307 h 1716690"/>
                <a:gd name="connsiteX362" fmla="*/ 854964 w 2822638"/>
                <a:gd name="connsiteY362" fmla="*/ 554831 h 1716690"/>
                <a:gd name="connsiteX363" fmla="*/ 858869 w 2822638"/>
                <a:gd name="connsiteY363" fmla="*/ 566642 h 1716690"/>
                <a:gd name="connsiteX364" fmla="*/ 861917 w 2822638"/>
                <a:gd name="connsiteY364" fmla="*/ 580835 h 1716690"/>
                <a:gd name="connsiteX365" fmla="*/ 864965 w 2822638"/>
                <a:gd name="connsiteY365" fmla="*/ 606171 h 1716690"/>
                <a:gd name="connsiteX366" fmla="*/ 868299 w 2822638"/>
                <a:gd name="connsiteY366" fmla="*/ 619316 h 1716690"/>
                <a:gd name="connsiteX367" fmla="*/ 874109 w 2822638"/>
                <a:gd name="connsiteY367" fmla="*/ 625031 h 1716690"/>
                <a:gd name="connsiteX368" fmla="*/ 877538 w 2822638"/>
                <a:gd name="connsiteY368" fmla="*/ 631698 h 1716690"/>
                <a:gd name="connsiteX369" fmla="*/ 888492 w 2822638"/>
                <a:gd name="connsiteY369" fmla="*/ 698183 h 1716690"/>
                <a:gd name="connsiteX370" fmla="*/ 892588 w 2822638"/>
                <a:gd name="connsiteY370" fmla="*/ 709327 h 1716690"/>
                <a:gd name="connsiteX371" fmla="*/ 898017 w 2822638"/>
                <a:gd name="connsiteY371" fmla="*/ 713804 h 1716690"/>
                <a:gd name="connsiteX372" fmla="*/ 904970 w 2822638"/>
                <a:gd name="connsiteY372" fmla="*/ 716566 h 1716690"/>
                <a:gd name="connsiteX373" fmla="*/ 923449 w 2822638"/>
                <a:gd name="connsiteY373" fmla="*/ 738283 h 1716690"/>
                <a:gd name="connsiteX374" fmla="*/ 955643 w 2822638"/>
                <a:gd name="connsiteY374" fmla="*/ 751427 h 1716690"/>
                <a:gd name="connsiteX375" fmla="*/ 988981 w 2822638"/>
                <a:gd name="connsiteY375" fmla="*/ 757809 h 1716690"/>
                <a:gd name="connsiteX376" fmla="*/ 993743 w 2822638"/>
                <a:gd name="connsiteY376" fmla="*/ 761810 h 1716690"/>
                <a:gd name="connsiteX377" fmla="*/ 1012793 w 2822638"/>
                <a:gd name="connsiteY377" fmla="*/ 789908 h 1716690"/>
                <a:gd name="connsiteX378" fmla="*/ 1016318 w 2822638"/>
                <a:gd name="connsiteY378" fmla="*/ 792861 h 1716690"/>
                <a:gd name="connsiteX379" fmla="*/ 1018889 w 2822638"/>
                <a:gd name="connsiteY379" fmla="*/ 795052 h 1716690"/>
                <a:gd name="connsiteX380" fmla="*/ 1037177 w 2822638"/>
                <a:gd name="connsiteY380" fmla="*/ 800862 h 1716690"/>
                <a:gd name="connsiteX381" fmla="*/ 1061752 w 2822638"/>
                <a:gd name="connsiteY381" fmla="*/ 803434 h 1716690"/>
                <a:gd name="connsiteX382" fmla="*/ 1128332 w 2822638"/>
                <a:gd name="connsiteY382" fmla="*/ 787051 h 1716690"/>
                <a:gd name="connsiteX383" fmla="*/ 1152049 w 2822638"/>
                <a:gd name="connsiteY383" fmla="*/ 775526 h 1716690"/>
                <a:gd name="connsiteX384" fmla="*/ 1162145 w 2822638"/>
                <a:gd name="connsiteY384" fmla="*/ 770572 h 1716690"/>
                <a:gd name="connsiteX385" fmla="*/ 1177100 w 2822638"/>
                <a:gd name="connsiteY385" fmla="*/ 757714 h 1716690"/>
                <a:gd name="connsiteX386" fmla="*/ 1184148 w 2822638"/>
                <a:gd name="connsiteY386" fmla="*/ 747427 h 1716690"/>
                <a:gd name="connsiteX387" fmla="*/ 1189101 w 2822638"/>
                <a:gd name="connsiteY387" fmla="*/ 737807 h 1716690"/>
                <a:gd name="connsiteX388" fmla="*/ 1194435 w 2822638"/>
                <a:gd name="connsiteY388" fmla="*/ 730663 h 1716690"/>
                <a:gd name="connsiteX389" fmla="*/ 1209580 w 2822638"/>
                <a:gd name="connsiteY389" fmla="*/ 726377 h 1716690"/>
                <a:gd name="connsiteX390" fmla="*/ 1224534 w 2822638"/>
                <a:gd name="connsiteY390" fmla="*/ 716470 h 1716690"/>
                <a:gd name="connsiteX391" fmla="*/ 1262634 w 2822638"/>
                <a:gd name="connsiteY391" fmla="*/ 691420 h 1716690"/>
                <a:gd name="connsiteX392" fmla="*/ 1265968 w 2822638"/>
                <a:gd name="connsiteY392" fmla="*/ 681228 h 1716690"/>
                <a:gd name="connsiteX393" fmla="*/ 1273493 w 2822638"/>
                <a:gd name="connsiteY393" fmla="*/ 672941 h 1716690"/>
                <a:gd name="connsiteX394" fmla="*/ 1282256 w 2822638"/>
                <a:gd name="connsiteY394" fmla="*/ 667226 h 1716690"/>
                <a:gd name="connsiteX395" fmla="*/ 1289018 w 2822638"/>
                <a:gd name="connsiteY395" fmla="*/ 664655 h 1716690"/>
                <a:gd name="connsiteX396" fmla="*/ 1289018 w 2822638"/>
                <a:gd name="connsiteY396" fmla="*/ 656939 h 1716690"/>
                <a:gd name="connsiteX397" fmla="*/ 1293019 w 2822638"/>
                <a:gd name="connsiteY397" fmla="*/ 651796 h 1716690"/>
                <a:gd name="connsiteX398" fmla="*/ 1302353 w 2822638"/>
                <a:gd name="connsiteY398" fmla="*/ 645033 h 1716690"/>
                <a:gd name="connsiteX399" fmla="*/ 1328261 w 2822638"/>
                <a:gd name="connsiteY399" fmla="*/ 614934 h 1716690"/>
                <a:gd name="connsiteX400" fmla="*/ 1336643 w 2822638"/>
                <a:gd name="connsiteY400" fmla="*/ 594836 h 1716690"/>
                <a:gd name="connsiteX401" fmla="*/ 1339882 w 2822638"/>
                <a:gd name="connsiteY401" fmla="*/ 565976 h 1716690"/>
                <a:gd name="connsiteX402" fmla="*/ 1338548 w 2822638"/>
                <a:gd name="connsiteY402" fmla="*/ 532543 h 1716690"/>
                <a:gd name="connsiteX403" fmla="*/ 1329214 w 2822638"/>
                <a:gd name="connsiteY403" fmla="*/ 442246 h 1716690"/>
                <a:gd name="connsiteX404" fmla="*/ 1328547 w 2822638"/>
                <a:gd name="connsiteY404" fmla="*/ 415385 h 1716690"/>
                <a:gd name="connsiteX405" fmla="*/ 1326737 w 2822638"/>
                <a:gd name="connsiteY405" fmla="*/ 399383 h 1716690"/>
                <a:gd name="connsiteX406" fmla="*/ 1322546 w 2822638"/>
                <a:gd name="connsiteY406" fmla="*/ 392240 h 1716690"/>
                <a:gd name="connsiteX407" fmla="*/ 1320260 w 2822638"/>
                <a:gd name="connsiteY407" fmla="*/ 383572 h 1716690"/>
                <a:gd name="connsiteX408" fmla="*/ 1321975 w 2822638"/>
                <a:gd name="connsiteY408" fmla="*/ 364522 h 1716690"/>
                <a:gd name="connsiteX409" fmla="*/ 1326547 w 2822638"/>
                <a:gd name="connsiteY409" fmla="*/ 337757 h 1716690"/>
                <a:gd name="connsiteX410" fmla="*/ 1321975 w 2822638"/>
                <a:gd name="connsiteY410" fmla="*/ 294989 h 1716690"/>
                <a:gd name="connsiteX411" fmla="*/ 1319879 w 2822638"/>
                <a:gd name="connsiteY411" fmla="*/ 285369 h 1716690"/>
                <a:gd name="connsiteX412" fmla="*/ 1302734 w 2822638"/>
                <a:gd name="connsiteY412" fmla="*/ 256508 h 1716690"/>
                <a:gd name="connsiteX413" fmla="*/ 1297210 w 2822638"/>
                <a:gd name="connsiteY413" fmla="*/ 242792 h 1716690"/>
                <a:gd name="connsiteX414" fmla="*/ 1297210 w 2822638"/>
                <a:gd name="connsiteY414" fmla="*/ 229648 h 1716690"/>
                <a:gd name="connsiteX415" fmla="*/ 1293019 w 2822638"/>
                <a:gd name="connsiteY415" fmla="*/ 195358 h 1716690"/>
                <a:gd name="connsiteX416" fmla="*/ 1291876 w 2822638"/>
                <a:gd name="connsiteY416" fmla="*/ 178022 h 1716690"/>
                <a:gd name="connsiteX417" fmla="*/ 1293019 w 2822638"/>
                <a:gd name="connsiteY417" fmla="*/ 168688 h 1716690"/>
                <a:gd name="connsiteX418" fmla="*/ 1295876 w 2822638"/>
                <a:gd name="connsiteY418" fmla="*/ 159830 h 1716690"/>
                <a:gd name="connsiteX419" fmla="*/ 1299782 w 2822638"/>
                <a:gd name="connsiteY419" fmla="*/ 151924 h 1716690"/>
                <a:gd name="connsiteX420" fmla="*/ 1316736 w 2822638"/>
                <a:gd name="connsiteY420" fmla="*/ 158877 h 1716690"/>
                <a:gd name="connsiteX421" fmla="*/ 1327880 w 2822638"/>
                <a:gd name="connsiteY421" fmla="*/ 158306 h 1716690"/>
                <a:gd name="connsiteX422" fmla="*/ 1336929 w 2822638"/>
                <a:gd name="connsiteY422" fmla="*/ 153162 h 1716690"/>
                <a:gd name="connsiteX423" fmla="*/ 1341311 w 2822638"/>
                <a:gd name="connsiteY423" fmla="*/ 145733 h 1716690"/>
                <a:gd name="connsiteX424" fmla="*/ 1347692 w 2822638"/>
                <a:gd name="connsiteY424" fmla="*/ 128302 h 1716690"/>
                <a:gd name="connsiteX425" fmla="*/ 1352550 w 2822638"/>
                <a:gd name="connsiteY425" fmla="*/ 122587 h 1716690"/>
                <a:gd name="connsiteX426" fmla="*/ 1367981 w 2822638"/>
                <a:gd name="connsiteY426" fmla="*/ 114395 h 1716690"/>
                <a:gd name="connsiteX427" fmla="*/ 1388459 w 2822638"/>
                <a:gd name="connsiteY427" fmla="*/ 95536 h 1716690"/>
                <a:gd name="connsiteX428" fmla="*/ 1396270 w 2822638"/>
                <a:gd name="connsiteY428" fmla="*/ 93821 h 1716690"/>
                <a:gd name="connsiteX429" fmla="*/ 1423607 w 2822638"/>
                <a:gd name="connsiteY429" fmla="*/ 96393 h 1716690"/>
                <a:gd name="connsiteX430" fmla="*/ 1447229 w 2822638"/>
                <a:gd name="connsiteY430" fmla="*/ 93726 h 1716690"/>
                <a:gd name="connsiteX431" fmla="*/ 1453325 w 2822638"/>
                <a:gd name="connsiteY431" fmla="*/ 88868 h 1716690"/>
                <a:gd name="connsiteX432" fmla="*/ 1460468 w 2822638"/>
                <a:gd name="connsiteY432" fmla="*/ 68580 h 1716690"/>
                <a:gd name="connsiteX433" fmla="*/ 1466183 w 2822638"/>
                <a:gd name="connsiteY433" fmla="*/ 60960 h 1716690"/>
                <a:gd name="connsiteX434" fmla="*/ 1478375 w 2822638"/>
                <a:gd name="connsiteY434" fmla="*/ 64103 h 1716690"/>
                <a:gd name="connsiteX435" fmla="*/ 1488472 w 2822638"/>
                <a:gd name="connsiteY435" fmla="*/ 70676 h 1716690"/>
                <a:gd name="connsiteX436" fmla="*/ 1498568 w 2822638"/>
                <a:gd name="connsiteY436" fmla="*/ 72390 h 1716690"/>
                <a:gd name="connsiteX437" fmla="*/ 1502664 w 2822638"/>
                <a:gd name="connsiteY437" fmla="*/ 68580 h 1716690"/>
                <a:gd name="connsiteX438" fmla="*/ 1510856 w 2822638"/>
                <a:gd name="connsiteY438" fmla="*/ 61055 h 1716690"/>
                <a:gd name="connsiteX439" fmla="*/ 1520285 w 2822638"/>
                <a:gd name="connsiteY439" fmla="*/ 54959 h 1716690"/>
                <a:gd name="connsiteX440" fmla="*/ 1550194 w 2822638"/>
                <a:gd name="connsiteY440" fmla="*/ 50578 h 1716690"/>
                <a:gd name="connsiteX441" fmla="*/ 1560100 w 2822638"/>
                <a:gd name="connsiteY441" fmla="*/ 43625 h 1716690"/>
                <a:gd name="connsiteX442" fmla="*/ 1583436 w 2822638"/>
                <a:gd name="connsiteY442" fmla="*/ 19526 h 1716690"/>
                <a:gd name="connsiteX443" fmla="*/ 1588865 w 2822638"/>
                <a:gd name="connsiteY443" fmla="*/ 13907 h 1716690"/>
                <a:gd name="connsiteX444" fmla="*/ 1597343 w 2822638"/>
                <a:gd name="connsiteY444" fmla="*/ 8477 h 1716690"/>
                <a:gd name="connsiteX445" fmla="*/ 1606487 w 2822638"/>
                <a:gd name="connsiteY445" fmla="*/ 5715 h 1716690"/>
                <a:gd name="connsiteX446" fmla="*/ 1624679 w 2822638"/>
                <a:gd name="connsiteY446" fmla="*/ 5239 h 1716690"/>
                <a:gd name="connsiteX447" fmla="*/ 1634776 w 2822638"/>
                <a:gd name="connsiteY447" fmla="*/ 12097 h 1716690"/>
                <a:gd name="connsiteX448" fmla="*/ 1640110 w 2822638"/>
                <a:gd name="connsiteY448" fmla="*/ 27242 h 1716690"/>
                <a:gd name="connsiteX449" fmla="*/ 1643634 w 2822638"/>
                <a:gd name="connsiteY449" fmla="*/ 45339 h 1716690"/>
                <a:gd name="connsiteX450" fmla="*/ 1648397 w 2822638"/>
                <a:gd name="connsiteY450" fmla="*/ 61151 h 1716690"/>
                <a:gd name="connsiteX451" fmla="*/ 1654112 w 2822638"/>
                <a:gd name="connsiteY451" fmla="*/ 66008 h 1716690"/>
                <a:gd name="connsiteX452" fmla="*/ 1660208 w 2822638"/>
                <a:gd name="connsiteY452" fmla="*/ 66008 h 1716690"/>
                <a:gd name="connsiteX453" fmla="*/ 1672685 w 2822638"/>
                <a:gd name="connsiteY453" fmla="*/ 59531 h 1716690"/>
                <a:gd name="connsiteX454" fmla="*/ 1680401 w 2822638"/>
                <a:gd name="connsiteY454" fmla="*/ 49244 h 1716690"/>
                <a:gd name="connsiteX455" fmla="*/ 1677734 w 2822638"/>
                <a:gd name="connsiteY455" fmla="*/ 37529 h 1716690"/>
                <a:gd name="connsiteX456" fmla="*/ 1666780 w 2822638"/>
                <a:gd name="connsiteY456" fmla="*/ 17621 h 1716690"/>
                <a:gd name="connsiteX457" fmla="*/ 1667256 w 2822638"/>
                <a:gd name="connsiteY457" fmla="*/ 4858 h 1716690"/>
                <a:gd name="connsiteX458" fmla="*/ 1672209 w 2822638"/>
                <a:gd name="connsiteY458" fmla="*/ 0 h 1716690"/>
                <a:gd name="connsiteX459" fmla="*/ 1679258 w 2822638"/>
                <a:gd name="connsiteY459" fmla="*/ 1238 h 1716690"/>
                <a:gd name="connsiteX460" fmla="*/ 1686211 w 2822638"/>
                <a:gd name="connsiteY460" fmla="*/ 6953 h 1716690"/>
                <a:gd name="connsiteX461" fmla="*/ 1688878 w 2822638"/>
                <a:gd name="connsiteY461" fmla="*/ 12002 h 1716690"/>
                <a:gd name="connsiteX462" fmla="*/ 1693450 w 2822638"/>
                <a:gd name="connsiteY462" fmla="*/ 25337 h 1716690"/>
                <a:gd name="connsiteX463" fmla="*/ 1695926 w 2822638"/>
                <a:gd name="connsiteY463" fmla="*/ 29623 h 1716690"/>
                <a:gd name="connsiteX464" fmla="*/ 1699451 w 2822638"/>
                <a:gd name="connsiteY464" fmla="*/ 31814 h 1716690"/>
                <a:gd name="connsiteX465" fmla="*/ 1701832 w 2822638"/>
                <a:gd name="connsiteY465" fmla="*/ 31242 h 1716690"/>
                <a:gd name="connsiteX466" fmla="*/ 1704404 w 2822638"/>
                <a:gd name="connsiteY466" fmla="*/ 29909 h 1716690"/>
                <a:gd name="connsiteX467" fmla="*/ 1708404 w 2822638"/>
                <a:gd name="connsiteY467" fmla="*/ 29718 h 1716690"/>
                <a:gd name="connsiteX468" fmla="*/ 1724025 w 2822638"/>
                <a:gd name="connsiteY468" fmla="*/ 38195 h 1716690"/>
                <a:gd name="connsiteX469" fmla="*/ 1747647 w 2822638"/>
                <a:gd name="connsiteY469" fmla="*/ 66961 h 1716690"/>
                <a:gd name="connsiteX470" fmla="*/ 1762982 w 2822638"/>
                <a:gd name="connsiteY470" fmla="*/ 76867 h 1716690"/>
                <a:gd name="connsiteX471" fmla="*/ 1776698 w 2822638"/>
                <a:gd name="connsiteY471" fmla="*/ 79915 h 1716690"/>
                <a:gd name="connsiteX472" fmla="*/ 1780508 w 2822638"/>
                <a:gd name="connsiteY472" fmla="*/ 82582 h 1716690"/>
                <a:gd name="connsiteX473" fmla="*/ 1783842 w 2822638"/>
                <a:gd name="connsiteY473" fmla="*/ 88106 h 1716690"/>
                <a:gd name="connsiteX474" fmla="*/ 1784414 w 2822638"/>
                <a:gd name="connsiteY474" fmla="*/ 92107 h 1716690"/>
                <a:gd name="connsiteX475" fmla="*/ 1784414 w 2822638"/>
                <a:gd name="connsiteY475" fmla="*/ 92869 h 1716690"/>
                <a:gd name="connsiteX476" fmla="*/ 1784890 w 2822638"/>
                <a:gd name="connsiteY476" fmla="*/ 97727 h 1716690"/>
                <a:gd name="connsiteX477" fmla="*/ 1786985 w 2822638"/>
                <a:gd name="connsiteY477" fmla="*/ 103537 h 1716690"/>
                <a:gd name="connsiteX478" fmla="*/ 1795177 w 2822638"/>
                <a:gd name="connsiteY478" fmla="*/ 114395 h 1716690"/>
                <a:gd name="connsiteX479" fmla="*/ 1803749 w 2822638"/>
                <a:gd name="connsiteY479" fmla="*/ 119729 h 1716690"/>
                <a:gd name="connsiteX480" fmla="*/ 1812893 w 2822638"/>
                <a:gd name="connsiteY480" fmla="*/ 121158 h 1716690"/>
                <a:gd name="connsiteX481" fmla="*/ 1822609 w 2822638"/>
                <a:gd name="connsiteY481" fmla="*/ 120301 h 1716690"/>
                <a:gd name="connsiteX482" fmla="*/ 1843564 w 2822638"/>
                <a:gd name="connsiteY482" fmla="*/ 113062 h 1716690"/>
                <a:gd name="connsiteX483" fmla="*/ 1847945 w 2822638"/>
                <a:gd name="connsiteY483" fmla="*/ 111538 h 1716690"/>
                <a:gd name="connsiteX484" fmla="*/ 1853851 w 2822638"/>
                <a:gd name="connsiteY484" fmla="*/ 111728 h 1716690"/>
                <a:gd name="connsiteX485" fmla="*/ 1859756 w 2822638"/>
                <a:gd name="connsiteY485" fmla="*/ 121920 h 1716690"/>
                <a:gd name="connsiteX486" fmla="*/ 1863376 w 2822638"/>
                <a:gd name="connsiteY486" fmla="*/ 136779 h 1716690"/>
                <a:gd name="connsiteX487" fmla="*/ 1868329 w 2822638"/>
                <a:gd name="connsiteY487" fmla="*/ 151448 h 1716690"/>
                <a:gd name="connsiteX488" fmla="*/ 1878140 w 2822638"/>
                <a:gd name="connsiteY488" fmla="*/ 160877 h 1716690"/>
                <a:gd name="connsiteX489" fmla="*/ 1959959 w 2822638"/>
                <a:gd name="connsiteY489" fmla="*/ 168212 h 1716690"/>
                <a:gd name="connsiteX490" fmla="*/ 1964531 w 2822638"/>
                <a:gd name="connsiteY490" fmla="*/ 170498 h 1716690"/>
                <a:gd name="connsiteX491" fmla="*/ 1967389 w 2822638"/>
                <a:gd name="connsiteY491" fmla="*/ 174117 h 1716690"/>
                <a:gd name="connsiteX492" fmla="*/ 1968627 w 2822638"/>
                <a:gd name="connsiteY492" fmla="*/ 181070 h 1716690"/>
                <a:gd name="connsiteX493" fmla="*/ 1967294 w 2822638"/>
                <a:gd name="connsiteY493" fmla="*/ 185452 h 1716690"/>
                <a:gd name="connsiteX494" fmla="*/ 1965103 w 2822638"/>
                <a:gd name="connsiteY494" fmla="*/ 189833 h 1716690"/>
                <a:gd name="connsiteX495" fmla="*/ 1963960 w 2822638"/>
                <a:gd name="connsiteY495" fmla="*/ 196501 h 1716690"/>
                <a:gd name="connsiteX496" fmla="*/ 1965103 w 2822638"/>
                <a:gd name="connsiteY496" fmla="*/ 211550 h 1716690"/>
                <a:gd name="connsiteX497" fmla="*/ 1968532 w 2822638"/>
                <a:gd name="connsiteY497" fmla="*/ 220599 h 1716690"/>
                <a:gd name="connsiteX498" fmla="*/ 2011585 w 2822638"/>
                <a:gd name="connsiteY498" fmla="*/ 256794 h 1716690"/>
                <a:gd name="connsiteX499" fmla="*/ 2024539 w 2822638"/>
                <a:gd name="connsiteY499" fmla="*/ 271939 h 1716690"/>
                <a:gd name="connsiteX500" fmla="*/ 2061401 w 2822638"/>
                <a:gd name="connsiteY500" fmla="*/ 332518 h 1716690"/>
                <a:gd name="connsiteX501" fmla="*/ 2074640 w 2822638"/>
                <a:gd name="connsiteY501" fmla="*/ 348234 h 1716690"/>
                <a:gd name="connsiteX502" fmla="*/ 2090738 w 2822638"/>
                <a:gd name="connsiteY502" fmla="*/ 359855 h 1716690"/>
                <a:gd name="connsiteX503" fmla="*/ 2095690 w 2822638"/>
                <a:gd name="connsiteY503" fmla="*/ 361950 h 1716690"/>
                <a:gd name="connsiteX504" fmla="*/ 2126552 w 2822638"/>
                <a:gd name="connsiteY504" fmla="*/ 375380 h 1716690"/>
                <a:gd name="connsiteX505" fmla="*/ 2126647 w 2822638"/>
                <a:gd name="connsiteY505" fmla="*/ 375380 h 1716690"/>
                <a:gd name="connsiteX506" fmla="*/ 2133124 w 2822638"/>
                <a:gd name="connsiteY506" fmla="*/ 381762 h 1716690"/>
                <a:gd name="connsiteX507" fmla="*/ 2146173 w 2822638"/>
                <a:gd name="connsiteY507" fmla="*/ 400431 h 1716690"/>
                <a:gd name="connsiteX508" fmla="*/ 2153412 w 2822638"/>
                <a:gd name="connsiteY508" fmla="*/ 408623 h 1716690"/>
                <a:gd name="connsiteX509" fmla="*/ 2159413 w 2822638"/>
                <a:gd name="connsiteY509" fmla="*/ 407575 h 1716690"/>
                <a:gd name="connsiteX510" fmla="*/ 2164747 w 2822638"/>
                <a:gd name="connsiteY510" fmla="*/ 402812 h 1716690"/>
                <a:gd name="connsiteX511" fmla="*/ 2169986 w 2822638"/>
                <a:gd name="connsiteY511" fmla="*/ 399669 h 1716690"/>
                <a:gd name="connsiteX512" fmla="*/ 2173700 w 2822638"/>
                <a:gd name="connsiteY512" fmla="*/ 400622 h 1716690"/>
                <a:gd name="connsiteX513" fmla="*/ 2180939 w 2822638"/>
                <a:gd name="connsiteY513" fmla="*/ 405860 h 1716690"/>
                <a:gd name="connsiteX514" fmla="*/ 2184654 w 2822638"/>
                <a:gd name="connsiteY514" fmla="*/ 407099 h 1716690"/>
                <a:gd name="connsiteX515" fmla="*/ 2188655 w 2822638"/>
                <a:gd name="connsiteY515" fmla="*/ 405289 h 1716690"/>
                <a:gd name="connsiteX516" fmla="*/ 2190464 w 2822638"/>
                <a:gd name="connsiteY516" fmla="*/ 400812 h 1716690"/>
                <a:gd name="connsiteX517" fmla="*/ 2191798 w 2822638"/>
                <a:gd name="connsiteY517" fmla="*/ 395478 h 1716690"/>
                <a:gd name="connsiteX518" fmla="*/ 2194274 w 2822638"/>
                <a:gd name="connsiteY518" fmla="*/ 390811 h 1716690"/>
                <a:gd name="connsiteX519" fmla="*/ 2205800 w 2822638"/>
                <a:gd name="connsiteY519" fmla="*/ 380619 h 1716690"/>
                <a:gd name="connsiteX520" fmla="*/ 2218468 w 2822638"/>
                <a:gd name="connsiteY520" fmla="*/ 372999 h 1716690"/>
                <a:gd name="connsiteX521" fmla="*/ 2231517 w 2822638"/>
                <a:gd name="connsiteY521" fmla="*/ 368713 h 1716690"/>
                <a:gd name="connsiteX522" fmla="*/ 2261711 w 2822638"/>
                <a:gd name="connsiteY522" fmla="*/ 370332 h 1716690"/>
                <a:gd name="connsiteX523" fmla="*/ 2268569 w 2822638"/>
                <a:gd name="connsiteY523" fmla="*/ 368237 h 1716690"/>
                <a:gd name="connsiteX524" fmla="*/ 2276570 w 2822638"/>
                <a:gd name="connsiteY524" fmla="*/ 361093 h 1716690"/>
                <a:gd name="connsiteX525" fmla="*/ 2281238 w 2822638"/>
                <a:gd name="connsiteY525" fmla="*/ 350996 h 1716690"/>
                <a:gd name="connsiteX526" fmla="*/ 2285238 w 2822638"/>
                <a:gd name="connsiteY526" fmla="*/ 340233 h 1716690"/>
                <a:gd name="connsiteX527" fmla="*/ 2291334 w 2822638"/>
                <a:gd name="connsiteY527" fmla="*/ 330994 h 1716690"/>
                <a:gd name="connsiteX528" fmla="*/ 2298573 w 2822638"/>
                <a:gd name="connsiteY528" fmla="*/ 327660 h 1716690"/>
                <a:gd name="connsiteX529" fmla="*/ 2303336 w 2822638"/>
                <a:gd name="connsiteY529" fmla="*/ 331375 h 1716690"/>
                <a:gd name="connsiteX530" fmla="*/ 2307717 w 2822638"/>
                <a:gd name="connsiteY530" fmla="*/ 336518 h 1716690"/>
                <a:gd name="connsiteX531" fmla="*/ 2313813 w 2822638"/>
                <a:gd name="connsiteY531" fmla="*/ 337661 h 1716690"/>
                <a:gd name="connsiteX532" fmla="*/ 2320671 w 2822638"/>
                <a:gd name="connsiteY532" fmla="*/ 336137 h 1716690"/>
                <a:gd name="connsiteX533" fmla="*/ 2327434 w 2822638"/>
                <a:gd name="connsiteY533" fmla="*/ 336328 h 1716690"/>
                <a:gd name="connsiteX534" fmla="*/ 2340864 w 2822638"/>
                <a:gd name="connsiteY534" fmla="*/ 340995 h 1716690"/>
                <a:gd name="connsiteX535" fmla="*/ 2350008 w 2822638"/>
                <a:gd name="connsiteY535" fmla="*/ 348329 h 1716690"/>
                <a:gd name="connsiteX536" fmla="*/ 2364296 w 2822638"/>
                <a:gd name="connsiteY536" fmla="*/ 370427 h 1716690"/>
                <a:gd name="connsiteX537" fmla="*/ 2372201 w 2822638"/>
                <a:gd name="connsiteY537" fmla="*/ 379667 h 1716690"/>
                <a:gd name="connsiteX538" fmla="*/ 2381441 w 2822638"/>
                <a:gd name="connsiteY538" fmla="*/ 384143 h 1716690"/>
                <a:gd name="connsiteX539" fmla="*/ 2412683 w 2822638"/>
                <a:gd name="connsiteY539" fmla="*/ 386144 h 1716690"/>
                <a:gd name="connsiteX540" fmla="*/ 2472785 w 2822638"/>
                <a:gd name="connsiteY540" fmla="*/ 408337 h 1716690"/>
                <a:gd name="connsiteX541" fmla="*/ 2485644 w 2822638"/>
                <a:gd name="connsiteY541" fmla="*/ 400050 h 171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Lst>
              <a:rect l="l" t="t" r="r" b="b"/>
              <a:pathLst>
                <a:path w="2822638" h="1716690">
                  <a:moveTo>
                    <a:pt x="2485644" y="400336"/>
                  </a:moveTo>
                  <a:lnTo>
                    <a:pt x="2553843" y="399669"/>
                  </a:lnTo>
                  <a:lnTo>
                    <a:pt x="2551748" y="426053"/>
                  </a:lnTo>
                  <a:lnTo>
                    <a:pt x="2552891" y="443198"/>
                  </a:lnTo>
                  <a:lnTo>
                    <a:pt x="2548700" y="458057"/>
                  </a:lnTo>
                  <a:lnTo>
                    <a:pt x="2547366" y="470726"/>
                  </a:lnTo>
                  <a:lnTo>
                    <a:pt x="2557082" y="481394"/>
                  </a:lnTo>
                  <a:lnTo>
                    <a:pt x="2597849" y="500729"/>
                  </a:lnTo>
                  <a:lnTo>
                    <a:pt x="2618708" y="524256"/>
                  </a:lnTo>
                  <a:lnTo>
                    <a:pt x="2623947" y="530257"/>
                  </a:lnTo>
                  <a:lnTo>
                    <a:pt x="2663381" y="554927"/>
                  </a:lnTo>
                  <a:lnTo>
                    <a:pt x="2670620" y="561404"/>
                  </a:lnTo>
                  <a:lnTo>
                    <a:pt x="2675477" y="571691"/>
                  </a:lnTo>
                  <a:lnTo>
                    <a:pt x="2677763" y="588550"/>
                  </a:lnTo>
                  <a:lnTo>
                    <a:pt x="2675858" y="628936"/>
                  </a:lnTo>
                  <a:lnTo>
                    <a:pt x="2673001" y="651034"/>
                  </a:lnTo>
                  <a:lnTo>
                    <a:pt x="2669286" y="666369"/>
                  </a:lnTo>
                  <a:lnTo>
                    <a:pt x="2657475" y="677609"/>
                  </a:lnTo>
                  <a:lnTo>
                    <a:pt x="2621280" y="695230"/>
                  </a:lnTo>
                  <a:lnTo>
                    <a:pt x="2613946" y="705993"/>
                  </a:lnTo>
                  <a:lnTo>
                    <a:pt x="2619375" y="719042"/>
                  </a:lnTo>
                  <a:lnTo>
                    <a:pt x="2629472" y="724376"/>
                  </a:lnTo>
                  <a:lnTo>
                    <a:pt x="2638616" y="731520"/>
                  </a:lnTo>
                  <a:lnTo>
                    <a:pt x="2640616" y="749903"/>
                  </a:lnTo>
                  <a:lnTo>
                    <a:pt x="2638711" y="757714"/>
                  </a:lnTo>
                  <a:lnTo>
                    <a:pt x="2632424" y="773144"/>
                  </a:lnTo>
                  <a:lnTo>
                    <a:pt x="2630043" y="781050"/>
                  </a:lnTo>
                  <a:lnTo>
                    <a:pt x="2628996" y="788289"/>
                  </a:lnTo>
                  <a:lnTo>
                    <a:pt x="2628138" y="802577"/>
                  </a:lnTo>
                  <a:lnTo>
                    <a:pt x="2626805" y="810673"/>
                  </a:lnTo>
                  <a:lnTo>
                    <a:pt x="2600897" y="866394"/>
                  </a:lnTo>
                  <a:lnTo>
                    <a:pt x="2592991" y="891350"/>
                  </a:lnTo>
                  <a:lnTo>
                    <a:pt x="2599277" y="893064"/>
                  </a:lnTo>
                  <a:lnTo>
                    <a:pt x="2605850" y="894874"/>
                  </a:lnTo>
                  <a:lnTo>
                    <a:pt x="2638139" y="876681"/>
                  </a:lnTo>
                  <a:lnTo>
                    <a:pt x="2654617" y="872109"/>
                  </a:lnTo>
                  <a:lnTo>
                    <a:pt x="2671953" y="877062"/>
                  </a:lnTo>
                  <a:lnTo>
                    <a:pt x="2680335" y="884206"/>
                  </a:lnTo>
                  <a:lnTo>
                    <a:pt x="2695671" y="901732"/>
                  </a:lnTo>
                  <a:lnTo>
                    <a:pt x="2704243" y="908590"/>
                  </a:lnTo>
                  <a:lnTo>
                    <a:pt x="2706338" y="918782"/>
                  </a:lnTo>
                  <a:lnTo>
                    <a:pt x="2699004" y="934974"/>
                  </a:lnTo>
                  <a:lnTo>
                    <a:pt x="2689670" y="951738"/>
                  </a:lnTo>
                  <a:lnTo>
                    <a:pt x="2685574" y="963644"/>
                  </a:lnTo>
                  <a:lnTo>
                    <a:pt x="2692241" y="975836"/>
                  </a:lnTo>
                  <a:lnTo>
                    <a:pt x="2730532" y="1003078"/>
                  </a:lnTo>
                  <a:lnTo>
                    <a:pt x="2734532" y="1015175"/>
                  </a:lnTo>
                  <a:lnTo>
                    <a:pt x="2734818" y="1046988"/>
                  </a:lnTo>
                  <a:lnTo>
                    <a:pt x="2736914" y="1061942"/>
                  </a:lnTo>
                  <a:lnTo>
                    <a:pt x="2742152" y="1073468"/>
                  </a:lnTo>
                  <a:lnTo>
                    <a:pt x="2749010" y="1081088"/>
                  </a:lnTo>
                  <a:lnTo>
                    <a:pt x="2780157" y="1096328"/>
                  </a:lnTo>
                  <a:lnTo>
                    <a:pt x="2787015" y="1101566"/>
                  </a:lnTo>
                  <a:lnTo>
                    <a:pt x="2789396" y="1109853"/>
                  </a:lnTo>
                  <a:lnTo>
                    <a:pt x="2786634" y="1116140"/>
                  </a:lnTo>
                  <a:lnTo>
                    <a:pt x="2776538" y="1125855"/>
                  </a:lnTo>
                  <a:lnTo>
                    <a:pt x="2774252" y="1134142"/>
                  </a:lnTo>
                  <a:lnTo>
                    <a:pt x="2775490" y="1141000"/>
                  </a:lnTo>
                  <a:lnTo>
                    <a:pt x="2778633" y="1147286"/>
                  </a:lnTo>
                  <a:lnTo>
                    <a:pt x="2798921" y="1173290"/>
                  </a:lnTo>
                  <a:lnTo>
                    <a:pt x="2801969" y="1179100"/>
                  </a:lnTo>
                  <a:lnTo>
                    <a:pt x="2803398" y="1186720"/>
                  </a:lnTo>
                  <a:lnTo>
                    <a:pt x="2801969" y="1210913"/>
                  </a:lnTo>
                  <a:lnTo>
                    <a:pt x="2803112" y="1227011"/>
                  </a:lnTo>
                  <a:lnTo>
                    <a:pt x="2805970" y="1241203"/>
                  </a:lnTo>
                  <a:lnTo>
                    <a:pt x="2821686" y="1289114"/>
                  </a:lnTo>
                  <a:lnTo>
                    <a:pt x="2822639" y="1296543"/>
                  </a:lnTo>
                  <a:lnTo>
                    <a:pt x="2821877" y="1306830"/>
                  </a:lnTo>
                  <a:lnTo>
                    <a:pt x="2819591" y="1312355"/>
                  </a:lnTo>
                  <a:lnTo>
                    <a:pt x="2816447" y="1316927"/>
                  </a:lnTo>
                  <a:lnTo>
                    <a:pt x="2813209" y="1324356"/>
                  </a:lnTo>
                  <a:lnTo>
                    <a:pt x="2809780" y="1340834"/>
                  </a:lnTo>
                  <a:lnTo>
                    <a:pt x="2807494" y="1357408"/>
                  </a:lnTo>
                  <a:lnTo>
                    <a:pt x="2803779" y="1372934"/>
                  </a:lnTo>
                  <a:lnTo>
                    <a:pt x="2795873" y="1386459"/>
                  </a:lnTo>
                  <a:lnTo>
                    <a:pt x="2781110" y="1376363"/>
                  </a:lnTo>
                  <a:lnTo>
                    <a:pt x="2764441" y="1382840"/>
                  </a:lnTo>
                  <a:lnTo>
                    <a:pt x="2757773" y="1387697"/>
                  </a:lnTo>
                  <a:lnTo>
                    <a:pt x="2747105" y="1395413"/>
                  </a:lnTo>
                  <a:lnTo>
                    <a:pt x="2730437" y="1403509"/>
                  </a:lnTo>
                  <a:lnTo>
                    <a:pt x="2714339" y="1406938"/>
                  </a:lnTo>
                  <a:lnTo>
                    <a:pt x="2709482" y="1409510"/>
                  </a:lnTo>
                  <a:lnTo>
                    <a:pt x="2703386" y="1415891"/>
                  </a:lnTo>
                  <a:lnTo>
                    <a:pt x="2699480" y="1423511"/>
                  </a:lnTo>
                  <a:lnTo>
                    <a:pt x="2696051" y="1432084"/>
                  </a:lnTo>
                  <a:lnTo>
                    <a:pt x="2691384" y="1441323"/>
                  </a:lnTo>
                  <a:lnTo>
                    <a:pt x="2664809" y="1461802"/>
                  </a:lnTo>
                  <a:lnTo>
                    <a:pt x="2652617" y="1474470"/>
                  </a:lnTo>
                  <a:lnTo>
                    <a:pt x="2650998" y="1491139"/>
                  </a:lnTo>
                  <a:lnTo>
                    <a:pt x="2638330" y="1513904"/>
                  </a:lnTo>
                  <a:lnTo>
                    <a:pt x="2599658" y="1539526"/>
                  </a:lnTo>
                  <a:lnTo>
                    <a:pt x="2588800" y="1570292"/>
                  </a:lnTo>
                  <a:lnTo>
                    <a:pt x="2586038" y="1603343"/>
                  </a:lnTo>
                  <a:lnTo>
                    <a:pt x="2582704" y="1618107"/>
                  </a:lnTo>
                  <a:lnTo>
                    <a:pt x="2579275" y="1628775"/>
                  </a:lnTo>
                  <a:lnTo>
                    <a:pt x="2568321" y="1630204"/>
                  </a:lnTo>
                  <a:lnTo>
                    <a:pt x="2519363" y="1625727"/>
                  </a:lnTo>
                  <a:lnTo>
                    <a:pt x="2506504" y="1621822"/>
                  </a:lnTo>
                  <a:lnTo>
                    <a:pt x="2494312" y="1614583"/>
                  </a:lnTo>
                  <a:lnTo>
                    <a:pt x="2484596" y="1603248"/>
                  </a:lnTo>
                  <a:lnTo>
                    <a:pt x="2476596" y="1612678"/>
                  </a:lnTo>
                  <a:lnTo>
                    <a:pt x="2458403" y="1630490"/>
                  </a:lnTo>
                  <a:lnTo>
                    <a:pt x="2450878" y="1633728"/>
                  </a:lnTo>
                  <a:lnTo>
                    <a:pt x="2440115" y="1627727"/>
                  </a:lnTo>
                  <a:lnTo>
                    <a:pt x="2415826" y="1607058"/>
                  </a:lnTo>
                  <a:lnTo>
                    <a:pt x="2407349" y="1602391"/>
                  </a:lnTo>
                  <a:lnTo>
                    <a:pt x="2391537" y="1599724"/>
                  </a:lnTo>
                  <a:lnTo>
                    <a:pt x="2341055" y="1606201"/>
                  </a:lnTo>
                  <a:lnTo>
                    <a:pt x="2340388" y="1606582"/>
                  </a:lnTo>
                  <a:lnTo>
                    <a:pt x="2332006" y="1611916"/>
                  </a:lnTo>
                  <a:lnTo>
                    <a:pt x="2309527" y="1639538"/>
                  </a:lnTo>
                  <a:lnTo>
                    <a:pt x="2287238" y="1680591"/>
                  </a:lnTo>
                  <a:lnTo>
                    <a:pt x="2279428" y="1689735"/>
                  </a:lnTo>
                  <a:lnTo>
                    <a:pt x="2248376" y="1705832"/>
                  </a:lnTo>
                  <a:lnTo>
                    <a:pt x="2239423" y="1706499"/>
                  </a:lnTo>
                  <a:lnTo>
                    <a:pt x="2218658" y="1698117"/>
                  </a:lnTo>
                  <a:lnTo>
                    <a:pt x="2208276" y="1696974"/>
                  </a:lnTo>
                  <a:lnTo>
                    <a:pt x="2198751" y="1702213"/>
                  </a:lnTo>
                  <a:lnTo>
                    <a:pt x="2190560" y="1716691"/>
                  </a:lnTo>
                  <a:lnTo>
                    <a:pt x="2168366" y="1714976"/>
                  </a:lnTo>
                  <a:lnTo>
                    <a:pt x="2146364" y="1708880"/>
                  </a:lnTo>
                  <a:lnTo>
                    <a:pt x="2092357" y="1682591"/>
                  </a:lnTo>
                  <a:lnTo>
                    <a:pt x="2067973" y="1664018"/>
                  </a:lnTo>
                  <a:lnTo>
                    <a:pt x="2047399" y="1626870"/>
                  </a:lnTo>
                  <a:lnTo>
                    <a:pt x="2038350" y="1605725"/>
                  </a:lnTo>
                  <a:lnTo>
                    <a:pt x="2028539" y="1590389"/>
                  </a:lnTo>
                  <a:lnTo>
                    <a:pt x="1989963" y="1556671"/>
                  </a:lnTo>
                  <a:lnTo>
                    <a:pt x="1965865" y="1529429"/>
                  </a:lnTo>
                  <a:lnTo>
                    <a:pt x="1943862" y="1514761"/>
                  </a:lnTo>
                  <a:lnTo>
                    <a:pt x="1908810" y="1491329"/>
                  </a:lnTo>
                  <a:lnTo>
                    <a:pt x="1879283" y="1457896"/>
                  </a:lnTo>
                  <a:lnTo>
                    <a:pt x="1867948" y="1444943"/>
                  </a:lnTo>
                  <a:lnTo>
                    <a:pt x="1845564" y="1429321"/>
                  </a:lnTo>
                  <a:lnTo>
                    <a:pt x="1840802" y="1424559"/>
                  </a:lnTo>
                  <a:lnTo>
                    <a:pt x="1837373" y="1417320"/>
                  </a:lnTo>
                  <a:lnTo>
                    <a:pt x="1830134" y="1393793"/>
                  </a:lnTo>
                  <a:lnTo>
                    <a:pt x="1827276" y="1387602"/>
                  </a:lnTo>
                  <a:lnTo>
                    <a:pt x="1822514" y="1385507"/>
                  </a:lnTo>
                  <a:lnTo>
                    <a:pt x="1799273" y="1387412"/>
                  </a:lnTo>
                  <a:lnTo>
                    <a:pt x="1792605" y="1386078"/>
                  </a:lnTo>
                  <a:lnTo>
                    <a:pt x="1773079" y="1376648"/>
                  </a:lnTo>
                  <a:lnTo>
                    <a:pt x="1746599" y="1381506"/>
                  </a:lnTo>
                  <a:lnTo>
                    <a:pt x="1705451" y="1374362"/>
                  </a:lnTo>
                  <a:lnTo>
                    <a:pt x="1612011" y="1358170"/>
                  </a:lnTo>
                  <a:lnTo>
                    <a:pt x="1597914" y="1347883"/>
                  </a:lnTo>
                  <a:lnTo>
                    <a:pt x="1586579" y="1326737"/>
                  </a:lnTo>
                  <a:lnTo>
                    <a:pt x="1579626" y="1304163"/>
                  </a:lnTo>
                  <a:lnTo>
                    <a:pt x="1575816" y="1297305"/>
                  </a:lnTo>
                  <a:lnTo>
                    <a:pt x="1562862" y="1282827"/>
                  </a:lnTo>
                  <a:lnTo>
                    <a:pt x="1558957" y="1275588"/>
                  </a:lnTo>
                  <a:lnTo>
                    <a:pt x="1554671" y="1262539"/>
                  </a:lnTo>
                  <a:lnTo>
                    <a:pt x="1544574" y="1219962"/>
                  </a:lnTo>
                  <a:lnTo>
                    <a:pt x="1534382" y="1190435"/>
                  </a:lnTo>
                  <a:lnTo>
                    <a:pt x="1527429" y="1178624"/>
                  </a:lnTo>
                  <a:lnTo>
                    <a:pt x="1519142" y="1175861"/>
                  </a:lnTo>
                  <a:lnTo>
                    <a:pt x="1513713" y="1181005"/>
                  </a:lnTo>
                  <a:lnTo>
                    <a:pt x="1512284" y="1188530"/>
                  </a:lnTo>
                  <a:lnTo>
                    <a:pt x="1511808" y="1196340"/>
                  </a:lnTo>
                  <a:lnTo>
                    <a:pt x="1509332" y="1202531"/>
                  </a:lnTo>
                  <a:lnTo>
                    <a:pt x="1506188" y="1203198"/>
                  </a:lnTo>
                  <a:lnTo>
                    <a:pt x="1497616" y="1199769"/>
                  </a:lnTo>
                  <a:lnTo>
                    <a:pt x="1493711" y="1199960"/>
                  </a:lnTo>
                  <a:lnTo>
                    <a:pt x="1458468" y="1215676"/>
                  </a:lnTo>
                  <a:lnTo>
                    <a:pt x="1444276" y="1221962"/>
                  </a:lnTo>
                  <a:lnTo>
                    <a:pt x="1428940" y="1234154"/>
                  </a:lnTo>
                  <a:lnTo>
                    <a:pt x="1397318" y="1277303"/>
                  </a:lnTo>
                  <a:lnTo>
                    <a:pt x="1389983" y="1285018"/>
                  </a:lnTo>
                  <a:lnTo>
                    <a:pt x="1367504" y="1298162"/>
                  </a:lnTo>
                  <a:lnTo>
                    <a:pt x="1354265" y="1303973"/>
                  </a:lnTo>
                  <a:lnTo>
                    <a:pt x="1341501" y="1300448"/>
                  </a:lnTo>
                  <a:lnTo>
                    <a:pt x="1316736" y="1282160"/>
                  </a:lnTo>
                  <a:lnTo>
                    <a:pt x="1304163" y="1277207"/>
                  </a:lnTo>
                  <a:lnTo>
                    <a:pt x="1292162" y="1279303"/>
                  </a:lnTo>
                  <a:lnTo>
                    <a:pt x="1245108" y="1303973"/>
                  </a:lnTo>
                  <a:lnTo>
                    <a:pt x="1234821" y="1305878"/>
                  </a:lnTo>
                  <a:lnTo>
                    <a:pt x="1234250" y="1305878"/>
                  </a:lnTo>
                  <a:cubicBezTo>
                    <a:pt x="1234250" y="1305878"/>
                    <a:pt x="1222439" y="1303687"/>
                    <a:pt x="1222439" y="1303687"/>
                  </a:cubicBezTo>
                  <a:lnTo>
                    <a:pt x="1209389" y="1296353"/>
                  </a:lnTo>
                  <a:lnTo>
                    <a:pt x="1172813" y="1267396"/>
                  </a:lnTo>
                  <a:lnTo>
                    <a:pt x="1129856" y="1253585"/>
                  </a:lnTo>
                  <a:lnTo>
                    <a:pt x="1124807" y="1251966"/>
                  </a:lnTo>
                  <a:lnTo>
                    <a:pt x="1111949" y="1251585"/>
                  </a:lnTo>
                  <a:lnTo>
                    <a:pt x="1085088" y="1257871"/>
                  </a:lnTo>
                  <a:lnTo>
                    <a:pt x="1072991" y="1255871"/>
                  </a:lnTo>
                  <a:lnTo>
                    <a:pt x="1072515" y="1253585"/>
                  </a:lnTo>
                  <a:lnTo>
                    <a:pt x="1072991" y="1249204"/>
                  </a:lnTo>
                  <a:lnTo>
                    <a:pt x="1072515" y="1243965"/>
                  </a:lnTo>
                  <a:lnTo>
                    <a:pt x="1069181" y="1239107"/>
                  </a:lnTo>
                  <a:lnTo>
                    <a:pt x="1065943" y="1237869"/>
                  </a:lnTo>
                  <a:lnTo>
                    <a:pt x="1055275" y="1239679"/>
                  </a:lnTo>
                  <a:lnTo>
                    <a:pt x="1028224" y="1238250"/>
                  </a:lnTo>
                  <a:lnTo>
                    <a:pt x="1015746" y="1241965"/>
                  </a:lnTo>
                  <a:lnTo>
                    <a:pt x="992314" y="1255967"/>
                  </a:lnTo>
                  <a:lnTo>
                    <a:pt x="978313" y="1254919"/>
                  </a:lnTo>
                  <a:lnTo>
                    <a:pt x="938022" y="1237679"/>
                  </a:lnTo>
                  <a:lnTo>
                    <a:pt x="911828" y="1226439"/>
                  </a:lnTo>
                  <a:lnTo>
                    <a:pt x="903161" y="1224725"/>
                  </a:lnTo>
                  <a:lnTo>
                    <a:pt x="858012" y="1235297"/>
                  </a:lnTo>
                  <a:lnTo>
                    <a:pt x="850868" y="1239869"/>
                  </a:lnTo>
                  <a:lnTo>
                    <a:pt x="854202" y="1247204"/>
                  </a:lnTo>
                  <a:lnTo>
                    <a:pt x="834676" y="1268349"/>
                  </a:lnTo>
                  <a:lnTo>
                    <a:pt x="815054" y="1273016"/>
                  </a:lnTo>
                  <a:lnTo>
                    <a:pt x="797338" y="1259205"/>
                  </a:lnTo>
                  <a:lnTo>
                    <a:pt x="783622" y="1224534"/>
                  </a:lnTo>
                  <a:lnTo>
                    <a:pt x="774097" y="1204246"/>
                  </a:lnTo>
                  <a:lnTo>
                    <a:pt x="761429" y="1197102"/>
                  </a:lnTo>
                  <a:lnTo>
                    <a:pt x="747617" y="1199674"/>
                  </a:lnTo>
                  <a:lnTo>
                    <a:pt x="736187" y="1207675"/>
                  </a:lnTo>
                  <a:lnTo>
                    <a:pt x="721900" y="1217676"/>
                  </a:lnTo>
                  <a:lnTo>
                    <a:pt x="666845" y="1240536"/>
                  </a:lnTo>
                  <a:lnTo>
                    <a:pt x="660940" y="1241393"/>
                  </a:lnTo>
                  <a:lnTo>
                    <a:pt x="654177" y="1238536"/>
                  </a:lnTo>
                  <a:lnTo>
                    <a:pt x="636937" y="1220248"/>
                  </a:lnTo>
                  <a:lnTo>
                    <a:pt x="626650" y="1214628"/>
                  </a:lnTo>
                  <a:lnTo>
                    <a:pt x="625697" y="1214152"/>
                  </a:lnTo>
                  <a:lnTo>
                    <a:pt x="600742" y="1208342"/>
                  </a:lnTo>
                  <a:lnTo>
                    <a:pt x="485204" y="1212247"/>
                  </a:lnTo>
                  <a:lnTo>
                    <a:pt x="477584" y="1209104"/>
                  </a:lnTo>
                  <a:lnTo>
                    <a:pt x="463106" y="1198245"/>
                  </a:lnTo>
                  <a:lnTo>
                    <a:pt x="455676" y="1194435"/>
                  </a:lnTo>
                  <a:lnTo>
                    <a:pt x="438150" y="1193197"/>
                  </a:lnTo>
                  <a:lnTo>
                    <a:pt x="395002" y="1213676"/>
                  </a:lnTo>
                  <a:lnTo>
                    <a:pt x="388049" y="1217009"/>
                  </a:lnTo>
                  <a:lnTo>
                    <a:pt x="278702" y="1268730"/>
                  </a:lnTo>
                  <a:lnTo>
                    <a:pt x="244221" y="1270254"/>
                  </a:lnTo>
                  <a:lnTo>
                    <a:pt x="229743" y="1277684"/>
                  </a:lnTo>
                  <a:lnTo>
                    <a:pt x="175355" y="1319689"/>
                  </a:lnTo>
                  <a:lnTo>
                    <a:pt x="169259" y="1321689"/>
                  </a:lnTo>
                  <a:lnTo>
                    <a:pt x="151638" y="1322546"/>
                  </a:lnTo>
                  <a:lnTo>
                    <a:pt x="139732" y="1328738"/>
                  </a:lnTo>
                  <a:lnTo>
                    <a:pt x="125254" y="1340930"/>
                  </a:lnTo>
                  <a:lnTo>
                    <a:pt x="111443" y="1356170"/>
                  </a:lnTo>
                  <a:lnTo>
                    <a:pt x="101632" y="1371600"/>
                  </a:lnTo>
                  <a:lnTo>
                    <a:pt x="94964" y="1394079"/>
                  </a:lnTo>
                  <a:lnTo>
                    <a:pt x="92107" y="1413320"/>
                  </a:lnTo>
                  <a:lnTo>
                    <a:pt x="86297" y="1426559"/>
                  </a:lnTo>
                  <a:lnTo>
                    <a:pt x="70676" y="1430941"/>
                  </a:lnTo>
                  <a:lnTo>
                    <a:pt x="47816" y="1431131"/>
                  </a:lnTo>
                  <a:lnTo>
                    <a:pt x="33052" y="1434846"/>
                  </a:lnTo>
                  <a:lnTo>
                    <a:pt x="33052" y="1434656"/>
                  </a:lnTo>
                  <a:lnTo>
                    <a:pt x="32766" y="1431417"/>
                  </a:lnTo>
                  <a:lnTo>
                    <a:pt x="28956" y="1405604"/>
                  </a:lnTo>
                  <a:lnTo>
                    <a:pt x="23527" y="1382649"/>
                  </a:lnTo>
                  <a:lnTo>
                    <a:pt x="6096" y="1338548"/>
                  </a:lnTo>
                  <a:lnTo>
                    <a:pt x="1905" y="1323404"/>
                  </a:lnTo>
                  <a:lnTo>
                    <a:pt x="191" y="1308354"/>
                  </a:lnTo>
                  <a:lnTo>
                    <a:pt x="952" y="1303973"/>
                  </a:lnTo>
                  <a:lnTo>
                    <a:pt x="4572" y="1290257"/>
                  </a:lnTo>
                  <a:lnTo>
                    <a:pt x="5525" y="1282256"/>
                  </a:lnTo>
                  <a:lnTo>
                    <a:pt x="5525" y="1274731"/>
                  </a:lnTo>
                  <a:lnTo>
                    <a:pt x="5048" y="1268444"/>
                  </a:lnTo>
                  <a:lnTo>
                    <a:pt x="952" y="1240822"/>
                  </a:lnTo>
                  <a:lnTo>
                    <a:pt x="0" y="1226725"/>
                  </a:lnTo>
                  <a:lnTo>
                    <a:pt x="762" y="1213199"/>
                  </a:lnTo>
                  <a:lnTo>
                    <a:pt x="4096" y="1202436"/>
                  </a:lnTo>
                  <a:lnTo>
                    <a:pt x="9335" y="1192911"/>
                  </a:lnTo>
                  <a:lnTo>
                    <a:pt x="11621" y="1187387"/>
                  </a:lnTo>
                  <a:lnTo>
                    <a:pt x="13526" y="1181005"/>
                  </a:lnTo>
                  <a:lnTo>
                    <a:pt x="14383" y="1173194"/>
                  </a:lnTo>
                  <a:lnTo>
                    <a:pt x="14383" y="1159383"/>
                  </a:lnTo>
                  <a:cubicBezTo>
                    <a:pt x="14383" y="1159383"/>
                    <a:pt x="16383" y="1152144"/>
                    <a:pt x="16383" y="1152144"/>
                  </a:cubicBezTo>
                  <a:lnTo>
                    <a:pt x="13526" y="1140238"/>
                  </a:lnTo>
                  <a:lnTo>
                    <a:pt x="12478" y="1127474"/>
                  </a:lnTo>
                  <a:lnTo>
                    <a:pt x="14764" y="1120902"/>
                  </a:lnTo>
                  <a:lnTo>
                    <a:pt x="21717" y="1127570"/>
                  </a:lnTo>
                  <a:lnTo>
                    <a:pt x="24194" y="1134904"/>
                  </a:lnTo>
                  <a:lnTo>
                    <a:pt x="26289" y="1153382"/>
                  </a:lnTo>
                  <a:lnTo>
                    <a:pt x="29718" y="1161764"/>
                  </a:lnTo>
                  <a:lnTo>
                    <a:pt x="24194" y="1171385"/>
                  </a:lnTo>
                  <a:lnTo>
                    <a:pt x="26861" y="1174052"/>
                  </a:lnTo>
                  <a:lnTo>
                    <a:pt x="29718" y="1175766"/>
                  </a:lnTo>
                  <a:lnTo>
                    <a:pt x="29718" y="1190625"/>
                  </a:lnTo>
                  <a:lnTo>
                    <a:pt x="24194" y="1199769"/>
                  </a:lnTo>
                  <a:lnTo>
                    <a:pt x="33052" y="1212533"/>
                  </a:lnTo>
                  <a:lnTo>
                    <a:pt x="36290" y="1214628"/>
                  </a:lnTo>
                  <a:lnTo>
                    <a:pt x="39529" y="1213009"/>
                  </a:lnTo>
                  <a:lnTo>
                    <a:pt x="42291" y="1208913"/>
                  </a:lnTo>
                  <a:lnTo>
                    <a:pt x="43339" y="1203389"/>
                  </a:lnTo>
                  <a:lnTo>
                    <a:pt x="38957" y="1188625"/>
                  </a:lnTo>
                  <a:lnTo>
                    <a:pt x="38195" y="1176147"/>
                  </a:lnTo>
                  <a:lnTo>
                    <a:pt x="38767" y="1164241"/>
                  </a:lnTo>
                  <a:lnTo>
                    <a:pt x="40291" y="1156716"/>
                  </a:lnTo>
                  <a:lnTo>
                    <a:pt x="38576" y="1151858"/>
                  </a:lnTo>
                  <a:lnTo>
                    <a:pt x="36862" y="1139476"/>
                  </a:lnTo>
                  <a:lnTo>
                    <a:pt x="34957" y="1132618"/>
                  </a:lnTo>
                  <a:lnTo>
                    <a:pt x="32861" y="1127379"/>
                  </a:lnTo>
                  <a:lnTo>
                    <a:pt x="30956" y="1124141"/>
                  </a:lnTo>
                  <a:lnTo>
                    <a:pt x="24098" y="1118140"/>
                  </a:lnTo>
                  <a:lnTo>
                    <a:pt x="19812" y="1116044"/>
                  </a:lnTo>
                  <a:lnTo>
                    <a:pt x="16288" y="1115568"/>
                  </a:lnTo>
                  <a:lnTo>
                    <a:pt x="13430" y="1113949"/>
                  </a:lnTo>
                  <a:lnTo>
                    <a:pt x="10763" y="1108424"/>
                  </a:lnTo>
                  <a:lnTo>
                    <a:pt x="9144" y="1100614"/>
                  </a:lnTo>
                  <a:lnTo>
                    <a:pt x="10287" y="1097471"/>
                  </a:lnTo>
                  <a:lnTo>
                    <a:pt x="12287" y="1094423"/>
                  </a:lnTo>
                  <a:lnTo>
                    <a:pt x="16288" y="1065467"/>
                  </a:lnTo>
                  <a:lnTo>
                    <a:pt x="30194" y="1024795"/>
                  </a:lnTo>
                  <a:lnTo>
                    <a:pt x="34957" y="1001744"/>
                  </a:lnTo>
                  <a:lnTo>
                    <a:pt x="37624" y="940975"/>
                  </a:lnTo>
                  <a:lnTo>
                    <a:pt x="36100" y="926878"/>
                  </a:lnTo>
                  <a:lnTo>
                    <a:pt x="33338" y="914210"/>
                  </a:lnTo>
                  <a:lnTo>
                    <a:pt x="32766" y="902113"/>
                  </a:lnTo>
                  <a:lnTo>
                    <a:pt x="37624" y="889730"/>
                  </a:lnTo>
                  <a:lnTo>
                    <a:pt x="69533" y="868299"/>
                  </a:lnTo>
                  <a:lnTo>
                    <a:pt x="73247" y="861727"/>
                  </a:lnTo>
                  <a:lnTo>
                    <a:pt x="98965" y="845915"/>
                  </a:lnTo>
                  <a:lnTo>
                    <a:pt x="106013" y="838391"/>
                  </a:lnTo>
                  <a:lnTo>
                    <a:pt x="120301" y="816388"/>
                  </a:lnTo>
                  <a:lnTo>
                    <a:pt x="124301" y="811816"/>
                  </a:lnTo>
                  <a:lnTo>
                    <a:pt x="129159" y="808958"/>
                  </a:lnTo>
                  <a:lnTo>
                    <a:pt x="140113" y="798862"/>
                  </a:lnTo>
                  <a:lnTo>
                    <a:pt x="152495" y="787337"/>
                  </a:lnTo>
                  <a:lnTo>
                    <a:pt x="161163" y="773620"/>
                  </a:lnTo>
                  <a:lnTo>
                    <a:pt x="168593" y="753142"/>
                  </a:lnTo>
                  <a:lnTo>
                    <a:pt x="173260" y="727615"/>
                  </a:lnTo>
                  <a:lnTo>
                    <a:pt x="173736" y="698468"/>
                  </a:lnTo>
                  <a:lnTo>
                    <a:pt x="172593" y="690848"/>
                  </a:lnTo>
                  <a:lnTo>
                    <a:pt x="168402" y="671608"/>
                  </a:lnTo>
                  <a:lnTo>
                    <a:pt x="169259" y="663893"/>
                  </a:lnTo>
                  <a:lnTo>
                    <a:pt x="172974" y="653701"/>
                  </a:lnTo>
                  <a:lnTo>
                    <a:pt x="173831" y="647510"/>
                  </a:lnTo>
                  <a:lnTo>
                    <a:pt x="172974" y="600647"/>
                  </a:lnTo>
                  <a:lnTo>
                    <a:pt x="173831" y="585597"/>
                  </a:lnTo>
                  <a:lnTo>
                    <a:pt x="176403" y="572738"/>
                  </a:lnTo>
                  <a:lnTo>
                    <a:pt x="181166" y="559975"/>
                  </a:lnTo>
                  <a:lnTo>
                    <a:pt x="187357" y="550164"/>
                  </a:lnTo>
                  <a:lnTo>
                    <a:pt x="194024" y="546164"/>
                  </a:lnTo>
                  <a:lnTo>
                    <a:pt x="199358" y="540258"/>
                  </a:lnTo>
                  <a:lnTo>
                    <a:pt x="213932" y="501301"/>
                  </a:lnTo>
                  <a:lnTo>
                    <a:pt x="241745" y="464249"/>
                  </a:lnTo>
                  <a:lnTo>
                    <a:pt x="284607" y="379762"/>
                  </a:lnTo>
                  <a:lnTo>
                    <a:pt x="296418" y="366332"/>
                  </a:lnTo>
                  <a:lnTo>
                    <a:pt x="312801" y="357378"/>
                  </a:lnTo>
                  <a:lnTo>
                    <a:pt x="384524" y="352425"/>
                  </a:lnTo>
                  <a:lnTo>
                    <a:pt x="401384" y="347091"/>
                  </a:lnTo>
                  <a:lnTo>
                    <a:pt x="477393" y="305467"/>
                  </a:lnTo>
                  <a:lnTo>
                    <a:pt x="589979" y="243650"/>
                  </a:lnTo>
                  <a:lnTo>
                    <a:pt x="606457" y="238411"/>
                  </a:lnTo>
                  <a:lnTo>
                    <a:pt x="615410" y="237744"/>
                  </a:lnTo>
                  <a:lnTo>
                    <a:pt x="619792" y="236220"/>
                  </a:lnTo>
                  <a:lnTo>
                    <a:pt x="624554" y="233267"/>
                  </a:lnTo>
                  <a:lnTo>
                    <a:pt x="629698" y="231172"/>
                  </a:lnTo>
                  <a:lnTo>
                    <a:pt x="635318" y="232410"/>
                  </a:lnTo>
                  <a:lnTo>
                    <a:pt x="639223" y="234887"/>
                  </a:lnTo>
                  <a:lnTo>
                    <a:pt x="639223" y="235744"/>
                  </a:lnTo>
                  <a:cubicBezTo>
                    <a:pt x="639223" y="235744"/>
                    <a:pt x="637127" y="237554"/>
                    <a:pt x="637127" y="237554"/>
                  </a:cubicBezTo>
                  <a:lnTo>
                    <a:pt x="635318" y="242792"/>
                  </a:lnTo>
                  <a:lnTo>
                    <a:pt x="631603" y="270320"/>
                  </a:lnTo>
                  <a:lnTo>
                    <a:pt x="630174" y="300323"/>
                  </a:lnTo>
                  <a:lnTo>
                    <a:pt x="631698" y="315087"/>
                  </a:lnTo>
                  <a:lnTo>
                    <a:pt x="635508" y="325755"/>
                  </a:lnTo>
                  <a:lnTo>
                    <a:pt x="657035" y="357950"/>
                  </a:lnTo>
                  <a:lnTo>
                    <a:pt x="743807" y="433769"/>
                  </a:lnTo>
                  <a:lnTo>
                    <a:pt x="771620" y="468821"/>
                  </a:lnTo>
                  <a:lnTo>
                    <a:pt x="803148" y="496538"/>
                  </a:lnTo>
                  <a:lnTo>
                    <a:pt x="823341" y="508254"/>
                  </a:lnTo>
                  <a:lnTo>
                    <a:pt x="836676" y="511397"/>
                  </a:lnTo>
                  <a:lnTo>
                    <a:pt x="841629" y="513683"/>
                  </a:lnTo>
                  <a:lnTo>
                    <a:pt x="842772" y="519303"/>
                  </a:lnTo>
                  <a:lnTo>
                    <a:pt x="842963" y="526447"/>
                  </a:lnTo>
                  <a:lnTo>
                    <a:pt x="844677" y="533591"/>
                  </a:lnTo>
                  <a:lnTo>
                    <a:pt x="853250" y="551307"/>
                  </a:lnTo>
                  <a:lnTo>
                    <a:pt x="854964" y="554831"/>
                  </a:lnTo>
                  <a:lnTo>
                    <a:pt x="858869" y="566642"/>
                  </a:lnTo>
                  <a:lnTo>
                    <a:pt x="861917" y="580835"/>
                  </a:lnTo>
                  <a:lnTo>
                    <a:pt x="864965" y="606171"/>
                  </a:lnTo>
                  <a:lnTo>
                    <a:pt x="868299" y="619316"/>
                  </a:lnTo>
                  <a:lnTo>
                    <a:pt x="874109" y="625031"/>
                  </a:lnTo>
                  <a:lnTo>
                    <a:pt x="877538" y="631698"/>
                  </a:lnTo>
                  <a:lnTo>
                    <a:pt x="888492" y="698183"/>
                  </a:lnTo>
                  <a:lnTo>
                    <a:pt x="892588" y="709327"/>
                  </a:lnTo>
                  <a:lnTo>
                    <a:pt x="898017" y="713804"/>
                  </a:lnTo>
                  <a:lnTo>
                    <a:pt x="904970" y="716566"/>
                  </a:lnTo>
                  <a:lnTo>
                    <a:pt x="923449" y="738283"/>
                  </a:lnTo>
                  <a:lnTo>
                    <a:pt x="955643" y="751427"/>
                  </a:lnTo>
                  <a:lnTo>
                    <a:pt x="988981" y="757809"/>
                  </a:lnTo>
                  <a:lnTo>
                    <a:pt x="993743" y="761810"/>
                  </a:lnTo>
                  <a:lnTo>
                    <a:pt x="1012793" y="789908"/>
                  </a:lnTo>
                  <a:lnTo>
                    <a:pt x="1016318" y="792861"/>
                  </a:lnTo>
                  <a:lnTo>
                    <a:pt x="1018889" y="795052"/>
                  </a:lnTo>
                  <a:lnTo>
                    <a:pt x="1037177" y="800862"/>
                  </a:lnTo>
                  <a:lnTo>
                    <a:pt x="1061752" y="803434"/>
                  </a:lnTo>
                  <a:lnTo>
                    <a:pt x="1128332" y="787051"/>
                  </a:lnTo>
                  <a:lnTo>
                    <a:pt x="1152049" y="775526"/>
                  </a:lnTo>
                  <a:lnTo>
                    <a:pt x="1162145" y="770572"/>
                  </a:lnTo>
                  <a:lnTo>
                    <a:pt x="1177100" y="757714"/>
                  </a:lnTo>
                  <a:lnTo>
                    <a:pt x="1184148" y="747427"/>
                  </a:lnTo>
                  <a:lnTo>
                    <a:pt x="1189101" y="737807"/>
                  </a:lnTo>
                  <a:lnTo>
                    <a:pt x="1194435" y="730663"/>
                  </a:lnTo>
                  <a:lnTo>
                    <a:pt x="1209580" y="726377"/>
                  </a:lnTo>
                  <a:lnTo>
                    <a:pt x="1224534" y="716470"/>
                  </a:lnTo>
                  <a:lnTo>
                    <a:pt x="1262634" y="691420"/>
                  </a:lnTo>
                  <a:lnTo>
                    <a:pt x="1265968" y="681228"/>
                  </a:lnTo>
                  <a:lnTo>
                    <a:pt x="1273493" y="672941"/>
                  </a:lnTo>
                  <a:lnTo>
                    <a:pt x="1282256" y="667226"/>
                  </a:lnTo>
                  <a:lnTo>
                    <a:pt x="1289018" y="664655"/>
                  </a:lnTo>
                  <a:lnTo>
                    <a:pt x="1289018" y="656939"/>
                  </a:lnTo>
                  <a:cubicBezTo>
                    <a:pt x="1289018" y="656939"/>
                    <a:pt x="1293019" y="651796"/>
                    <a:pt x="1293019" y="651796"/>
                  </a:cubicBezTo>
                  <a:lnTo>
                    <a:pt x="1302353" y="645033"/>
                  </a:lnTo>
                  <a:lnTo>
                    <a:pt x="1328261" y="614934"/>
                  </a:lnTo>
                  <a:lnTo>
                    <a:pt x="1336643" y="594836"/>
                  </a:lnTo>
                  <a:lnTo>
                    <a:pt x="1339882" y="565976"/>
                  </a:lnTo>
                  <a:lnTo>
                    <a:pt x="1338548" y="532543"/>
                  </a:lnTo>
                  <a:lnTo>
                    <a:pt x="1329214" y="442246"/>
                  </a:lnTo>
                  <a:lnTo>
                    <a:pt x="1328547" y="415385"/>
                  </a:lnTo>
                  <a:lnTo>
                    <a:pt x="1326737" y="399383"/>
                  </a:lnTo>
                  <a:lnTo>
                    <a:pt x="1322546" y="392240"/>
                  </a:lnTo>
                  <a:lnTo>
                    <a:pt x="1320260" y="383572"/>
                  </a:lnTo>
                  <a:lnTo>
                    <a:pt x="1321975" y="364522"/>
                  </a:lnTo>
                  <a:lnTo>
                    <a:pt x="1326547" y="337757"/>
                  </a:lnTo>
                  <a:lnTo>
                    <a:pt x="1321975" y="294989"/>
                  </a:lnTo>
                  <a:lnTo>
                    <a:pt x="1319879" y="285369"/>
                  </a:lnTo>
                  <a:lnTo>
                    <a:pt x="1302734" y="256508"/>
                  </a:lnTo>
                  <a:lnTo>
                    <a:pt x="1297210" y="242792"/>
                  </a:lnTo>
                  <a:lnTo>
                    <a:pt x="1297210" y="229648"/>
                  </a:lnTo>
                  <a:lnTo>
                    <a:pt x="1293019" y="195358"/>
                  </a:lnTo>
                  <a:lnTo>
                    <a:pt x="1291876" y="178022"/>
                  </a:lnTo>
                  <a:lnTo>
                    <a:pt x="1293019" y="168688"/>
                  </a:lnTo>
                  <a:lnTo>
                    <a:pt x="1295876" y="159830"/>
                  </a:lnTo>
                  <a:lnTo>
                    <a:pt x="1299782" y="151924"/>
                  </a:lnTo>
                  <a:lnTo>
                    <a:pt x="1316736" y="158877"/>
                  </a:lnTo>
                  <a:lnTo>
                    <a:pt x="1327880" y="158306"/>
                  </a:lnTo>
                  <a:lnTo>
                    <a:pt x="1336929" y="153162"/>
                  </a:lnTo>
                  <a:lnTo>
                    <a:pt x="1341311" y="145733"/>
                  </a:lnTo>
                  <a:lnTo>
                    <a:pt x="1347692" y="128302"/>
                  </a:lnTo>
                  <a:lnTo>
                    <a:pt x="1352550" y="122587"/>
                  </a:lnTo>
                  <a:lnTo>
                    <a:pt x="1367981" y="114395"/>
                  </a:lnTo>
                  <a:lnTo>
                    <a:pt x="1388459" y="95536"/>
                  </a:lnTo>
                  <a:lnTo>
                    <a:pt x="1396270" y="93821"/>
                  </a:lnTo>
                  <a:lnTo>
                    <a:pt x="1423607" y="96393"/>
                  </a:lnTo>
                  <a:lnTo>
                    <a:pt x="1447229" y="93726"/>
                  </a:lnTo>
                  <a:lnTo>
                    <a:pt x="1453325" y="88868"/>
                  </a:lnTo>
                  <a:lnTo>
                    <a:pt x="1460468" y="68580"/>
                  </a:lnTo>
                  <a:lnTo>
                    <a:pt x="1466183" y="60960"/>
                  </a:lnTo>
                  <a:lnTo>
                    <a:pt x="1478375" y="64103"/>
                  </a:lnTo>
                  <a:lnTo>
                    <a:pt x="1488472" y="70676"/>
                  </a:lnTo>
                  <a:lnTo>
                    <a:pt x="1498568" y="72390"/>
                  </a:lnTo>
                  <a:lnTo>
                    <a:pt x="1502664" y="68580"/>
                  </a:lnTo>
                  <a:lnTo>
                    <a:pt x="1510856" y="61055"/>
                  </a:lnTo>
                  <a:lnTo>
                    <a:pt x="1520285" y="54959"/>
                  </a:lnTo>
                  <a:lnTo>
                    <a:pt x="1550194" y="50578"/>
                  </a:lnTo>
                  <a:lnTo>
                    <a:pt x="1560100" y="43625"/>
                  </a:lnTo>
                  <a:lnTo>
                    <a:pt x="1583436" y="19526"/>
                  </a:lnTo>
                  <a:lnTo>
                    <a:pt x="1588865" y="13907"/>
                  </a:lnTo>
                  <a:lnTo>
                    <a:pt x="1597343" y="8477"/>
                  </a:lnTo>
                  <a:lnTo>
                    <a:pt x="1606487" y="5715"/>
                  </a:lnTo>
                  <a:lnTo>
                    <a:pt x="1624679" y="5239"/>
                  </a:lnTo>
                  <a:lnTo>
                    <a:pt x="1634776" y="12097"/>
                  </a:lnTo>
                  <a:lnTo>
                    <a:pt x="1640110" y="27242"/>
                  </a:lnTo>
                  <a:lnTo>
                    <a:pt x="1643634" y="45339"/>
                  </a:lnTo>
                  <a:lnTo>
                    <a:pt x="1648397" y="61151"/>
                  </a:lnTo>
                  <a:lnTo>
                    <a:pt x="1654112" y="66008"/>
                  </a:lnTo>
                  <a:lnTo>
                    <a:pt x="1660208" y="66008"/>
                  </a:lnTo>
                  <a:lnTo>
                    <a:pt x="1672685" y="59531"/>
                  </a:lnTo>
                  <a:lnTo>
                    <a:pt x="1680401" y="49244"/>
                  </a:lnTo>
                  <a:lnTo>
                    <a:pt x="1677734" y="37529"/>
                  </a:lnTo>
                  <a:lnTo>
                    <a:pt x="1666780" y="17621"/>
                  </a:lnTo>
                  <a:lnTo>
                    <a:pt x="1667256" y="4858"/>
                  </a:lnTo>
                  <a:lnTo>
                    <a:pt x="1672209" y="0"/>
                  </a:lnTo>
                  <a:lnTo>
                    <a:pt x="1679258" y="1238"/>
                  </a:lnTo>
                  <a:lnTo>
                    <a:pt x="1686211" y="6953"/>
                  </a:lnTo>
                  <a:lnTo>
                    <a:pt x="1688878" y="12002"/>
                  </a:lnTo>
                  <a:lnTo>
                    <a:pt x="1693450" y="25337"/>
                  </a:lnTo>
                  <a:lnTo>
                    <a:pt x="1695926" y="29623"/>
                  </a:lnTo>
                  <a:lnTo>
                    <a:pt x="1699451" y="31814"/>
                  </a:lnTo>
                  <a:lnTo>
                    <a:pt x="1701832" y="31242"/>
                  </a:lnTo>
                  <a:lnTo>
                    <a:pt x="1704404" y="29909"/>
                  </a:lnTo>
                  <a:lnTo>
                    <a:pt x="1708404" y="29718"/>
                  </a:lnTo>
                  <a:lnTo>
                    <a:pt x="1724025" y="38195"/>
                  </a:lnTo>
                  <a:lnTo>
                    <a:pt x="1747647" y="66961"/>
                  </a:lnTo>
                  <a:lnTo>
                    <a:pt x="1762982" y="76867"/>
                  </a:lnTo>
                  <a:lnTo>
                    <a:pt x="1776698" y="79915"/>
                  </a:lnTo>
                  <a:lnTo>
                    <a:pt x="1780508" y="82582"/>
                  </a:lnTo>
                  <a:lnTo>
                    <a:pt x="1783842" y="88106"/>
                  </a:lnTo>
                  <a:lnTo>
                    <a:pt x="1784414" y="92107"/>
                  </a:lnTo>
                  <a:lnTo>
                    <a:pt x="1784414" y="92869"/>
                  </a:lnTo>
                  <a:cubicBezTo>
                    <a:pt x="1784414" y="92869"/>
                    <a:pt x="1784890" y="97727"/>
                    <a:pt x="1784890" y="97727"/>
                  </a:cubicBezTo>
                  <a:lnTo>
                    <a:pt x="1786985" y="103537"/>
                  </a:lnTo>
                  <a:lnTo>
                    <a:pt x="1795177" y="114395"/>
                  </a:lnTo>
                  <a:lnTo>
                    <a:pt x="1803749" y="119729"/>
                  </a:lnTo>
                  <a:lnTo>
                    <a:pt x="1812893" y="121158"/>
                  </a:lnTo>
                  <a:lnTo>
                    <a:pt x="1822609" y="120301"/>
                  </a:lnTo>
                  <a:lnTo>
                    <a:pt x="1843564" y="113062"/>
                  </a:lnTo>
                  <a:lnTo>
                    <a:pt x="1847945" y="111538"/>
                  </a:lnTo>
                  <a:lnTo>
                    <a:pt x="1853851" y="111728"/>
                  </a:lnTo>
                  <a:lnTo>
                    <a:pt x="1859756" y="121920"/>
                  </a:lnTo>
                  <a:lnTo>
                    <a:pt x="1863376" y="136779"/>
                  </a:lnTo>
                  <a:lnTo>
                    <a:pt x="1868329" y="151448"/>
                  </a:lnTo>
                  <a:lnTo>
                    <a:pt x="1878140" y="160877"/>
                  </a:lnTo>
                  <a:lnTo>
                    <a:pt x="1959959" y="168212"/>
                  </a:lnTo>
                  <a:lnTo>
                    <a:pt x="1964531" y="170498"/>
                  </a:lnTo>
                  <a:lnTo>
                    <a:pt x="1967389" y="174117"/>
                  </a:lnTo>
                  <a:lnTo>
                    <a:pt x="1968627" y="181070"/>
                  </a:lnTo>
                  <a:lnTo>
                    <a:pt x="1967294" y="185452"/>
                  </a:lnTo>
                  <a:lnTo>
                    <a:pt x="1965103" y="189833"/>
                  </a:lnTo>
                  <a:lnTo>
                    <a:pt x="1963960" y="196501"/>
                  </a:lnTo>
                  <a:lnTo>
                    <a:pt x="1965103" y="211550"/>
                  </a:lnTo>
                  <a:lnTo>
                    <a:pt x="1968532" y="220599"/>
                  </a:lnTo>
                  <a:lnTo>
                    <a:pt x="2011585" y="256794"/>
                  </a:lnTo>
                  <a:lnTo>
                    <a:pt x="2024539" y="271939"/>
                  </a:lnTo>
                  <a:lnTo>
                    <a:pt x="2061401" y="332518"/>
                  </a:lnTo>
                  <a:lnTo>
                    <a:pt x="2074640" y="348234"/>
                  </a:lnTo>
                  <a:lnTo>
                    <a:pt x="2090738" y="359855"/>
                  </a:lnTo>
                  <a:lnTo>
                    <a:pt x="2095690" y="361950"/>
                  </a:lnTo>
                  <a:lnTo>
                    <a:pt x="2126552" y="375380"/>
                  </a:lnTo>
                  <a:lnTo>
                    <a:pt x="2126647" y="375380"/>
                  </a:lnTo>
                  <a:cubicBezTo>
                    <a:pt x="2126647" y="375380"/>
                    <a:pt x="2133124" y="381762"/>
                    <a:pt x="2133124" y="381762"/>
                  </a:cubicBezTo>
                  <a:lnTo>
                    <a:pt x="2146173" y="400431"/>
                  </a:lnTo>
                  <a:lnTo>
                    <a:pt x="2153412" y="408623"/>
                  </a:lnTo>
                  <a:lnTo>
                    <a:pt x="2159413" y="407575"/>
                  </a:lnTo>
                  <a:lnTo>
                    <a:pt x="2164747" y="402812"/>
                  </a:lnTo>
                  <a:lnTo>
                    <a:pt x="2169986" y="399669"/>
                  </a:lnTo>
                  <a:lnTo>
                    <a:pt x="2173700" y="400622"/>
                  </a:lnTo>
                  <a:lnTo>
                    <a:pt x="2180939" y="405860"/>
                  </a:lnTo>
                  <a:lnTo>
                    <a:pt x="2184654" y="407099"/>
                  </a:lnTo>
                  <a:lnTo>
                    <a:pt x="2188655" y="405289"/>
                  </a:lnTo>
                  <a:lnTo>
                    <a:pt x="2190464" y="400812"/>
                  </a:lnTo>
                  <a:lnTo>
                    <a:pt x="2191798" y="395478"/>
                  </a:lnTo>
                  <a:lnTo>
                    <a:pt x="2194274" y="390811"/>
                  </a:lnTo>
                  <a:lnTo>
                    <a:pt x="2205800" y="380619"/>
                  </a:lnTo>
                  <a:lnTo>
                    <a:pt x="2218468" y="372999"/>
                  </a:lnTo>
                  <a:lnTo>
                    <a:pt x="2231517" y="368713"/>
                  </a:lnTo>
                  <a:lnTo>
                    <a:pt x="2261711" y="370332"/>
                  </a:lnTo>
                  <a:lnTo>
                    <a:pt x="2268569" y="368237"/>
                  </a:lnTo>
                  <a:lnTo>
                    <a:pt x="2276570" y="361093"/>
                  </a:lnTo>
                  <a:lnTo>
                    <a:pt x="2281238" y="350996"/>
                  </a:lnTo>
                  <a:lnTo>
                    <a:pt x="2285238" y="340233"/>
                  </a:lnTo>
                  <a:lnTo>
                    <a:pt x="2291334" y="330994"/>
                  </a:lnTo>
                  <a:lnTo>
                    <a:pt x="2298573" y="327660"/>
                  </a:lnTo>
                  <a:lnTo>
                    <a:pt x="2303336" y="331375"/>
                  </a:lnTo>
                  <a:lnTo>
                    <a:pt x="2307717" y="336518"/>
                  </a:lnTo>
                  <a:lnTo>
                    <a:pt x="2313813" y="337661"/>
                  </a:lnTo>
                  <a:lnTo>
                    <a:pt x="2320671" y="336137"/>
                  </a:lnTo>
                  <a:lnTo>
                    <a:pt x="2327434" y="336328"/>
                  </a:lnTo>
                  <a:lnTo>
                    <a:pt x="2340864" y="340995"/>
                  </a:lnTo>
                  <a:lnTo>
                    <a:pt x="2350008" y="348329"/>
                  </a:lnTo>
                  <a:lnTo>
                    <a:pt x="2364296" y="370427"/>
                  </a:lnTo>
                  <a:lnTo>
                    <a:pt x="2372201" y="379667"/>
                  </a:lnTo>
                  <a:lnTo>
                    <a:pt x="2381441" y="384143"/>
                  </a:lnTo>
                  <a:lnTo>
                    <a:pt x="2412683" y="386144"/>
                  </a:lnTo>
                  <a:lnTo>
                    <a:pt x="2472785" y="408337"/>
                  </a:lnTo>
                  <a:lnTo>
                    <a:pt x="2485644" y="400050"/>
                  </a:lnTo>
                </a:path>
              </a:pathLst>
            </a:custGeom>
            <a:grpFill/>
            <a:ln w="9525" cap="sq">
              <a:noFill/>
              <a:prstDash val="solid"/>
              <a:bevel/>
            </a:ln>
          </p:spPr>
          <p:txBody>
            <a:bodyPr rtlCol="0" anchor="ctr"/>
            <a:lstStyle/>
            <a:p>
              <a:endParaRPr lang="cs-CZ"/>
            </a:p>
          </p:txBody>
        </p:sp>
        <p:sp>
          <p:nvSpPr>
            <p:cNvPr id="148" name="Freeform: Shape 147">
              <a:extLst>
                <a:ext uri="{FF2B5EF4-FFF2-40B4-BE49-F238E27FC236}">
                  <a16:creationId xmlns:a16="http://schemas.microsoft.com/office/drawing/2014/main" id="{177BA4DD-6C6A-5B0D-E85A-A454657168F8}"/>
                </a:ext>
              </a:extLst>
            </p:cNvPr>
            <p:cNvSpPr/>
            <p:nvPr/>
          </p:nvSpPr>
          <p:spPr>
            <a:xfrm>
              <a:off x="7970755" y="7363870"/>
              <a:ext cx="13811" cy="52292"/>
            </a:xfrm>
            <a:custGeom>
              <a:avLst/>
              <a:gdLst>
                <a:gd name="connsiteX0" fmla="*/ 1905 w 13811"/>
                <a:gd name="connsiteY0" fmla="*/ 52292 h 52292"/>
                <a:gd name="connsiteX1" fmla="*/ 1905 w 13811"/>
                <a:gd name="connsiteY1" fmla="*/ 38481 h 52292"/>
                <a:gd name="connsiteX2" fmla="*/ 3905 w 13811"/>
                <a:gd name="connsiteY2" fmla="*/ 31242 h 52292"/>
                <a:gd name="connsiteX3" fmla="*/ 1048 w 13811"/>
                <a:gd name="connsiteY3" fmla="*/ 19336 h 52292"/>
                <a:gd name="connsiteX4" fmla="*/ 0 w 13811"/>
                <a:gd name="connsiteY4" fmla="*/ 6572 h 52292"/>
                <a:gd name="connsiteX5" fmla="*/ 2286 w 13811"/>
                <a:gd name="connsiteY5" fmla="*/ 0 h 52292"/>
                <a:gd name="connsiteX6" fmla="*/ 9239 w 13811"/>
                <a:gd name="connsiteY6" fmla="*/ 6668 h 52292"/>
                <a:gd name="connsiteX7" fmla="*/ 11716 w 13811"/>
                <a:gd name="connsiteY7" fmla="*/ 14002 h 52292"/>
                <a:gd name="connsiteX8" fmla="*/ 13811 w 13811"/>
                <a:gd name="connsiteY8" fmla="*/ 32480 h 52292"/>
                <a:gd name="connsiteX9" fmla="*/ 9239 w 13811"/>
                <a:gd name="connsiteY9" fmla="*/ 34290 h 52292"/>
                <a:gd name="connsiteX10" fmla="*/ 8477 w 13811"/>
                <a:gd name="connsiteY10" fmla="*/ 44387 h 52292"/>
                <a:gd name="connsiteX11" fmla="*/ 7525 w 13811"/>
                <a:gd name="connsiteY11" fmla="*/ 51340 h 52292"/>
                <a:gd name="connsiteX12" fmla="*/ 2000 w 13811"/>
                <a:gd name="connsiteY12" fmla="*/ 52197 h 5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1" h="52292">
                  <a:moveTo>
                    <a:pt x="1905" y="52292"/>
                  </a:moveTo>
                  <a:lnTo>
                    <a:pt x="1905" y="38481"/>
                  </a:lnTo>
                  <a:cubicBezTo>
                    <a:pt x="1905" y="38481"/>
                    <a:pt x="3905" y="31242"/>
                    <a:pt x="3905" y="31242"/>
                  </a:cubicBezTo>
                  <a:lnTo>
                    <a:pt x="1048" y="19336"/>
                  </a:lnTo>
                  <a:lnTo>
                    <a:pt x="0" y="6572"/>
                  </a:lnTo>
                  <a:lnTo>
                    <a:pt x="2286" y="0"/>
                  </a:lnTo>
                  <a:lnTo>
                    <a:pt x="9239" y="6668"/>
                  </a:lnTo>
                  <a:lnTo>
                    <a:pt x="11716" y="14002"/>
                  </a:lnTo>
                  <a:lnTo>
                    <a:pt x="13811" y="32480"/>
                  </a:lnTo>
                  <a:lnTo>
                    <a:pt x="9239" y="34290"/>
                  </a:lnTo>
                  <a:lnTo>
                    <a:pt x="8477" y="44387"/>
                  </a:lnTo>
                  <a:lnTo>
                    <a:pt x="7525" y="51340"/>
                  </a:lnTo>
                  <a:lnTo>
                    <a:pt x="2000" y="52197"/>
                  </a:lnTo>
                </a:path>
              </a:pathLst>
            </a:custGeom>
            <a:grpFill/>
            <a:ln w="9525" cap="sq">
              <a:noFill/>
              <a:prstDash val="solid"/>
              <a:bevel/>
            </a:ln>
          </p:spPr>
          <p:txBody>
            <a:bodyPr rtlCol="0" anchor="ctr"/>
            <a:lstStyle/>
            <a:p>
              <a:endParaRPr lang="cs-CZ"/>
            </a:p>
          </p:txBody>
        </p:sp>
        <p:sp>
          <p:nvSpPr>
            <p:cNvPr id="149" name="Freeform: Shape 148">
              <a:extLst>
                <a:ext uri="{FF2B5EF4-FFF2-40B4-BE49-F238E27FC236}">
                  <a16:creationId xmlns:a16="http://schemas.microsoft.com/office/drawing/2014/main" id="{D6C6B0F3-3E76-5C86-FC75-C5F15F579368}"/>
                </a:ext>
              </a:extLst>
            </p:cNvPr>
            <p:cNvSpPr/>
            <p:nvPr/>
          </p:nvSpPr>
          <p:spPr>
            <a:xfrm>
              <a:off x="9837846" y="6766843"/>
              <a:ext cx="943070" cy="1192434"/>
            </a:xfrm>
            <a:custGeom>
              <a:avLst/>
              <a:gdLst>
                <a:gd name="connsiteX0" fmla="*/ 942023 w 943070"/>
                <a:gd name="connsiteY0" fmla="*/ 764953 h 1192434"/>
                <a:gd name="connsiteX1" fmla="*/ 926306 w 943070"/>
                <a:gd name="connsiteY1" fmla="*/ 716947 h 1192434"/>
                <a:gd name="connsiteX2" fmla="*/ 923544 w 943070"/>
                <a:gd name="connsiteY2" fmla="*/ 702755 h 1192434"/>
                <a:gd name="connsiteX3" fmla="*/ 922401 w 943070"/>
                <a:gd name="connsiteY3" fmla="*/ 686657 h 1192434"/>
                <a:gd name="connsiteX4" fmla="*/ 923830 w 943070"/>
                <a:gd name="connsiteY4" fmla="*/ 662464 h 1192434"/>
                <a:gd name="connsiteX5" fmla="*/ 922401 w 943070"/>
                <a:gd name="connsiteY5" fmla="*/ 654844 h 1192434"/>
                <a:gd name="connsiteX6" fmla="*/ 919353 w 943070"/>
                <a:gd name="connsiteY6" fmla="*/ 649034 h 1192434"/>
                <a:gd name="connsiteX7" fmla="*/ 899160 w 943070"/>
                <a:gd name="connsiteY7" fmla="*/ 623030 h 1192434"/>
                <a:gd name="connsiteX8" fmla="*/ 896017 w 943070"/>
                <a:gd name="connsiteY8" fmla="*/ 616839 h 1192434"/>
                <a:gd name="connsiteX9" fmla="*/ 894779 w 943070"/>
                <a:gd name="connsiteY9" fmla="*/ 609981 h 1192434"/>
                <a:gd name="connsiteX10" fmla="*/ 897065 w 943070"/>
                <a:gd name="connsiteY10" fmla="*/ 601694 h 1192434"/>
                <a:gd name="connsiteX11" fmla="*/ 907161 w 943070"/>
                <a:gd name="connsiteY11" fmla="*/ 591979 h 1192434"/>
                <a:gd name="connsiteX12" fmla="*/ 909923 w 943070"/>
                <a:gd name="connsiteY12" fmla="*/ 585692 h 1192434"/>
                <a:gd name="connsiteX13" fmla="*/ 907542 w 943070"/>
                <a:gd name="connsiteY13" fmla="*/ 577406 h 1192434"/>
                <a:gd name="connsiteX14" fmla="*/ 900684 w 943070"/>
                <a:gd name="connsiteY14" fmla="*/ 572167 h 1192434"/>
                <a:gd name="connsiteX15" fmla="*/ 869537 w 943070"/>
                <a:gd name="connsiteY15" fmla="*/ 556927 h 1192434"/>
                <a:gd name="connsiteX16" fmla="*/ 862679 w 943070"/>
                <a:gd name="connsiteY16" fmla="*/ 549307 h 1192434"/>
                <a:gd name="connsiteX17" fmla="*/ 857441 w 943070"/>
                <a:gd name="connsiteY17" fmla="*/ 537782 h 1192434"/>
                <a:gd name="connsiteX18" fmla="*/ 855345 w 943070"/>
                <a:gd name="connsiteY18" fmla="*/ 522827 h 1192434"/>
                <a:gd name="connsiteX19" fmla="*/ 855059 w 943070"/>
                <a:gd name="connsiteY19" fmla="*/ 490918 h 1192434"/>
                <a:gd name="connsiteX20" fmla="*/ 851059 w 943070"/>
                <a:gd name="connsiteY20" fmla="*/ 478822 h 1192434"/>
                <a:gd name="connsiteX21" fmla="*/ 812673 w 943070"/>
                <a:gd name="connsiteY21" fmla="*/ 451580 h 1192434"/>
                <a:gd name="connsiteX22" fmla="*/ 806006 w 943070"/>
                <a:gd name="connsiteY22" fmla="*/ 439388 h 1192434"/>
                <a:gd name="connsiteX23" fmla="*/ 810197 w 943070"/>
                <a:gd name="connsiteY23" fmla="*/ 427482 h 1192434"/>
                <a:gd name="connsiteX24" fmla="*/ 819531 w 943070"/>
                <a:gd name="connsiteY24" fmla="*/ 410718 h 1192434"/>
                <a:gd name="connsiteX25" fmla="*/ 826865 w 943070"/>
                <a:gd name="connsiteY25" fmla="*/ 394430 h 1192434"/>
                <a:gd name="connsiteX26" fmla="*/ 824770 w 943070"/>
                <a:gd name="connsiteY26" fmla="*/ 384334 h 1192434"/>
                <a:gd name="connsiteX27" fmla="*/ 816197 w 943070"/>
                <a:gd name="connsiteY27" fmla="*/ 377476 h 1192434"/>
                <a:gd name="connsiteX28" fmla="*/ 800862 w 943070"/>
                <a:gd name="connsiteY28" fmla="*/ 359950 h 1192434"/>
                <a:gd name="connsiteX29" fmla="*/ 792575 w 943070"/>
                <a:gd name="connsiteY29" fmla="*/ 352901 h 1192434"/>
                <a:gd name="connsiteX30" fmla="*/ 775240 w 943070"/>
                <a:gd name="connsiteY30" fmla="*/ 347853 h 1192434"/>
                <a:gd name="connsiteX31" fmla="*/ 758761 w 943070"/>
                <a:gd name="connsiteY31" fmla="*/ 352520 h 1192434"/>
                <a:gd name="connsiteX32" fmla="*/ 726472 w 943070"/>
                <a:gd name="connsiteY32" fmla="*/ 370713 h 1192434"/>
                <a:gd name="connsiteX33" fmla="*/ 719900 w 943070"/>
                <a:gd name="connsiteY33" fmla="*/ 368903 h 1192434"/>
                <a:gd name="connsiteX34" fmla="*/ 713708 w 943070"/>
                <a:gd name="connsiteY34" fmla="*/ 367189 h 1192434"/>
                <a:gd name="connsiteX35" fmla="*/ 721614 w 943070"/>
                <a:gd name="connsiteY35" fmla="*/ 342233 h 1192434"/>
                <a:gd name="connsiteX36" fmla="*/ 747522 w 943070"/>
                <a:gd name="connsiteY36" fmla="*/ 286512 h 1192434"/>
                <a:gd name="connsiteX37" fmla="*/ 748856 w 943070"/>
                <a:gd name="connsiteY37" fmla="*/ 278416 h 1192434"/>
                <a:gd name="connsiteX38" fmla="*/ 749713 w 943070"/>
                <a:gd name="connsiteY38" fmla="*/ 264128 h 1192434"/>
                <a:gd name="connsiteX39" fmla="*/ 750665 w 943070"/>
                <a:gd name="connsiteY39" fmla="*/ 256889 h 1192434"/>
                <a:gd name="connsiteX40" fmla="*/ 753142 w 943070"/>
                <a:gd name="connsiteY40" fmla="*/ 248984 h 1192434"/>
                <a:gd name="connsiteX41" fmla="*/ 759428 w 943070"/>
                <a:gd name="connsiteY41" fmla="*/ 233553 h 1192434"/>
                <a:gd name="connsiteX42" fmla="*/ 761333 w 943070"/>
                <a:gd name="connsiteY42" fmla="*/ 225743 h 1192434"/>
                <a:gd name="connsiteX43" fmla="*/ 759333 w 943070"/>
                <a:gd name="connsiteY43" fmla="*/ 207359 h 1192434"/>
                <a:gd name="connsiteX44" fmla="*/ 750189 w 943070"/>
                <a:gd name="connsiteY44" fmla="*/ 200216 h 1192434"/>
                <a:gd name="connsiteX45" fmla="*/ 740093 w 943070"/>
                <a:gd name="connsiteY45" fmla="*/ 194882 h 1192434"/>
                <a:gd name="connsiteX46" fmla="*/ 734663 w 943070"/>
                <a:gd name="connsiteY46" fmla="*/ 181737 h 1192434"/>
                <a:gd name="connsiteX47" fmla="*/ 741998 w 943070"/>
                <a:gd name="connsiteY47" fmla="*/ 170974 h 1192434"/>
                <a:gd name="connsiteX48" fmla="*/ 778193 w 943070"/>
                <a:gd name="connsiteY48" fmla="*/ 153353 h 1192434"/>
                <a:gd name="connsiteX49" fmla="*/ 790004 w 943070"/>
                <a:gd name="connsiteY49" fmla="*/ 142018 h 1192434"/>
                <a:gd name="connsiteX50" fmla="*/ 793718 w 943070"/>
                <a:gd name="connsiteY50" fmla="*/ 126682 h 1192434"/>
                <a:gd name="connsiteX51" fmla="*/ 796576 w 943070"/>
                <a:gd name="connsiteY51" fmla="*/ 104584 h 1192434"/>
                <a:gd name="connsiteX52" fmla="*/ 798481 w 943070"/>
                <a:gd name="connsiteY52" fmla="*/ 64199 h 1192434"/>
                <a:gd name="connsiteX53" fmla="*/ 796195 w 943070"/>
                <a:gd name="connsiteY53" fmla="*/ 47434 h 1192434"/>
                <a:gd name="connsiteX54" fmla="*/ 791337 w 943070"/>
                <a:gd name="connsiteY54" fmla="*/ 37052 h 1192434"/>
                <a:gd name="connsiteX55" fmla="*/ 784098 w 943070"/>
                <a:gd name="connsiteY55" fmla="*/ 30575 h 1192434"/>
                <a:gd name="connsiteX56" fmla="*/ 744665 w 943070"/>
                <a:gd name="connsiteY56" fmla="*/ 6001 h 1192434"/>
                <a:gd name="connsiteX57" fmla="*/ 739426 w 943070"/>
                <a:gd name="connsiteY57" fmla="*/ 0 h 1192434"/>
                <a:gd name="connsiteX58" fmla="*/ 737140 w 943070"/>
                <a:gd name="connsiteY58" fmla="*/ 17145 h 1192434"/>
                <a:gd name="connsiteX59" fmla="*/ 734568 w 943070"/>
                <a:gd name="connsiteY59" fmla="*/ 21336 h 1192434"/>
                <a:gd name="connsiteX60" fmla="*/ 730853 w 943070"/>
                <a:gd name="connsiteY60" fmla="*/ 26099 h 1192434"/>
                <a:gd name="connsiteX61" fmla="*/ 726948 w 943070"/>
                <a:gd name="connsiteY61" fmla="*/ 27432 h 1192434"/>
                <a:gd name="connsiteX62" fmla="*/ 723043 w 943070"/>
                <a:gd name="connsiteY62" fmla="*/ 30766 h 1192434"/>
                <a:gd name="connsiteX63" fmla="*/ 702755 w 943070"/>
                <a:gd name="connsiteY63" fmla="*/ 42291 h 1192434"/>
                <a:gd name="connsiteX64" fmla="*/ 697706 w 943070"/>
                <a:gd name="connsiteY64" fmla="*/ 53245 h 1192434"/>
                <a:gd name="connsiteX65" fmla="*/ 691515 w 943070"/>
                <a:gd name="connsiteY65" fmla="*/ 57245 h 1192434"/>
                <a:gd name="connsiteX66" fmla="*/ 685324 w 943070"/>
                <a:gd name="connsiteY66" fmla="*/ 70295 h 1192434"/>
                <a:gd name="connsiteX67" fmla="*/ 674180 w 943070"/>
                <a:gd name="connsiteY67" fmla="*/ 69532 h 1192434"/>
                <a:gd name="connsiteX68" fmla="*/ 671132 w 943070"/>
                <a:gd name="connsiteY68" fmla="*/ 69914 h 1192434"/>
                <a:gd name="connsiteX69" fmla="*/ 664369 w 943070"/>
                <a:gd name="connsiteY69" fmla="*/ 66008 h 1192434"/>
                <a:gd name="connsiteX70" fmla="*/ 658654 w 943070"/>
                <a:gd name="connsiteY70" fmla="*/ 59531 h 1192434"/>
                <a:gd name="connsiteX71" fmla="*/ 648462 w 943070"/>
                <a:gd name="connsiteY71" fmla="*/ 59246 h 1192434"/>
                <a:gd name="connsiteX72" fmla="*/ 627221 w 943070"/>
                <a:gd name="connsiteY72" fmla="*/ 67247 h 1192434"/>
                <a:gd name="connsiteX73" fmla="*/ 607219 w 943070"/>
                <a:gd name="connsiteY73" fmla="*/ 51626 h 1192434"/>
                <a:gd name="connsiteX74" fmla="*/ 595979 w 943070"/>
                <a:gd name="connsiteY74" fmla="*/ 56959 h 1192434"/>
                <a:gd name="connsiteX75" fmla="*/ 576453 w 943070"/>
                <a:gd name="connsiteY75" fmla="*/ 79057 h 1192434"/>
                <a:gd name="connsiteX76" fmla="*/ 565690 w 943070"/>
                <a:gd name="connsiteY76" fmla="*/ 77438 h 1192434"/>
                <a:gd name="connsiteX77" fmla="*/ 562927 w 943070"/>
                <a:gd name="connsiteY77" fmla="*/ 79248 h 1192434"/>
                <a:gd name="connsiteX78" fmla="*/ 560260 w 943070"/>
                <a:gd name="connsiteY78" fmla="*/ 81820 h 1192434"/>
                <a:gd name="connsiteX79" fmla="*/ 558165 w 943070"/>
                <a:gd name="connsiteY79" fmla="*/ 84582 h 1192434"/>
                <a:gd name="connsiteX80" fmla="*/ 554927 w 943070"/>
                <a:gd name="connsiteY80" fmla="*/ 87916 h 1192434"/>
                <a:gd name="connsiteX81" fmla="*/ 547307 w 943070"/>
                <a:gd name="connsiteY81" fmla="*/ 87630 h 1192434"/>
                <a:gd name="connsiteX82" fmla="*/ 540830 w 943070"/>
                <a:gd name="connsiteY82" fmla="*/ 92393 h 1192434"/>
                <a:gd name="connsiteX83" fmla="*/ 529971 w 943070"/>
                <a:gd name="connsiteY83" fmla="*/ 93726 h 1192434"/>
                <a:gd name="connsiteX84" fmla="*/ 519779 w 943070"/>
                <a:gd name="connsiteY84" fmla="*/ 112871 h 1192434"/>
                <a:gd name="connsiteX85" fmla="*/ 504539 w 943070"/>
                <a:gd name="connsiteY85" fmla="*/ 134112 h 1192434"/>
                <a:gd name="connsiteX86" fmla="*/ 494348 w 943070"/>
                <a:gd name="connsiteY86" fmla="*/ 144494 h 1192434"/>
                <a:gd name="connsiteX87" fmla="*/ 472154 w 943070"/>
                <a:gd name="connsiteY87" fmla="*/ 174022 h 1192434"/>
                <a:gd name="connsiteX88" fmla="*/ 467201 w 943070"/>
                <a:gd name="connsiteY88" fmla="*/ 180785 h 1192434"/>
                <a:gd name="connsiteX89" fmla="*/ 460915 w 943070"/>
                <a:gd name="connsiteY89" fmla="*/ 187643 h 1192434"/>
                <a:gd name="connsiteX90" fmla="*/ 450818 w 943070"/>
                <a:gd name="connsiteY90" fmla="*/ 209645 h 1192434"/>
                <a:gd name="connsiteX91" fmla="*/ 441579 w 943070"/>
                <a:gd name="connsiteY91" fmla="*/ 220409 h 1192434"/>
                <a:gd name="connsiteX92" fmla="*/ 430816 w 943070"/>
                <a:gd name="connsiteY92" fmla="*/ 227933 h 1192434"/>
                <a:gd name="connsiteX93" fmla="*/ 414719 w 943070"/>
                <a:gd name="connsiteY93" fmla="*/ 243173 h 1192434"/>
                <a:gd name="connsiteX94" fmla="*/ 417767 w 943070"/>
                <a:gd name="connsiteY94" fmla="*/ 251841 h 1192434"/>
                <a:gd name="connsiteX95" fmla="*/ 418909 w 943070"/>
                <a:gd name="connsiteY95" fmla="*/ 254127 h 1192434"/>
                <a:gd name="connsiteX96" fmla="*/ 414528 w 943070"/>
                <a:gd name="connsiteY96" fmla="*/ 268129 h 1192434"/>
                <a:gd name="connsiteX97" fmla="*/ 418338 w 943070"/>
                <a:gd name="connsiteY97" fmla="*/ 272987 h 1192434"/>
                <a:gd name="connsiteX98" fmla="*/ 421577 w 943070"/>
                <a:gd name="connsiteY98" fmla="*/ 271463 h 1192434"/>
                <a:gd name="connsiteX99" fmla="*/ 431102 w 943070"/>
                <a:gd name="connsiteY99" fmla="*/ 271748 h 1192434"/>
                <a:gd name="connsiteX100" fmla="*/ 434721 w 943070"/>
                <a:gd name="connsiteY100" fmla="*/ 274701 h 1192434"/>
                <a:gd name="connsiteX101" fmla="*/ 436817 w 943070"/>
                <a:gd name="connsiteY101" fmla="*/ 277939 h 1192434"/>
                <a:gd name="connsiteX102" fmla="*/ 435864 w 943070"/>
                <a:gd name="connsiteY102" fmla="*/ 286131 h 1192434"/>
                <a:gd name="connsiteX103" fmla="*/ 434435 w 943070"/>
                <a:gd name="connsiteY103" fmla="*/ 293370 h 1192434"/>
                <a:gd name="connsiteX104" fmla="*/ 434531 w 943070"/>
                <a:gd name="connsiteY104" fmla="*/ 299371 h 1192434"/>
                <a:gd name="connsiteX105" fmla="*/ 439388 w 943070"/>
                <a:gd name="connsiteY105" fmla="*/ 304800 h 1192434"/>
                <a:gd name="connsiteX106" fmla="*/ 451104 w 943070"/>
                <a:gd name="connsiteY106" fmla="*/ 312611 h 1192434"/>
                <a:gd name="connsiteX107" fmla="*/ 454438 w 943070"/>
                <a:gd name="connsiteY107" fmla="*/ 317945 h 1192434"/>
                <a:gd name="connsiteX108" fmla="*/ 457771 w 943070"/>
                <a:gd name="connsiteY108" fmla="*/ 333851 h 1192434"/>
                <a:gd name="connsiteX109" fmla="*/ 463201 w 943070"/>
                <a:gd name="connsiteY109" fmla="*/ 342900 h 1192434"/>
                <a:gd name="connsiteX110" fmla="*/ 462725 w 943070"/>
                <a:gd name="connsiteY110" fmla="*/ 348234 h 1192434"/>
                <a:gd name="connsiteX111" fmla="*/ 461582 w 943070"/>
                <a:gd name="connsiteY111" fmla="*/ 351949 h 1192434"/>
                <a:gd name="connsiteX112" fmla="*/ 450818 w 943070"/>
                <a:gd name="connsiteY112" fmla="*/ 365379 h 1192434"/>
                <a:gd name="connsiteX113" fmla="*/ 447294 w 943070"/>
                <a:gd name="connsiteY113" fmla="*/ 369951 h 1192434"/>
                <a:gd name="connsiteX114" fmla="*/ 441198 w 943070"/>
                <a:gd name="connsiteY114" fmla="*/ 376523 h 1192434"/>
                <a:gd name="connsiteX115" fmla="*/ 433007 w 943070"/>
                <a:gd name="connsiteY115" fmla="*/ 385858 h 1192434"/>
                <a:gd name="connsiteX116" fmla="*/ 384524 w 943070"/>
                <a:gd name="connsiteY116" fmla="*/ 464439 h 1192434"/>
                <a:gd name="connsiteX117" fmla="*/ 380429 w 943070"/>
                <a:gd name="connsiteY117" fmla="*/ 483108 h 1192434"/>
                <a:gd name="connsiteX118" fmla="*/ 379952 w 943070"/>
                <a:gd name="connsiteY118" fmla="*/ 485585 h 1192434"/>
                <a:gd name="connsiteX119" fmla="*/ 382429 w 943070"/>
                <a:gd name="connsiteY119" fmla="*/ 495395 h 1192434"/>
                <a:gd name="connsiteX120" fmla="*/ 382619 w 943070"/>
                <a:gd name="connsiteY120" fmla="*/ 500920 h 1192434"/>
                <a:gd name="connsiteX121" fmla="*/ 383762 w 943070"/>
                <a:gd name="connsiteY121" fmla="*/ 508635 h 1192434"/>
                <a:gd name="connsiteX122" fmla="*/ 382238 w 943070"/>
                <a:gd name="connsiteY122" fmla="*/ 517398 h 1192434"/>
                <a:gd name="connsiteX123" fmla="*/ 383286 w 943070"/>
                <a:gd name="connsiteY123" fmla="*/ 525304 h 1192434"/>
                <a:gd name="connsiteX124" fmla="*/ 386715 w 943070"/>
                <a:gd name="connsiteY124" fmla="*/ 529495 h 1192434"/>
                <a:gd name="connsiteX125" fmla="*/ 388239 w 943070"/>
                <a:gd name="connsiteY125" fmla="*/ 533210 h 1192434"/>
                <a:gd name="connsiteX126" fmla="*/ 386810 w 943070"/>
                <a:gd name="connsiteY126" fmla="*/ 535496 h 1192434"/>
                <a:gd name="connsiteX127" fmla="*/ 371570 w 943070"/>
                <a:gd name="connsiteY127" fmla="*/ 543401 h 1192434"/>
                <a:gd name="connsiteX128" fmla="*/ 366427 w 943070"/>
                <a:gd name="connsiteY128" fmla="*/ 549497 h 1192434"/>
                <a:gd name="connsiteX129" fmla="*/ 363569 w 943070"/>
                <a:gd name="connsiteY129" fmla="*/ 555784 h 1192434"/>
                <a:gd name="connsiteX130" fmla="*/ 369189 w 943070"/>
                <a:gd name="connsiteY130" fmla="*/ 569595 h 1192434"/>
                <a:gd name="connsiteX131" fmla="*/ 360902 w 943070"/>
                <a:gd name="connsiteY131" fmla="*/ 580644 h 1192434"/>
                <a:gd name="connsiteX132" fmla="*/ 354711 w 943070"/>
                <a:gd name="connsiteY132" fmla="*/ 578549 h 1192434"/>
                <a:gd name="connsiteX133" fmla="*/ 324041 w 943070"/>
                <a:gd name="connsiteY133" fmla="*/ 580263 h 1192434"/>
                <a:gd name="connsiteX134" fmla="*/ 311372 w 943070"/>
                <a:gd name="connsiteY134" fmla="*/ 606457 h 1192434"/>
                <a:gd name="connsiteX135" fmla="*/ 310896 w 943070"/>
                <a:gd name="connsiteY135" fmla="*/ 609981 h 1192434"/>
                <a:gd name="connsiteX136" fmla="*/ 310610 w 943070"/>
                <a:gd name="connsiteY136" fmla="*/ 613505 h 1192434"/>
                <a:gd name="connsiteX137" fmla="*/ 312230 w 943070"/>
                <a:gd name="connsiteY137" fmla="*/ 614267 h 1192434"/>
                <a:gd name="connsiteX138" fmla="*/ 312134 w 943070"/>
                <a:gd name="connsiteY138" fmla="*/ 614934 h 1192434"/>
                <a:gd name="connsiteX139" fmla="*/ 311849 w 943070"/>
                <a:gd name="connsiteY139" fmla="*/ 619030 h 1192434"/>
                <a:gd name="connsiteX140" fmla="*/ 297466 w 943070"/>
                <a:gd name="connsiteY140" fmla="*/ 620839 h 1192434"/>
                <a:gd name="connsiteX141" fmla="*/ 290132 w 943070"/>
                <a:gd name="connsiteY141" fmla="*/ 618363 h 1192434"/>
                <a:gd name="connsiteX142" fmla="*/ 285655 w 943070"/>
                <a:gd name="connsiteY142" fmla="*/ 615601 h 1192434"/>
                <a:gd name="connsiteX143" fmla="*/ 273939 w 943070"/>
                <a:gd name="connsiteY143" fmla="*/ 613982 h 1192434"/>
                <a:gd name="connsiteX144" fmla="*/ 264700 w 943070"/>
                <a:gd name="connsiteY144" fmla="*/ 615315 h 1192434"/>
                <a:gd name="connsiteX145" fmla="*/ 258032 w 943070"/>
                <a:gd name="connsiteY145" fmla="*/ 618935 h 1192434"/>
                <a:gd name="connsiteX146" fmla="*/ 253175 w 943070"/>
                <a:gd name="connsiteY146" fmla="*/ 623316 h 1192434"/>
                <a:gd name="connsiteX147" fmla="*/ 249365 w 943070"/>
                <a:gd name="connsiteY147" fmla="*/ 628079 h 1192434"/>
                <a:gd name="connsiteX148" fmla="*/ 240221 w 943070"/>
                <a:gd name="connsiteY148" fmla="*/ 635603 h 1192434"/>
                <a:gd name="connsiteX149" fmla="*/ 220790 w 943070"/>
                <a:gd name="connsiteY149" fmla="*/ 645795 h 1192434"/>
                <a:gd name="connsiteX150" fmla="*/ 217170 w 943070"/>
                <a:gd name="connsiteY150" fmla="*/ 629031 h 1192434"/>
                <a:gd name="connsiteX151" fmla="*/ 205550 w 943070"/>
                <a:gd name="connsiteY151" fmla="*/ 612458 h 1192434"/>
                <a:gd name="connsiteX152" fmla="*/ 204597 w 943070"/>
                <a:gd name="connsiteY152" fmla="*/ 606266 h 1192434"/>
                <a:gd name="connsiteX153" fmla="*/ 202597 w 943070"/>
                <a:gd name="connsiteY153" fmla="*/ 602647 h 1192434"/>
                <a:gd name="connsiteX154" fmla="*/ 200025 w 943070"/>
                <a:gd name="connsiteY154" fmla="*/ 600075 h 1192434"/>
                <a:gd name="connsiteX155" fmla="*/ 192786 w 943070"/>
                <a:gd name="connsiteY155" fmla="*/ 598456 h 1192434"/>
                <a:gd name="connsiteX156" fmla="*/ 179832 w 943070"/>
                <a:gd name="connsiteY156" fmla="*/ 602647 h 1192434"/>
                <a:gd name="connsiteX157" fmla="*/ 170307 w 943070"/>
                <a:gd name="connsiteY157" fmla="*/ 611981 h 1192434"/>
                <a:gd name="connsiteX158" fmla="*/ 157353 w 943070"/>
                <a:gd name="connsiteY158" fmla="*/ 630079 h 1192434"/>
                <a:gd name="connsiteX159" fmla="*/ 154115 w 943070"/>
                <a:gd name="connsiteY159" fmla="*/ 640842 h 1192434"/>
                <a:gd name="connsiteX160" fmla="*/ 139351 w 943070"/>
                <a:gd name="connsiteY160" fmla="*/ 660940 h 1192434"/>
                <a:gd name="connsiteX161" fmla="*/ 114109 w 943070"/>
                <a:gd name="connsiteY161" fmla="*/ 677037 h 1192434"/>
                <a:gd name="connsiteX162" fmla="*/ 122015 w 943070"/>
                <a:gd name="connsiteY162" fmla="*/ 677418 h 1192434"/>
                <a:gd name="connsiteX163" fmla="*/ 136017 w 943070"/>
                <a:gd name="connsiteY163" fmla="*/ 689134 h 1192434"/>
                <a:gd name="connsiteX164" fmla="*/ 140779 w 943070"/>
                <a:gd name="connsiteY164" fmla="*/ 695420 h 1192434"/>
                <a:gd name="connsiteX165" fmla="*/ 142208 w 943070"/>
                <a:gd name="connsiteY165" fmla="*/ 701040 h 1192434"/>
                <a:gd name="connsiteX166" fmla="*/ 143066 w 943070"/>
                <a:gd name="connsiteY166" fmla="*/ 707327 h 1192434"/>
                <a:gd name="connsiteX167" fmla="*/ 143446 w 943070"/>
                <a:gd name="connsiteY167" fmla="*/ 722090 h 1192434"/>
                <a:gd name="connsiteX168" fmla="*/ 144685 w 943070"/>
                <a:gd name="connsiteY168" fmla="*/ 725710 h 1192434"/>
                <a:gd name="connsiteX169" fmla="*/ 150209 w 943070"/>
                <a:gd name="connsiteY169" fmla="*/ 737235 h 1192434"/>
                <a:gd name="connsiteX170" fmla="*/ 151352 w 943070"/>
                <a:gd name="connsiteY170" fmla="*/ 740950 h 1192434"/>
                <a:gd name="connsiteX171" fmla="*/ 150971 w 943070"/>
                <a:gd name="connsiteY171" fmla="*/ 754571 h 1192434"/>
                <a:gd name="connsiteX172" fmla="*/ 151352 w 943070"/>
                <a:gd name="connsiteY172" fmla="*/ 758190 h 1192434"/>
                <a:gd name="connsiteX173" fmla="*/ 152400 w 943070"/>
                <a:gd name="connsiteY173" fmla="*/ 759905 h 1192434"/>
                <a:gd name="connsiteX174" fmla="*/ 154305 w 943070"/>
                <a:gd name="connsiteY174" fmla="*/ 762095 h 1192434"/>
                <a:gd name="connsiteX175" fmla="*/ 156020 w 943070"/>
                <a:gd name="connsiteY175" fmla="*/ 763524 h 1192434"/>
                <a:gd name="connsiteX176" fmla="*/ 156686 w 943070"/>
                <a:gd name="connsiteY176" fmla="*/ 762952 h 1192434"/>
                <a:gd name="connsiteX177" fmla="*/ 156591 w 943070"/>
                <a:gd name="connsiteY177" fmla="*/ 768763 h 1192434"/>
                <a:gd name="connsiteX178" fmla="*/ 155734 w 943070"/>
                <a:gd name="connsiteY178" fmla="*/ 773811 h 1192434"/>
                <a:gd name="connsiteX179" fmla="*/ 154591 w 943070"/>
                <a:gd name="connsiteY179" fmla="*/ 778097 h 1192434"/>
                <a:gd name="connsiteX180" fmla="*/ 154019 w 943070"/>
                <a:gd name="connsiteY180" fmla="*/ 781717 h 1192434"/>
                <a:gd name="connsiteX181" fmla="*/ 153257 w 943070"/>
                <a:gd name="connsiteY181" fmla="*/ 797623 h 1192434"/>
                <a:gd name="connsiteX182" fmla="*/ 154972 w 943070"/>
                <a:gd name="connsiteY182" fmla="*/ 803719 h 1192434"/>
                <a:gd name="connsiteX183" fmla="*/ 160687 w 943070"/>
                <a:gd name="connsiteY183" fmla="*/ 806101 h 1192434"/>
                <a:gd name="connsiteX184" fmla="*/ 165068 w 943070"/>
                <a:gd name="connsiteY184" fmla="*/ 806768 h 1192434"/>
                <a:gd name="connsiteX185" fmla="*/ 172784 w 943070"/>
                <a:gd name="connsiteY185" fmla="*/ 809720 h 1192434"/>
                <a:gd name="connsiteX186" fmla="*/ 176784 w 943070"/>
                <a:gd name="connsiteY186" fmla="*/ 810387 h 1192434"/>
                <a:gd name="connsiteX187" fmla="*/ 182594 w 943070"/>
                <a:gd name="connsiteY187" fmla="*/ 814388 h 1192434"/>
                <a:gd name="connsiteX188" fmla="*/ 196787 w 943070"/>
                <a:gd name="connsiteY188" fmla="*/ 833628 h 1192434"/>
                <a:gd name="connsiteX189" fmla="*/ 207454 w 943070"/>
                <a:gd name="connsiteY189" fmla="*/ 848106 h 1192434"/>
                <a:gd name="connsiteX190" fmla="*/ 210693 w 943070"/>
                <a:gd name="connsiteY190" fmla="*/ 857250 h 1192434"/>
                <a:gd name="connsiteX191" fmla="*/ 212312 w 943070"/>
                <a:gd name="connsiteY191" fmla="*/ 867918 h 1192434"/>
                <a:gd name="connsiteX192" fmla="*/ 213074 w 943070"/>
                <a:gd name="connsiteY192" fmla="*/ 886301 h 1192434"/>
                <a:gd name="connsiteX193" fmla="*/ 214122 w 943070"/>
                <a:gd name="connsiteY193" fmla="*/ 896398 h 1192434"/>
                <a:gd name="connsiteX194" fmla="*/ 202787 w 943070"/>
                <a:gd name="connsiteY194" fmla="*/ 876014 h 1192434"/>
                <a:gd name="connsiteX195" fmla="*/ 202311 w 943070"/>
                <a:gd name="connsiteY195" fmla="*/ 870394 h 1192434"/>
                <a:gd name="connsiteX196" fmla="*/ 203740 w 943070"/>
                <a:gd name="connsiteY196" fmla="*/ 867442 h 1192434"/>
                <a:gd name="connsiteX197" fmla="*/ 204502 w 943070"/>
                <a:gd name="connsiteY197" fmla="*/ 862870 h 1192434"/>
                <a:gd name="connsiteX198" fmla="*/ 203263 w 943070"/>
                <a:gd name="connsiteY198" fmla="*/ 859727 h 1192434"/>
                <a:gd name="connsiteX199" fmla="*/ 201549 w 943070"/>
                <a:gd name="connsiteY199" fmla="*/ 856679 h 1192434"/>
                <a:gd name="connsiteX200" fmla="*/ 198406 w 943070"/>
                <a:gd name="connsiteY200" fmla="*/ 854488 h 1192434"/>
                <a:gd name="connsiteX201" fmla="*/ 189548 w 943070"/>
                <a:gd name="connsiteY201" fmla="*/ 850678 h 1192434"/>
                <a:gd name="connsiteX202" fmla="*/ 179832 w 943070"/>
                <a:gd name="connsiteY202" fmla="*/ 848487 h 1192434"/>
                <a:gd name="connsiteX203" fmla="*/ 174403 w 943070"/>
                <a:gd name="connsiteY203" fmla="*/ 844963 h 1192434"/>
                <a:gd name="connsiteX204" fmla="*/ 165163 w 943070"/>
                <a:gd name="connsiteY204" fmla="*/ 845725 h 1192434"/>
                <a:gd name="connsiteX205" fmla="*/ 159829 w 943070"/>
                <a:gd name="connsiteY205" fmla="*/ 847439 h 1192434"/>
                <a:gd name="connsiteX206" fmla="*/ 133731 w 943070"/>
                <a:gd name="connsiteY206" fmla="*/ 870109 h 1192434"/>
                <a:gd name="connsiteX207" fmla="*/ 138589 w 943070"/>
                <a:gd name="connsiteY207" fmla="*/ 877157 h 1192434"/>
                <a:gd name="connsiteX208" fmla="*/ 139256 w 943070"/>
                <a:gd name="connsiteY208" fmla="*/ 879062 h 1192434"/>
                <a:gd name="connsiteX209" fmla="*/ 138970 w 943070"/>
                <a:gd name="connsiteY209" fmla="*/ 885444 h 1192434"/>
                <a:gd name="connsiteX210" fmla="*/ 130016 w 943070"/>
                <a:gd name="connsiteY210" fmla="*/ 892969 h 1192434"/>
                <a:gd name="connsiteX211" fmla="*/ 126587 w 943070"/>
                <a:gd name="connsiteY211" fmla="*/ 891350 h 1192434"/>
                <a:gd name="connsiteX212" fmla="*/ 121920 w 943070"/>
                <a:gd name="connsiteY212" fmla="*/ 890778 h 1192434"/>
                <a:gd name="connsiteX213" fmla="*/ 117634 w 943070"/>
                <a:gd name="connsiteY213" fmla="*/ 894683 h 1192434"/>
                <a:gd name="connsiteX214" fmla="*/ 115633 w 943070"/>
                <a:gd name="connsiteY214" fmla="*/ 899065 h 1192434"/>
                <a:gd name="connsiteX215" fmla="*/ 110585 w 943070"/>
                <a:gd name="connsiteY215" fmla="*/ 906685 h 1192434"/>
                <a:gd name="connsiteX216" fmla="*/ 102584 w 943070"/>
                <a:gd name="connsiteY216" fmla="*/ 914400 h 1192434"/>
                <a:gd name="connsiteX217" fmla="*/ 97631 w 943070"/>
                <a:gd name="connsiteY217" fmla="*/ 915352 h 1192434"/>
                <a:gd name="connsiteX218" fmla="*/ 94012 w 943070"/>
                <a:gd name="connsiteY218" fmla="*/ 913733 h 1192434"/>
                <a:gd name="connsiteX219" fmla="*/ 89535 w 943070"/>
                <a:gd name="connsiteY219" fmla="*/ 906209 h 1192434"/>
                <a:gd name="connsiteX220" fmla="*/ 82677 w 943070"/>
                <a:gd name="connsiteY220" fmla="*/ 900684 h 1192434"/>
                <a:gd name="connsiteX221" fmla="*/ 75629 w 943070"/>
                <a:gd name="connsiteY221" fmla="*/ 905447 h 1192434"/>
                <a:gd name="connsiteX222" fmla="*/ 72771 w 943070"/>
                <a:gd name="connsiteY222" fmla="*/ 908685 h 1192434"/>
                <a:gd name="connsiteX223" fmla="*/ 61913 w 943070"/>
                <a:gd name="connsiteY223" fmla="*/ 917734 h 1192434"/>
                <a:gd name="connsiteX224" fmla="*/ 56959 w 943070"/>
                <a:gd name="connsiteY224" fmla="*/ 918591 h 1192434"/>
                <a:gd name="connsiteX225" fmla="*/ 50863 w 943070"/>
                <a:gd name="connsiteY225" fmla="*/ 912305 h 1192434"/>
                <a:gd name="connsiteX226" fmla="*/ 46958 w 943070"/>
                <a:gd name="connsiteY226" fmla="*/ 905732 h 1192434"/>
                <a:gd name="connsiteX227" fmla="*/ 14002 w 943070"/>
                <a:gd name="connsiteY227" fmla="*/ 875919 h 1192434"/>
                <a:gd name="connsiteX228" fmla="*/ 15240 w 943070"/>
                <a:gd name="connsiteY228" fmla="*/ 885158 h 1192434"/>
                <a:gd name="connsiteX229" fmla="*/ 16574 w 943070"/>
                <a:gd name="connsiteY229" fmla="*/ 888873 h 1192434"/>
                <a:gd name="connsiteX230" fmla="*/ 21622 w 943070"/>
                <a:gd name="connsiteY230" fmla="*/ 896588 h 1192434"/>
                <a:gd name="connsiteX231" fmla="*/ 22765 w 943070"/>
                <a:gd name="connsiteY231" fmla="*/ 899731 h 1192434"/>
                <a:gd name="connsiteX232" fmla="*/ 25051 w 943070"/>
                <a:gd name="connsiteY232" fmla="*/ 904494 h 1192434"/>
                <a:gd name="connsiteX233" fmla="*/ 20765 w 943070"/>
                <a:gd name="connsiteY233" fmla="*/ 909352 h 1192434"/>
                <a:gd name="connsiteX234" fmla="*/ 19145 w 943070"/>
                <a:gd name="connsiteY234" fmla="*/ 915924 h 1192434"/>
                <a:gd name="connsiteX235" fmla="*/ 16383 w 943070"/>
                <a:gd name="connsiteY235" fmla="*/ 921068 h 1192434"/>
                <a:gd name="connsiteX236" fmla="*/ 5906 w 943070"/>
                <a:gd name="connsiteY236" fmla="*/ 928021 h 1192434"/>
                <a:gd name="connsiteX237" fmla="*/ 95 w 943070"/>
                <a:gd name="connsiteY237" fmla="*/ 933545 h 1192434"/>
                <a:gd name="connsiteX238" fmla="*/ 0 w 943070"/>
                <a:gd name="connsiteY238" fmla="*/ 933640 h 1192434"/>
                <a:gd name="connsiteX239" fmla="*/ 29528 w 943070"/>
                <a:gd name="connsiteY239" fmla="*/ 967073 h 1192434"/>
                <a:gd name="connsiteX240" fmla="*/ 64579 w 943070"/>
                <a:gd name="connsiteY240" fmla="*/ 990505 h 1192434"/>
                <a:gd name="connsiteX241" fmla="*/ 86487 w 943070"/>
                <a:gd name="connsiteY241" fmla="*/ 1005173 h 1192434"/>
                <a:gd name="connsiteX242" fmla="*/ 110585 w 943070"/>
                <a:gd name="connsiteY242" fmla="*/ 1032415 h 1192434"/>
                <a:gd name="connsiteX243" fmla="*/ 149162 w 943070"/>
                <a:gd name="connsiteY243" fmla="*/ 1066133 h 1192434"/>
                <a:gd name="connsiteX244" fmla="*/ 158972 w 943070"/>
                <a:gd name="connsiteY244" fmla="*/ 1081469 h 1192434"/>
                <a:gd name="connsiteX245" fmla="*/ 168021 w 943070"/>
                <a:gd name="connsiteY245" fmla="*/ 1102614 h 1192434"/>
                <a:gd name="connsiteX246" fmla="*/ 188595 w 943070"/>
                <a:gd name="connsiteY246" fmla="*/ 1139762 h 1192434"/>
                <a:gd name="connsiteX247" fmla="*/ 212979 w 943070"/>
                <a:gd name="connsiteY247" fmla="*/ 1158335 h 1192434"/>
                <a:gd name="connsiteX248" fmla="*/ 266986 w 943070"/>
                <a:gd name="connsiteY248" fmla="*/ 1184624 h 1192434"/>
                <a:gd name="connsiteX249" fmla="*/ 288893 w 943070"/>
                <a:gd name="connsiteY249" fmla="*/ 1190720 h 1192434"/>
                <a:gd name="connsiteX250" fmla="*/ 311182 w 943070"/>
                <a:gd name="connsiteY250" fmla="*/ 1192435 h 1192434"/>
                <a:gd name="connsiteX251" fmla="*/ 319373 w 943070"/>
                <a:gd name="connsiteY251" fmla="*/ 1177957 h 1192434"/>
                <a:gd name="connsiteX252" fmla="*/ 328898 w 943070"/>
                <a:gd name="connsiteY252" fmla="*/ 1172718 h 1192434"/>
                <a:gd name="connsiteX253" fmla="*/ 339376 w 943070"/>
                <a:gd name="connsiteY253" fmla="*/ 1173861 h 1192434"/>
                <a:gd name="connsiteX254" fmla="*/ 360045 w 943070"/>
                <a:gd name="connsiteY254" fmla="*/ 1182148 h 1192434"/>
                <a:gd name="connsiteX255" fmla="*/ 368999 w 943070"/>
                <a:gd name="connsiteY255" fmla="*/ 1181481 h 1192434"/>
                <a:gd name="connsiteX256" fmla="*/ 400050 w 943070"/>
                <a:gd name="connsiteY256" fmla="*/ 1165479 h 1192434"/>
                <a:gd name="connsiteX257" fmla="*/ 407861 w 943070"/>
                <a:gd name="connsiteY257" fmla="*/ 1156335 h 1192434"/>
                <a:gd name="connsiteX258" fmla="*/ 430149 w 943070"/>
                <a:gd name="connsiteY258" fmla="*/ 1115187 h 1192434"/>
                <a:gd name="connsiteX259" fmla="*/ 452628 w 943070"/>
                <a:gd name="connsiteY259" fmla="*/ 1087565 h 1192434"/>
                <a:gd name="connsiteX260" fmla="*/ 461010 w 943070"/>
                <a:gd name="connsiteY260" fmla="*/ 1082231 h 1192434"/>
                <a:gd name="connsiteX261" fmla="*/ 461677 w 943070"/>
                <a:gd name="connsiteY261" fmla="*/ 1081850 h 1192434"/>
                <a:gd name="connsiteX262" fmla="*/ 512159 w 943070"/>
                <a:gd name="connsiteY262" fmla="*/ 1075373 h 1192434"/>
                <a:gd name="connsiteX263" fmla="*/ 527971 w 943070"/>
                <a:gd name="connsiteY263" fmla="*/ 1077944 h 1192434"/>
                <a:gd name="connsiteX264" fmla="*/ 536448 w 943070"/>
                <a:gd name="connsiteY264" fmla="*/ 1082612 h 1192434"/>
                <a:gd name="connsiteX265" fmla="*/ 560737 w 943070"/>
                <a:gd name="connsiteY265" fmla="*/ 1103376 h 1192434"/>
                <a:gd name="connsiteX266" fmla="*/ 571500 w 943070"/>
                <a:gd name="connsiteY266" fmla="*/ 1109377 h 1192434"/>
                <a:gd name="connsiteX267" fmla="*/ 579025 w 943070"/>
                <a:gd name="connsiteY267" fmla="*/ 1106138 h 1192434"/>
                <a:gd name="connsiteX268" fmla="*/ 597218 w 943070"/>
                <a:gd name="connsiteY268" fmla="*/ 1088327 h 1192434"/>
                <a:gd name="connsiteX269" fmla="*/ 605218 w 943070"/>
                <a:gd name="connsiteY269" fmla="*/ 1078802 h 1192434"/>
                <a:gd name="connsiteX270" fmla="*/ 614934 w 943070"/>
                <a:gd name="connsiteY270" fmla="*/ 1090232 h 1192434"/>
                <a:gd name="connsiteX271" fmla="*/ 627031 w 943070"/>
                <a:gd name="connsiteY271" fmla="*/ 1097471 h 1192434"/>
                <a:gd name="connsiteX272" fmla="*/ 639890 w 943070"/>
                <a:gd name="connsiteY272" fmla="*/ 1101376 h 1192434"/>
                <a:gd name="connsiteX273" fmla="*/ 688848 w 943070"/>
                <a:gd name="connsiteY273" fmla="*/ 1105853 h 1192434"/>
                <a:gd name="connsiteX274" fmla="*/ 699802 w 943070"/>
                <a:gd name="connsiteY274" fmla="*/ 1104424 h 1192434"/>
                <a:gd name="connsiteX275" fmla="*/ 703231 w 943070"/>
                <a:gd name="connsiteY275" fmla="*/ 1093851 h 1192434"/>
                <a:gd name="connsiteX276" fmla="*/ 706660 w 943070"/>
                <a:gd name="connsiteY276" fmla="*/ 1078992 h 1192434"/>
                <a:gd name="connsiteX277" fmla="*/ 709327 w 943070"/>
                <a:gd name="connsiteY277" fmla="*/ 1046035 h 1192434"/>
                <a:gd name="connsiteX278" fmla="*/ 720185 w 943070"/>
                <a:gd name="connsiteY278" fmla="*/ 1015270 h 1192434"/>
                <a:gd name="connsiteX279" fmla="*/ 758952 w 943070"/>
                <a:gd name="connsiteY279" fmla="*/ 989552 h 1192434"/>
                <a:gd name="connsiteX280" fmla="*/ 764953 w 943070"/>
                <a:gd name="connsiteY280" fmla="*/ 978694 h 1192434"/>
                <a:gd name="connsiteX281" fmla="*/ 771620 w 943070"/>
                <a:gd name="connsiteY281" fmla="*/ 966883 h 1192434"/>
                <a:gd name="connsiteX282" fmla="*/ 773240 w 943070"/>
                <a:gd name="connsiteY282" fmla="*/ 950119 h 1192434"/>
                <a:gd name="connsiteX283" fmla="*/ 785432 w 943070"/>
                <a:gd name="connsiteY283" fmla="*/ 937546 h 1192434"/>
                <a:gd name="connsiteX284" fmla="*/ 811911 w 943070"/>
                <a:gd name="connsiteY284" fmla="*/ 917067 h 1192434"/>
                <a:gd name="connsiteX285" fmla="*/ 816674 w 943070"/>
                <a:gd name="connsiteY285" fmla="*/ 907828 h 1192434"/>
                <a:gd name="connsiteX286" fmla="*/ 820102 w 943070"/>
                <a:gd name="connsiteY286" fmla="*/ 899255 h 1192434"/>
                <a:gd name="connsiteX287" fmla="*/ 823913 w 943070"/>
                <a:gd name="connsiteY287" fmla="*/ 891635 h 1192434"/>
                <a:gd name="connsiteX288" fmla="*/ 830009 w 943070"/>
                <a:gd name="connsiteY288" fmla="*/ 885254 h 1192434"/>
                <a:gd name="connsiteX289" fmla="*/ 834961 w 943070"/>
                <a:gd name="connsiteY289" fmla="*/ 882777 h 1192434"/>
                <a:gd name="connsiteX290" fmla="*/ 851059 w 943070"/>
                <a:gd name="connsiteY290" fmla="*/ 879253 h 1192434"/>
                <a:gd name="connsiteX291" fmla="*/ 867727 w 943070"/>
                <a:gd name="connsiteY291" fmla="*/ 871156 h 1192434"/>
                <a:gd name="connsiteX292" fmla="*/ 878300 w 943070"/>
                <a:gd name="connsiteY292" fmla="*/ 863441 h 1192434"/>
                <a:gd name="connsiteX293" fmla="*/ 884968 w 943070"/>
                <a:gd name="connsiteY293" fmla="*/ 858584 h 1192434"/>
                <a:gd name="connsiteX294" fmla="*/ 901636 w 943070"/>
                <a:gd name="connsiteY294" fmla="*/ 852106 h 1192434"/>
                <a:gd name="connsiteX295" fmla="*/ 916400 w 943070"/>
                <a:gd name="connsiteY295" fmla="*/ 862203 h 1192434"/>
                <a:gd name="connsiteX296" fmla="*/ 924306 w 943070"/>
                <a:gd name="connsiteY296" fmla="*/ 848677 h 1192434"/>
                <a:gd name="connsiteX297" fmla="*/ 928021 w 943070"/>
                <a:gd name="connsiteY297" fmla="*/ 833247 h 1192434"/>
                <a:gd name="connsiteX298" fmla="*/ 930211 w 943070"/>
                <a:gd name="connsiteY298" fmla="*/ 816673 h 1192434"/>
                <a:gd name="connsiteX299" fmla="*/ 933641 w 943070"/>
                <a:gd name="connsiteY299" fmla="*/ 800195 h 1192434"/>
                <a:gd name="connsiteX300" fmla="*/ 936879 w 943070"/>
                <a:gd name="connsiteY300" fmla="*/ 792766 h 1192434"/>
                <a:gd name="connsiteX301" fmla="*/ 939927 w 943070"/>
                <a:gd name="connsiteY301" fmla="*/ 788194 h 1192434"/>
                <a:gd name="connsiteX302" fmla="*/ 942308 w 943070"/>
                <a:gd name="connsiteY302" fmla="*/ 782764 h 1192434"/>
                <a:gd name="connsiteX303" fmla="*/ 943070 w 943070"/>
                <a:gd name="connsiteY303" fmla="*/ 772382 h 1192434"/>
                <a:gd name="connsiteX304" fmla="*/ 942023 w 943070"/>
                <a:gd name="connsiteY304" fmla="*/ 764953 h 1192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Lst>
              <a:rect l="l" t="t" r="r" b="b"/>
              <a:pathLst>
                <a:path w="943070" h="1192434">
                  <a:moveTo>
                    <a:pt x="942023" y="764953"/>
                  </a:moveTo>
                  <a:lnTo>
                    <a:pt x="926306" y="716947"/>
                  </a:lnTo>
                  <a:lnTo>
                    <a:pt x="923544" y="702755"/>
                  </a:lnTo>
                  <a:lnTo>
                    <a:pt x="922401" y="686657"/>
                  </a:lnTo>
                  <a:lnTo>
                    <a:pt x="923830" y="662464"/>
                  </a:lnTo>
                  <a:lnTo>
                    <a:pt x="922401" y="654844"/>
                  </a:lnTo>
                  <a:lnTo>
                    <a:pt x="919353" y="649034"/>
                  </a:lnTo>
                  <a:lnTo>
                    <a:pt x="899160" y="623030"/>
                  </a:lnTo>
                  <a:lnTo>
                    <a:pt x="896017" y="616839"/>
                  </a:lnTo>
                  <a:lnTo>
                    <a:pt x="894779" y="609981"/>
                  </a:lnTo>
                  <a:lnTo>
                    <a:pt x="897065" y="601694"/>
                  </a:lnTo>
                  <a:lnTo>
                    <a:pt x="907161" y="591979"/>
                  </a:lnTo>
                  <a:lnTo>
                    <a:pt x="909923" y="585692"/>
                  </a:lnTo>
                  <a:lnTo>
                    <a:pt x="907542" y="577406"/>
                  </a:lnTo>
                  <a:lnTo>
                    <a:pt x="900684" y="572167"/>
                  </a:lnTo>
                  <a:lnTo>
                    <a:pt x="869537" y="556927"/>
                  </a:lnTo>
                  <a:lnTo>
                    <a:pt x="862679" y="549307"/>
                  </a:lnTo>
                  <a:lnTo>
                    <a:pt x="857441" y="537782"/>
                  </a:lnTo>
                  <a:lnTo>
                    <a:pt x="855345" y="522827"/>
                  </a:lnTo>
                  <a:lnTo>
                    <a:pt x="855059" y="490918"/>
                  </a:lnTo>
                  <a:lnTo>
                    <a:pt x="851059" y="478822"/>
                  </a:lnTo>
                  <a:lnTo>
                    <a:pt x="812673" y="451580"/>
                  </a:lnTo>
                  <a:lnTo>
                    <a:pt x="806006" y="439388"/>
                  </a:lnTo>
                  <a:lnTo>
                    <a:pt x="810197" y="427482"/>
                  </a:lnTo>
                  <a:lnTo>
                    <a:pt x="819531" y="410718"/>
                  </a:lnTo>
                  <a:lnTo>
                    <a:pt x="826865" y="394430"/>
                  </a:lnTo>
                  <a:lnTo>
                    <a:pt x="824770" y="384334"/>
                  </a:lnTo>
                  <a:lnTo>
                    <a:pt x="816197" y="377476"/>
                  </a:lnTo>
                  <a:lnTo>
                    <a:pt x="800862" y="359950"/>
                  </a:lnTo>
                  <a:lnTo>
                    <a:pt x="792575" y="352901"/>
                  </a:lnTo>
                  <a:lnTo>
                    <a:pt x="775240" y="347853"/>
                  </a:lnTo>
                  <a:lnTo>
                    <a:pt x="758761" y="352520"/>
                  </a:lnTo>
                  <a:lnTo>
                    <a:pt x="726472" y="370713"/>
                  </a:lnTo>
                  <a:lnTo>
                    <a:pt x="719900" y="368903"/>
                  </a:lnTo>
                  <a:lnTo>
                    <a:pt x="713708" y="367189"/>
                  </a:lnTo>
                  <a:lnTo>
                    <a:pt x="721614" y="342233"/>
                  </a:lnTo>
                  <a:lnTo>
                    <a:pt x="747522" y="286512"/>
                  </a:lnTo>
                  <a:lnTo>
                    <a:pt x="748856" y="278416"/>
                  </a:lnTo>
                  <a:lnTo>
                    <a:pt x="749713" y="264128"/>
                  </a:lnTo>
                  <a:lnTo>
                    <a:pt x="750665" y="256889"/>
                  </a:lnTo>
                  <a:lnTo>
                    <a:pt x="753142" y="248984"/>
                  </a:lnTo>
                  <a:lnTo>
                    <a:pt x="759428" y="233553"/>
                  </a:lnTo>
                  <a:lnTo>
                    <a:pt x="761333" y="225743"/>
                  </a:lnTo>
                  <a:lnTo>
                    <a:pt x="759333" y="207359"/>
                  </a:lnTo>
                  <a:lnTo>
                    <a:pt x="750189" y="200216"/>
                  </a:lnTo>
                  <a:lnTo>
                    <a:pt x="740093" y="194882"/>
                  </a:lnTo>
                  <a:lnTo>
                    <a:pt x="734663" y="181737"/>
                  </a:lnTo>
                  <a:lnTo>
                    <a:pt x="741998" y="170974"/>
                  </a:lnTo>
                  <a:lnTo>
                    <a:pt x="778193" y="153353"/>
                  </a:lnTo>
                  <a:lnTo>
                    <a:pt x="790004" y="142018"/>
                  </a:lnTo>
                  <a:lnTo>
                    <a:pt x="793718" y="126682"/>
                  </a:lnTo>
                  <a:lnTo>
                    <a:pt x="796576" y="104584"/>
                  </a:lnTo>
                  <a:lnTo>
                    <a:pt x="798481" y="64199"/>
                  </a:lnTo>
                  <a:lnTo>
                    <a:pt x="796195" y="47434"/>
                  </a:lnTo>
                  <a:lnTo>
                    <a:pt x="791337" y="37052"/>
                  </a:lnTo>
                  <a:lnTo>
                    <a:pt x="784098" y="30575"/>
                  </a:lnTo>
                  <a:lnTo>
                    <a:pt x="744665" y="6001"/>
                  </a:lnTo>
                  <a:lnTo>
                    <a:pt x="739426" y="0"/>
                  </a:lnTo>
                  <a:lnTo>
                    <a:pt x="737140" y="17145"/>
                  </a:lnTo>
                  <a:lnTo>
                    <a:pt x="734568" y="21336"/>
                  </a:lnTo>
                  <a:lnTo>
                    <a:pt x="730853" y="26099"/>
                  </a:lnTo>
                  <a:lnTo>
                    <a:pt x="726948" y="27432"/>
                  </a:lnTo>
                  <a:lnTo>
                    <a:pt x="723043" y="30766"/>
                  </a:lnTo>
                  <a:lnTo>
                    <a:pt x="702755" y="42291"/>
                  </a:lnTo>
                  <a:lnTo>
                    <a:pt x="697706" y="53245"/>
                  </a:lnTo>
                  <a:lnTo>
                    <a:pt x="691515" y="57245"/>
                  </a:lnTo>
                  <a:lnTo>
                    <a:pt x="685324" y="70295"/>
                  </a:lnTo>
                  <a:lnTo>
                    <a:pt x="674180" y="69532"/>
                  </a:lnTo>
                  <a:lnTo>
                    <a:pt x="671132" y="69914"/>
                  </a:lnTo>
                  <a:lnTo>
                    <a:pt x="664369" y="66008"/>
                  </a:lnTo>
                  <a:lnTo>
                    <a:pt x="658654" y="59531"/>
                  </a:lnTo>
                  <a:lnTo>
                    <a:pt x="648462" y="59246"/>
                  </a:lnTo>
                  <a:lnTo>
                    <a:pt x="627221" y="67247"/>
                  </a:lnTo>
                  <a:lnTo>
                    <a:pt x="607219" y="51626"/>
                  </a:lnTo>
                  <a:lnTo>
                    <a:pt x="595979" y="56959"/>
                  </a:lnTo>
                  <a:lnTo>
                    <a:pt x="576453" y="79057"/>
                  </a:lnTo>
                  <a:lnTo>
                    <a:pt x="565690" y="77438"/>
                  </a:lnTo>
                  <a:lnTo>
                    <a:pt x="562927" y="79248"/>
                  </a:lnTo>
                  <a:lnTo>
                    <a:pt x="560260" y="81820"/>
                  </a:lnTo>
                  <a:lnTo>
                    <a:pt x="558165" y="84582"/>
                  </a:lnTo>
                  <a:lnTo>
                    <a:pt x="554927" y="87916"/>
                  </a:lnTo>
                  <a:lnTo>
                    <a:pt x="547307" y="87630"/>
                  </a:lnTo>
                  <a:lnTo>
                    <a:pt x="540830" y="92393"/>
                  </a:lnTo>
                  <a:lnTo>
                    <a:pt x="529971" y="93726"/>
                  </a:lnTo>
                  <a:lnTo>
                    <a:pt x="519779" y="112871"/>
                  </a:lnTo>
                  <a:lnTo>
                    <a:pt x="504539" y="134112"/>
                  </a:lnTo>
                  <a:lnTo>
                    <a:pt x="494348" y="144494"/>
                  </a:lnTo>
                  <a:lnTo>
                    <a:pt x="472154" y="174022"/>
                  </a:lnTo>
                  <a:lnTo>
                    <a:pt x="467201" y="180785"/>
                  </a:lnTo>
                  <a:lnTo>
                    <a:pt x="460915" y="187643"/>
                  </a:lnTo>
                  <a:lnTo>
                    <a:pt x="450818" y="209645"/>
                  </a:lnTo>
                  <a:lnTo>
                    <a:pt x="441579" y="220409"/>
                  </a:lnTo>
                  <a:lnTo>
                    <a:pt x="430816" y="227933"/>
                  </a:lnTo>
                  <a:lnTo>
                    <a:pt x="414719" y="243173"/>
                  </a:lnTo>
                  <a:lnTo>
                    <a:pt x="417767" y="251841"/>
                  </a:lnTo>
                  <a:lnTo>
                    <a:pt x="418909" y="254127"/>
                  </a:lnTo>
                  <a:lnTo>
                    <a:pt x="414528" y="268129"/>
                  </a:lnTo>
                  <a:lnTo>
                    <a:pt x="418338" y="272987"/>
                  </a:lnTo>
                  <a:lnTo>
                    <a:pt x="421577" y="271463"/>
                  </a:lnTo>
                  <a:lnTo>
                    <a:pt x="431102" y="271748"/>
                  </a:lnTo>
                  <a:lnTo>
                    <a:pt x="434721" y="274701"/>
                  </a:lnTo>
                  <a:lnTo>
                    <a:pt x="436817" y="277939"/>
                  </a:lnTo>
                  <a:lnTo>
                    <a:pt x="435864" y="286131"/>
                  </a:lnTo>
                  <a:lnTo>
                    <a:pt x="434435" y="293370"/>
                  </a:lnTo>
                  <a:lnTo>
                    <a:pt x="434531" y="299371"/>
                  </a:lnTo>
                  <a:lnTo>
                    <a:pt x="439388" y="304800"/>
                  </a:lnTo>
                  <a:lnTo>
                    <a:pt x="451104" y="312611"/>
                  </a:lnTo>
                  <a:lnTo>
                    <a:pt x="454438" y="317945"/>
                  </a:lnTo>
                  <a:lnTo>
                    <a:pt x="457771" y="333851"/>
                  </a:lnTo>
                  <a:lnTo>
                    <a:pt x="463201" y="342900"/>
                  </a:lnTo>
                  <a:lnTo>
                    <a:pt x="462725" y="348234"/>
                  </a:lnTo>
                  <a:lnTo>
                    <a:pt x="461582" y="351949"/>
                  </a:lnTo>
                  <a:lnTo>
                    <a:pt x="450818" y="365379"/>
                  </a:lnTo>
                  <a:lnTo>
                    <a:pt x="447294" y="369951"/>
                  </a:lnTo>
                  <a:lnTo>
                    <a:pt x="441198" y="376523"/>
                  </a:lnTo>
                  <a:lnTo>
                    <a:pt x="433007" y="385858"/>
                  </a:lnTo>
                  <a:lnTo>
                    <a:pt x="384524" y="464439"/>
                  </a:lnTo>
                  <a:lnTo>
                    <a:pt x="380429" y="483108"/>
                  </a:lnTo>
                  <a:lnTo>
                    <a:pt x="379952" y="485585"/>
                  </a:lnTo>
                  <a:lnTo>
                    <a:pt x="382429" y="495395"/>
                  </a:lnTo>
                  <a:lnTo>
                    <a:pt x="382619" y="500920"/>
                  </a:lnTo>
                  <a:lnTo>
                    <a:pt x="383762" y="508635"/>
                  </a:lnTo>
                  <a:lnTo>
                    <a:pt x="382238" y="517398"/>
                  </a:lnTo>
                  <a:lnTo>
                    <a:pt x="383286" y="525304"/>
                  </a:lnTo>
                  <a:lnTo>
                    <a:pt x="386715" y="529495"/>
                  </a:lnTo>
                  <a:lnTo>
                    <a:pt x="388239" y="533210"/>
                  </a:lnTo>
                  <a:lnTo>
                    <a:pt x="386810" y="535496"/>
                  </a:lnTo>
                  <a:lnTo>
                    <a:pt x="371570" y="543401"/>
                  </a:lnTo>
                  <a:lnTo>
                    <a:pt x="366427" y="549497"/>
                  </a:lnTo>
                  <a:lnTo>
                    <a:pt x="363569" y="555784"/>
                  </a:lnTo>
                  <a:lnTo>
                    <a:pt x="369189" y="569595"/>
                  </a:lnTo>
                  <a:lnTo>
                    <a:pt x="360902" y="580644"/>
                  </a:lnTo>
                  <a:lnTo>
                    <a:pt x="354711" y="578549"/>
                  </a:lnTo>
                  <a:lnTo>
                    <a:pt x="324041" y="580263"/>
                  </a:lnTo>
                  <a:lnTo>
                    <a:pt x="311372" y="606457"/>
                  </a:lnTo>
                  <a:lnTo>
                    <a:pt x="310896" y="609981"/>
                  </a:lnTo>
                  <a:lnTo>
                    <a:pt x="310610" y="613505"/>
                  </a:lnTo>
                  <a:lnTo>
                    <a:pt x="312230" y="614267"/>
                  </a:lnTo>
                  <a:lnTo>
                    <a:pt x="312134" y="614934"/>
                  </a:lnTo>
                  <a:lnTo>
                    <a:pt x="311849" y="619030"/>
                  </a:lnTo>
                  <a:lnTo>
                    <a:pt x="297466" y="620839"/>
                  </a:lnTo>
                  <a:lnTo>
                    <a:pt x="290132" y="618363"/>
                  </a:lnTo>
                  <a:lnTo>
                    <a:pt x="285655" y="615601"/>
                  </a:lnTo>
                  <a:lnTo>
                    <a:pt x="273939" y="613982"/>
                  </a:lnTo>
                  <a:lnTo>
                    <a:pt x="264700" y="615315"/>
                  </a:lnTo>
                  <a:lnTo>
                    <a:pt x="258032" y="618935"/>
                  </a:lnTo>
                  <a:lnTo>
                    <a:pt x="253175" y="623316"/>
                  </a:lnTo>
                  <a:lnTo>
                    <a:pt x="249365" y="628079"/>
                  </a:lnTo>
                  <a:lnTo>
                    <a:pt x="240221" y="635603"/>
                  </a:lnTo>
                  <a:lnTo>
                    <a:pt x="220790" y="645795"/>
                  </a:lnTo>
                  <a:lnTo>
                    <a:pt x="217170" y="629031"/>
                  </a:lnTo>
                  <a:lnTo>
                    <a:pt x="205550" y="612458"/>
                  </a:lnTo>
                  <a:lnTo>
                    <a:pt x="204597" y="606266"/>
                  </a:lnTo>
                  <a:lnTo>
                    <a:pt x="202597" y="602647"/>
                  </a:lnTo>
                  <a:lnTo>
                    <a:pt x="200025" y="600075"/>
                  </a:lnTo>
                  <a:lnTo>
                    <a:pt x="192786" y="598456"/>
                  </a:lnTo>
                  <a:lnTo>
                    <a:pt x="179832" y="602647"/>
                  </a:lnTo>
                  <a:lnTo>
                    <a:pt x="170307" y="611981"/>
                  </a:lnTo>
                  <a:lnTo>
                    <a:pt x="157353" y="630079"/>
                  </a:lnTo>
                  <a:lnTo>
                    <a:pt x="154115" y="640842"/>
                  </a:lnTo>
                  <a:lnTo>
                    <a:pt x="139351" y="660940"/>
                  </a:lnTo>
                  <a:lnTo>
                    <a:pt x="114109" y="677037"/>
                  </a:lnTo>
                  <a:lnTo>
                    <a:pt x="122015" y="677418"/>
                  </a:lnTo>
                  <a:lnTo>
                    <a:pt x="136017" y="689134"/>
                  </a:lnTo>
                  <a:lnTo>
                    <a:pt x="140779" y="695420"/>
                  </a:lnTo>
                  <a:lnTo>
                    <a:pt x="142208" y="701040"/>
                  </a:lnTo>
                  <a:lnTo>
                    <a:pt x="143066" y="707327"/>
                  </a:lnTo>
                  <a:lnTo>
                    <a:pt x="143446" y="722090"/>
                  </a:lnTo>
                  <a:lnTo>
                    <a:pt x="144685" y="725710"/>
                  </a:lnTo>
                  <a:lnTo>
                    <a:pt x="150209" y="737235"/>
                  </a:lnTo>
                  <a:lnTo>
                    <a:pt x="151352" y="740950"/>
                  </a:lnTo>
                  <a:lnTo>
                    <a:pt x="150971" y="754571"/>
                  </a:lnTo>
                  <a:lnTo>
                    <a:pt x="151352" y="758190"/>
                  </a:lnTo>
                  <a:lnTo>
                    <a:pt x="152400" y="759905"/>
                  </a:lnTo>
                  <a:lnTo>
                    <a:pt x="154305" y="762095"/>
                  </a:lnTo>
                  <a:lnTo>
                    <a:pt x="156020" y="763524"/>
                  </a:lnTo>
                  <a:lnTo>
                    <a:pt x="156686" y="762952"/>
                  </a:lnTo>
                  <a:lnTo>
                    <a:pt x="156591" y="768763"/>
                  </a:lnTo>
                  <a:lnTo>
                    <a:pt x="155734" y="773811"/>
                  </a:lnTo>
                  <a:lnTo>
                    <a:pt x="154591" y="778097"/>
                  </a:lnTo>
                  <a:lnTo>
                    <a:pt x="154019" y="781717"/>
                  </a:lnTo>
                  <a:lnTo>
                    <a:pt x="153257" y="797623"/>
                  </a:lnTo>
                  <a:lnTo>
                    <a:pt x="154972" y="803719"/>
                  </a:lnTo>
                  <a:lnTo>
                    <a:pt x="160687" y="806101"/>
                  </a:lnTo>
                  <a:lnTo>
                    <a:pt x="165068" y="806768"/>
                  </a:lnTo>
                  <a:lnTo>
                    <a:pt x="172784" y="809720"/>
                  </a:lnTo>
                  <a:lnTo>
                    <a:pt x="176784" y="810387"/>
                  </a:lnTo>
                  <a:lnTo>
                    <a:pt x="182594" y="814388"/>
                  </a:lnTo>
                  <a:lnTo>
                    <a:pt x="196787" y="833628"/>
                  </a:lnTo>
                  <a:lnTo>
                    <a:pt x="207454" y="848106"/>
                  </a:lnTo>
                  <a:lnTo>
                    <a:pt x="210693" y="857250"/>
                  </a:lnTo>
                  <a:lnTo>
                    <a:pt x="212312" y="867918"/>
                  </a:lnTo>
                  <a:lnTo>
                    <a:pt x="213074" y="886301"/>
                  </a:lnTo>
                  <a:lnTo>
                    <a:pt x="214122" y="896398"/>
                  </a:lnTo>
                  <a:lnTo>
                    <a:pt x="202787" y="876014"/>
                  </a:lnTo>
                  <a:lnTo>
                    <a:pt x="202311" y="870394"/>
                  </a:lnTo>
                  <a:lnTo>
                    <a:pt x="203740" y="867442"/>
                  </a:lnTo>
                  <a:lnTo>
                    <a:pt x="204502" y="862870"/>
                  </a:lnTo>
                  <a:lnTo>
                    <a:pt x="203263" y="859727"/>
                  </a:lnTo>
                  <a:lnTo>
                    <a:pt x="201549" y="856679"/>
                  </a:lnTo>
                  <a:lnTo>
                    <a:pt x="198406" y="854488"/>
                  </a:lnTo>
                  <a:lnTo>
                    <a:pt x="189548" y="850678"/>
                  </a:lnTo>
                  <a:lnTo>
                    <a:pt x="179832" y="848487"/>
                  </a:lnTo>
                  <a:lnTo>
                    <a:pt x="174403" y="844963"/>
                  </a:lnTo>
                  <a:lnTo>
                    <a:pt x="165163" y="845725"/>
                  </a:lnTo>
                  <a:lnTo>
                    <a:pt x="159829" y="847439"/>
                  </a:lnTo>
                  <a:lnTo>
                    <a:pt x="133731" y="870109"/>
                  </a:lnTo>
                  <a:lnTo>
                    <a:pt x="138589" y="877157"/>
                  </a:lnTo>
                  <a:lnTo>
                    <a:pt x="139256" y="879062"/>
                  </a:lnTo>
                  <a:lnTo>
                    <a:pt x="138970" y="885444"/>
                  </a:lnTo>
                  <a:lnTo>
                    <a:pt x="130016" y="892969"/>
                  </a:lnTo>
                  <a:lnTo>
                    <a:pt x="126587" y="891350"/>
                  </a:lnTo>
                  <a:lnTo>
                    <a:pt x="121920" y="890778"/>
                  </a:lnTo>
                  <a:lnTo>
                    <a:pt x="117634" y="894683"/>
                  </a:lnTo>
                  <a:lnTo>
                    <a:pt x="115633" y="899065"/>
                  </a:lnTo>
                  <a:lnTo>
                    <a:pt x="110585" y="906685"/>
                  </a:lnTo>
                  <a:lnTo>
                    <a:pt x="102584" y="914400"/>
                  </a:lnTo>
                  <a:lnTo>
                    <a:pt x="97631" y="915352"/>
                  </a:lnTo>
                  <a:lnTo>
                    <a:pt x="94012" y="913733"/>
                  </a:lnTo>
                  <a:lnTo>
                    <a:pt x="89535" y="906209"/>
                  </a:lnTo>
                  <a:lnTo>
                    <a:pt x="82677" y="900684"/>
                  </a:lnTo>
                  <a:lnTo>
                    <a:pt x="75629" y="905447"/>
                  </a:lnTo>
                  <a:lnTo>
                    <a:pt x="72771" y="908685"/>
                  </a:lnTo>
                  <a:lnTo>
                    <a:pt x="61913" y="917734"/>
                  </a:lnTo>
                  <a:lnTo>
                    <a:pt x="56959" y="918591"/>
                  </a:lnTo>
                  <a:lnTo>
                    <a:pt x="50863" y="912305"/>
                  </a:lnTo>
                  <a:lnTo>
                    <a:pt x="46958" y="905732"/>
                  </a:lnTo>
                  <a:lnTo>
                    <a:pt x="14002" y="875919"/>
                  </a:lnTo>
                  <a:lnTo>
                    <a:pt x="15240" y="885158"/>
                  </a:lnTo>
                  <a:lnTo>
                    <a:pt x="16574" y="888873"/>
                  </a:lnTo>
                  <a:lnTo>
                    <a:pt x="21622" y="896588"/>
                  </a:lnTo>
                  <a:lnTo>
                    <a:pt x="22765" y="899731"/>
                  </a:lnTo>
                  <a:lnTo>
                    <a:pt x="25051" y="904494"/>
                  </a:lnTo>
                  <a:lnTo>
                    <a:pt x="20765" y="909352"/>
                  </a:lnTo>
                  <a:lnTo>
                    <a:pt x="19145" y="915924"/>
                  </a:lnTo>
                  <a:lnTo>
                    <a:pt x="16383" y="921068"/>
                  </a:lnTo>
                  <a:lnTo>
                    <a:pt x="5906" y="928021"/>
                  </a:lnTo>
                  <a:lnTo>
                    <a:pt x="95" y="933545"/>
                  </a:lnTo>
                  <a:lnTo>
                    <a:pt x="0" y="933640"/>
                  </a:lnTo>
                  <a:lnTo>
                    <a:pt x="29528" y="967073"/>
                  </a:lnTo>
                  <a:lnTo>
                    <a:pt x="64579" y="990505"/>
                  </a:lnTo>
                  <a:lnTo>
                    <a:pt x="86487" y="1005173"/>
                  </a:lnTo>
                  <a:lnTo>
                    <a:pt x="110585" y="1032415"/>
                  </a:lnTo>
                  <a:lnTo>
                    <a:pt x="149162" y="1066133"/>
                  </a:lnTo>
                  <a:lnTo>
                    <a:pt x="158972" y="1081469"/>
                  </a:lnTo>
                  <a:lnTo>
                    <a:pt x="168021" y="1102614"/>
                  </a:lnTo>
                  <a:lnTo>
                    <a:pt x="188595" y="1139762"/>
                  </a:lnTo>
                  <a:lnTo>
                    <a:pt x="212979" y="1158335"/>
                  </a:lnTo>
                  <a:lnTo>
                    <a:pt x="266986" y="1184624"/>
                  </a:lnTo>
                  <a:lnTo>
                    <a:pt x="288893" y="1190720"/>
                  </a:lnTo>
                  <a:lnTo>
                    <a:pt x="311182" y="1192435"/>
                  </a:lnTo>
                  <a:lnTo>
                    <a:pt x="319373" y="1177957"/>
                  </a:lnTo>
                  <a:lnTo>
                    <a:pt x="328898" y="1172718"/>
                  </a:lnTo>
                  <a:lnTo>
                    <a:pt x="339376" y="1173861"/>
                  </a:lnTo>
                  <a:lnTo>
                    <a:pt x="360045" y="1182148"/>
                  </a:lnTo>
                  <a:lnTo>
                    <a:pt x="368999" y="1181481"/>
                  </a:lnTo>
                  <a:lnTo>
                    <a:pt x="400050" y="1165479"/>
                  </a:lnTo>
                  <a:lnTo>
                    <a:pt x="407861" y="1156335"/>
                  </a:lnTo>
                  <a:lnTo>
                    <a:pt x="430149" y="1115187"/>
                  </a:lnTo>
                  <a:lnTo>
                    <a:pt x="452628" y="1087565"/>
                  </a:lnTo>
                  <a:lnTo>
                    <a:pt x="461010" y="1082231"/>
                  </a:lnTo>
                  <a:lnTo>
                    <a:pt x="461677" y="1081850"/>
                  </a:lnTo>
                  <a:lnTo>
                    <a:pt x="512159" y="1075373"/>
                  </a:lnTo>
                  <a:lnTo>
                    <a:pt x="527971" y="1077944"/>
                  </a:lnTo>
                  <a:lnTo>
                    <a:pt x="536448" y="1082612"/>
                  </a:lnTo>
                  <a:lnTo>
                    <a:pt x="560737" y="1103376"/>
                  </a:lnTo>
                  <a:lnTo>
                    <a:pt x="571500" y="1109377"/>
                  </a:lnTo>
                  <a:lnTo>
                    <a:pt x="579025" y="1106138"/>
                  </a:lnTo>
                  <a:lnTo>
                    <a:pt x="597218" y="1088327"/>
                  </a:lnTo>
                  <a:lnTo>
                    <a:pt x="605218" y="1078802"/>
                  </a:lnTo>
                  <a:lnTo>
                    <a:pt x="614934" y="1090232"/>
                  </a:lnTo>
                  <a:lnTo>
                    <a:pt x="627031" y="1097471"/>
                  </a:lnTo>
                  <a:lnTo>
                    <a:pt x="639890" y="1101376"/>
                  </a:lnTo>
                  <a:lnTo>
                    <a:pt x="688848" y="1105853"/>
                  </a:lnTo>
                  <a:lnTo>
                    <a:pt x="699802" y="1104424"/>
                  </a:lnTo>
                  <a:lnTo>
                    <a:pt x="703231" y="1093851"/>
                  </a:lnTo>
                  <a:lnTo>
                    <a:pt x="706660" y="1078992"/>
                  </a:lnTo>
                  <a:lnTo>
                    <a:pt x="709327" y="1046035"/>
                  </a:lnTo>
                  <a:lnTo>
                    <a:pt x="720185" y="1015270"/>
                  </a:lnTo>
                  <a:lnTo>
                    <a:pt x="758952" y="989552"/>
                  </a:lnTo>
                  <a:lnTo>
                    <a:pt x="764953" y="978694"/>
                  </a:lnTo>
                  <a:lnTo>
                    <a:pt x="771620" y="966883"/>
                  </a:lnTo>
                  <a:lnTo>
                    <a:pt x="773240" y="950119"/>
                  </a:lnTo>
                  <a:lnTo>
                    <a:pt x="785432" y="937546"/>
                  </a:lnTo>
                  <a:lnTo>
                    <a:pt x="811911" y="917067"/>
                  </a:lnTo>
                  <a:lnTo>
                    <a:pt x="816674" y="907828"/>
                  </a:lnTo>
                  <a:lnTo>
                    <a:pt x="820102" y="899255"/>
                  </a:lnTo>
                  <a:lnTo>
                    <a:pt x="823913" y="891635"/>
                  </a:lnTo>
                  <a:lnTo>
                    <a:pt x="830009" y="885254"/>
                  </a:lnTo>
                  <a:lnTo>
                    <a:pt x="834961" y="882777"/>
                  </a:lnTo>
                  <a:lnTo>
                    <a:pt x="851059" y="879253"/>
                  </a:lnTo>
                  <a:lnTo>
                    <a:pt x="867727" y="871156"/>
                  </a:lnTo>
                  <a:lnTo>
                    <a:pt x="878300" y="863441"/>
                  </a:lnTo>
                  <a:lnTo>
                    <a:pt x="884968" y="858584"/>
                  </a:lnTo>
                  <a:lnTo>
                    <a:pt x="901636" y="852106"/>
                  </a:lnTo>
                  <a:lnTo>
                    <a:pt x="916400" y="862203"/>
                  </a:lnTo>
                  <a:lnTo>
                    <a:pt x="924306" y="848677"/>
                  </a:lnTo>
                  <a:lnTo>
                    <a:pt x="928021" y="833247"/>
                  </a:lnTo>
                  <a:lnTo>
                    <a:pt x="930211" y="816673"/>
                  </a:lnTo>
                  <a:lnTo>
                    <a:pt x="933641" y="800195"/>
                  </a:lnTo>
                  <a:lnTo>
                    <a:pt x="936879" y="792766"/>
                  </a:lnTo>
                  <a:lnTo>
                    <a:pt x="939927" y="788194"/>
                  </a:lnTo>
                  <a:lnTo>
                    <a:pt x="942308" y="782764"/>
                  </a:lnTo>
                  <a:lnTo>
                    <a:pt x="943070" y="772382"/>
                  </a:lnTo>
                  <a:lnTo>
                    <a:pt x="942023" y="764953"/>
                  </a:lnTo>
                  <a:close/>
                </a:path>
              </a:pathLst>
            </a:custGeom>
            <a:grpFill/>
            <a:ln w="9525" cap="sq">
              <a:noFill/>
              <a:prstDash val="solid"/>
              <a:bevel/>
            </a:ln>
          </p:spPr>
          <p:txBody>
            <a:bodyPr rtlCol="0" anchor="ctr"/>
            <a:lstStyle/>
            <a:p>
              <a:endParaRPr lang="cs-CZ"/>
            </a:p>
          </p:txBody>
        </p:sp>
        <p:sp>
          <p:nvSpPr>
            <p:cNvPr id="150" name="Freeform: Shape 149">
              <a:extLst>
                <a:ext uri="{FF2B5EF4-FFF2-40B4-BE49-F238E27FC236}">
                  <a16:creationId xmlns:a16="http://schemas.microsoft.com/office/drawing/2014/main" id="{C28B6A3D-3096-5B31-AF53-AFE86E390331}"/>
                </a:ext>
              </a:extLst>
            </p:cNvPr>
            <p:cNvSpPr/>
            <p:nvPr/>
          </p:nvSpPr>
          <p:spPr>
            <a:xfrm>
              <a:off x="7958277" y="6474045"/>
              <a:ext cx="853440" cy="1203769"/>
            </a:xfrm>
            <a:custGeom>
              <a:avLst/>
              <a:gdLst>
                <a:gd name="connsiteX0" fmla="*/ 844772 w 853440"/>
                <a:gd name="connsiteY0" fmla="*/ 302324 h 1203769"/>
                <a:gd name="connsiteX1" fmla="*/ 843058 w 853440"/>
                <a:gd name="connsiteY1" fmla="*/ 295180 h 1203769"/>
                <a:gd name="connsiteX2" fmla="*/ 842867 w 853440"/>
                <a:gd name="connsiteY2" fmla="*/ 288036 h 1203769"/>
                <a:gd name="connsiteX3" fmla="*/ 841724 w 853440"/>
                <a:gd name="connsiteY3" fmla="*/ 282416 h 1203769"/>
                <a:gd name="connsiteX4" fmla="*/ 836771 w 853440"/>
                <a:gd name="connsiteY4" fmla="*/ 280130 h 1203769"/>
                <a:gd name="connsiteX5" fmla="*/ 823532 w 853440"/>
                <a:gd name="connsiteY5" fmla="*/ 276987 h 1203769"/>
                <a:gd name="connsiteX6" fmla="*/ 803243 w 853440"/>
                <a:gd name="connsiteY6" fmla="*/ 265271 h 1203769"/>
                <a:gd name="connsiteX7" fmla="*/ 788956 w 853440"/>
                <a:gd name="connsiteY7" fmla="*/ 252698 h 1203769"/>
                <a:gd name="connsiteX8" fmla="*/ 771716 w 853440"/>
                <a:gd name="connsiteY8" fmla="*/ 237554 h 1203769"/>
                <a:gd name="connsiteX9" fmla="*/ 743903 w 853440"/>
                <a:gd name="connsiteY9" fmla="*/ 202502 h 1203769"/>
                <a:gd name="connsiteX10" fmla="*/ 657130 w 853440"/>
                <a:gd name="connsiteY10" fmla="*/ 126683 h 1203769"/>
                <a:gd name="connsiteX11" fmla="*/ 635603 w 853440"/>
                <a:gd name="connsiteY11" fmla="*/ 94488 h 1203769"/>
                <a:gd name="connsiteX12" fmla="*/ 631793 w 853440"/>
                <a:gd name="connsiteY12" fmla="*/ 83820 h 1203769"/>
                <a:gd name="connsiteX13" fmla="*/ 630269 w 853440"/>
                <a:gd name="connsiteY13" fmla="*/ 69056 h 1203769"/>
                <a:gd name="connsiteX14" fmla="*/ 631698 w 853440"/>
                <a:gd name="connsiteY14" fmla="*/ 39148 h 1203769"/>
                <a:gd name="connsiteX15" fmla="*/ 635413 w 853440"/>
                <a:gd name="connsiteY15" fmla="*/ 11620 h 1203769"/>
                <a:gd name="connsiteX16" fmla="*/ 637222 w 853440"/>
                <a:gd name="connsiteY16" fmla="*/ 6382 h 1203769"/>
                <a:gd name="connsiteX17" fmla="*/ 639223 w 853440"/>
                <a:gd name="connsiteY17" fmla="*/ 4572 h 1203769"/>
                <a:gd name="connsiteX18" fmla="*/ 639318 w 853440"/>
                <a:gd name="connsiteY18" fmla="*/ 3715 h 1203769"/>
                <a:gd name="connsiteX19" fmla="*/ 635413 w 853440"/>
                <a:gd name="connsiteY19" fmla="*/ 1238 h 1203769"/>
                <a:gd name="connsiteX20" fmla="*/ 629793 w 853440"/>
                <a:gd name="connsiteY20" fmla="*/ 0 h 1203769"/>
                <a:gd name="connsiteX21" fmla="*/ 624650 w 853440"/>
                <a:gd name="connsiteY21" fmla="*/ 2095 h 1203769"/>
                <a:gd name="connsiteX22" fmla="*/ 619887 w 853440"/>
                <a:gd name="connsiteY22" fmla="*/ 5143 h 1203769"/>
                <a:gd name="connsiteX23" fmla="*/ 615506 w 853440"/>
                <a:gd name="connsiteY23" fmla="*/ 6668 h 1203769"/>
                <a:gd name="connsiteX24" fmla="*/ 606552 w 853440"/>
                <a:gd name="connsiteY24" fmla="*/ 7334 h 1203769"/>
                <a:gd name="connsiteX25" fmla="*/ 589979 w 853440"/>
                <a:gd name="connsiteY25" fmla="*/ 12573 h 1203769"/>
                <a:gd name="connsiteX26" fmla="*/ 477393 w 853440"/>
                <a:gd name="connsiteY26" fmla="*/ 74486 h 1203769"/>
                <a:gd name="connsiteX27" fmla="*/ 401383 w 853440"/>
                <a:gd name="connsiteY27" fmla="*/ 116110 h 1203769"/>
                <a:gd name="connsiteX28" fmla="*/ 384524 w 853440"/>
                <a:gd name="connsiteY28" fmla="*/ 121444 h 1203769"/>
                <a:gd name="connsiteX29" fmla="*/ 312706 w 853440"/>
                <a:gd name="connsiteY29" fmla="*/ 126397 h 1203769"/>
                <a:gd name="connsiteX30" fmla="*/ 296418 w 853440"/>
                <a:gd name="connsiteY30" fmla="*/ 135350 h 1203769"/>
                <a:gd name="connsiteX31" fmla="*/ 284512 w 853440"/>
                <a:gd name="connsiteY31" fmla="*/ 148781 h 1203769"/>
                <a:gd name="connsiteX32" fmla="*/ 254318 w 853440"/>
                <a:gd name="connsiteY32" fmla="*/ 208312 h 1203769"/>
                <a:gd name="connsiteX33" fmla="*/ 241649 w 853440"/>
                <a:gd name="connsiteY33" fmla="*/ 233267 h 1203769"/>
                <a:gd name="connsiteX34" fmla="*/ 213836 w 853440"/>
                <a:gd name="connsiteY34" fmla="*/ 270224 h 1203769"/>
                <a:gd name="connsiteX35" fmla="*/ 211455 w 853440"/>
                <a:gd name="connsiteY35" fmla="*/ 276701 h 1203769"/>
                <a:gd name="connsiteX36" fmla="*/ 199263 w 853440"/>
                <a:gd name="connsiteY36" fmla="*/ 309182 h 1203769"/>
                <a:gd name="connsiteX37" fmla="*/ 193929 w 853440"/>
                <a:gd name="connsiteY37" fmla="*/ 315087 h 1203769"/>
                <a:gd name="connsiteX38" fmla="*/ 187262 w 853440"/>
                <a:gd name="connsiteY38" fmla="*/ 318992 h 1203769"/>
                <a:gd name="connsiteX39" fmla="*/ 181070 w 853440"/>
                <a:gd name="connsiteY39" fmla="*/ 328803 h 1203769"/>
                <a:gd name="connsiteX40" fmla="*/ 176403 w 853440"/>
                <a:gd name="connsiteY40" fmla="*/ 341567 h 1203769"/>
                <a:gd name="connsiteX41" fmla="*/ 173831 w 853440"/>
                <a:gd name="connsiteY41" fmla="*/ 354425 h 1203769"/>
                <a:gd name="connsiteX42" fmla="*/ 172974 w 853440"/>
                <a:gd name="connsiteY42" fmla="*/ 369475 h 1203769"/>
                <a:gd name="connsiteX43" fmla="*/ 173831 w 853440"/>
                <a:gd name="connsiteY43" fmla="*/ 416338 h 1203769"/>
                <a:gd name="connsiteX44" fmla="*/ 172974 w 853440"/>
                <a:gd name="connsiteY44" fmla="*/ 422529 h 1203769"/>
                <a:gd name="connsiteX45" fmla="*/ 169259 w 853440"/>
                <a:gd name="connsiteY45" fmla="*/ 432721 h 1203769"/>
                <a:gd name="connsiteX46" fmla="*/ 168402 w 853440"/>
                <a:gd name="connsiteY46" fmla="*/ 440436 h 1203769"/>
                <a:gd name="connsiteX47" fmla="*/ 172688 w 853440"/>
                <a:gd name="connsiteY47" fmla="*/ 459677 h 1203769"/>
                <a:gd name="connsiteX48" fmla="*/ 173831 w 853440"/>
                <a:gd name="connsiteY48" fmla="*/ 467297 h 1203769"/>
                <a:gd name="connsiteX49" fmla="*/ 173355 w 853440"/>
                <a:gd name="connsiteY49" fmla="*/ 496443 h 1203769"/>
                <a:gd name="connsiteX50" fmla="*/ 168688 w 853440"/>
                <a:gd name="connsiteY50" fmla="*/ 521970 h 1203769"/>
                <a:gd name="connsiteX51" fmla="*/ 161258 w 853440"/>
                <a:gd name="connsiteY51" fmla="*/ 542449 h 1203769"/>
                <a:gd name="connsiteX52" fmla="*/ 152495 w 853440"/>
                <a:gd name="connsiteY52" fmla="*/ 556165 h 1203769"/>
                <a:gd name="connsiteX53" fmla="*/ 140018 w 853440"/>
                <a:gd name="connsiteY53" fmla="*/ 567690 h 1203769"/>
                <a:gd name="connsiteX54" fmla="*/ 129159 w 853440"/>
                <a:gd name="connsiteY54" fmla="*/ 577691 h 1203769"/>
                <a:gd name="connsiteX55" fmla="*/ 124301 w 853440"/>
                <a:gd name="connsiteY55" fmla="*/ 580644 h 1203769"/>
                <a:gd name="connsiteX56" fmla="*/ 120396 w 853440"/>
                <a:gd name="connsiteY56" fmla="*/ 585121 h 1203769"/>
                <a:gd name="connsiteX57" fmla="*/ 106109 w 853440"/>
                <a:gd name="connsiteY57" fmla="*/ 607219 h 1203769"/>
                <a:gd name="connsiteX58" fmla="*/ 99060 w 853440"/>
                <a:gd name="connsiteY58" fmla="*/ 614744 h 1203769"/>
                <a:gd name="connsiteX59" fmla="*/ 73343 w 853440"/>
                <a:gd name="connsiteY59" fmla="*/ 630460 h 1203769"/>
                <a:gd name="connsiteX60" fmla="*/ 69628 w 853440"/>
                <a:gd name="connsiteY60" fmla="*/ 637032 h 1203769"/>
                <a:gd name="connsiteX61" fmla="*/ 37624 w 853440"/>
                <a:gd name="connsiteY61" fmla="*/ 658463 h 1203769"/>
                <a:gd name="connsiteX62" fmla="*/ 32766 w 853440"/>
                <a:gd name="connsiteY62" fmla="*/ 670846 h 1203769"/>
                <a:gd name="connsiteX63" fmla="*/ 33338 w 853440"/>
                <a:gd name="connsiteY63" fmla="*/ 682943 h 1203769"/>
                <a:gd name="connsiteX64" fmla="*/ 36100 w 853440"/>
                <a:gd name="connsiteY64" fmla="*/ 695611 h 1203769"/>
                <a:gd name="connsiteX65" fmla="*/ 37624 w 853440"/>
                <a:gd name="connsiteY65" fmla="*/ 709708 h 1203769"/>
                <a:gd name="connsiteX66" fmla="*/ 34957 w 853440"/>
                <a:gd name="connsiteY66" fmla="*/ 770477 h 1203769"/>
                <a:gd name="connsiteX67" fmla="*/ 30290 w 853440"/>
                <a:gd name="connsiteY67" fmla="*/ 793528 h 1203769"/>
                <a:gd name="connsiteX68" fmla="*/ 20288 w 853440"/>
                <a:gd name="connsiteY68" fmla="*/ 822674 h 1203769"/>
                <a:gd name="connsiteX69" fmla="*/ 16383 w 853440"/>
                <a:gd name="connsiteY69" fmla="*/ 834200 h 1203769"/>
                <a:gd name="connsiteX70" fmla="*/ 12383 w 853440"/>
                <a:gd name="connsiteY70" fmla="*/ 863156 h 1203769"/>
                <a:gd name="connsiteX71" fmla="*/ 10382 w 853440"/>
                <a:gd name="connsiteY71" fmla="*/ 866204 h 1203769"/>
                <a:gd name="connsiteX72" fmla="*/ 9239 w 853440"/>
                <a:gd name="connsiteY72" fmla="*/ 869442 h 1203769"/>
                <a:gd name="connsiteX73" fmla="*/ 10859 w 853440"/>
                <a:gd name="connsiteY73" fmla="*/ 877252 h 1203769"/>
                <a:gd name="connsiteX74" fmla="*/ 13526 w 853440"/>
                <a:gd name="connsiteY74" fmla="*/ 882777 h 1203769"/>
                <a:gd name="connsiteX75" fmla="*/ 16383 w 853440"/>
                <a:gd name="connsiteY75" fmla="*/ 884301 h 1203769"/>
                <a:gd name="connsiteX76" fmla="*/ 19907 w 853440"/>
                <a:gd name="connsiteY76" fmla="*/ 884777 h 1203769"/>
                <a:gd name="connsiteX77" fmla="*/ 24194 w 853440"/>
                <a:gd name="connsiteY77" fmla="*/ 886873 h 1203769"/>
                <a:gd name="connsiteX78" fmla="*/ 31052 w 853440"/>
                <a:gd name="connsiteY78" fmla="*/ 892874 h 1203769"/>
                <a:gd name="connsiteX79" fmla="*/ 32861 w 853440"/>
                <a:gd name="connsiteY79" fmla="*/ 896112 h 1203769"/>
                <a:gd name="connsiteX80" fmla="*/ 34957 w 853440"/>
                <a:gd name="connsiteY80" fmla="*/ 901351 h 1203769"/>
                <a:gd name="connsiteX81" fmla="*/ 36862 w 853440"/>
                <a:gd name="connsiteY81" fmla="*/ 908209 h 1203769"/>
                <a:gd name="connsiteX82" fmla="*/ 38576 w 853440"/>
                <a:gd name="connsiteY82" fmla="*/ 920591 h 1203769"/>
                <a:gd name="connsiteX83" fmla="*/ 40386 w 853440"/>
                <a:gd name="connsiteY83" fmla="*/ 925354 h 1203769"/>
                <a:gd name="connsiteX84" fmla="*/ 38767 w 853440"/>
                <a:gd name="connsiteY84" fmla="*/ 932974 h 1203769"/>
                <a:gd name="connsiteX85" fmla="*/ 38195 w 853440"/>
                <a:gd name="connsiteY85" fmla="*/ 944880 h 1203769"/>
                <a:gd name="connsiteX86" fmla="*/ 38957 w 853440"/>
                <a:gd name="connsiteY86" fmla="*/ 957453 h 1203769"/>
                <a:gd name="connsiteX87" fmla="*/ 43339 w 853440"/>
                <a:gd name="connsiteY87" fmla="*/ 972217 h 1203769"/>
                <a:gd name="connsiteX88" fmla="*/ 42291 w 853440"/>
                <a:gd name="connsiteY88" fmla="*/ 977741 h 1203769"/>
                <a:gd name="connsiteX89" fmla="*/ 39624 w 853440"/>
                <a:gd name="connsiteY89" fmla="*/ 981837 h 1203769"/>
                <a:gd name="connsiteX90" fmla="*/ 36290 w 853440"/>
                <a:gd name="connsiteY90" fmla="*/ 983552 h 1203769"/>
                <a:gd name="connsiteX91" fmla="*/ 33052 w 853440"/>
                <a:gd name="connsiteY91" fmla="*/ 981456 h 1203769"/>
                <a:gd name="connsiteX92" fmla="*/ 24194 w 853440"/>
                <a:gd name="connsiteY92" fmla="*/ 968693 h 1203769"/>
                <a:gd name="connsiteX93" fmla="*/ 29718 w 853440"/>
                <a:gd name="connsiteY93" fmla="*/ 959549 h 1203769"/>
                <a:gd name="connsiteX94" fmla="*/ 29718 w 853440"/>
                <a:gd name="connsiteY94" fmla="*/ 954691 h 1203769"/>
                <a:gd name="connsiteX95" fmla="*/ 29718 w 853440"/>
                <a:gd name="connsiteY95" fmla="*/ 944690 h 1203769"/>
                <a:gd name="connsiteX96" fmla="*/ 26861 w 853440"/>
                <a:gd name="connsiteY96" fmla="*/ 942975 h 1203769"/>
                <a:gd name="connsiteX97" fmla="*/ 24194 w 853440"/>
                <a:gd name="connsiteY97" fmla="*/ 940308 h 1203769"/>
                <a:gd name="connsiteX98" fmla="*/ 29718 w 853440"/>
                <a:gd name="connsiteY98" fmla="*/ 930688 h 1203769"/>
                <a:gd name="connsiteX99" fmla="*/ 26194 w 853440"/>
                <a:gd name="connsiteY99" fmla="*/ 922306 h 1203769"/>
                <a:gd name="connsiteX100" fmla="*/ 21622 w 853440"/>
                <a:gd name="connsiteY100" fmla="*/ 924116 h 1203769"/>
                <a:gd name="connsiteX101" fmla="*/ 20860 w 853440"/>
                <a:gd name="connsiteY101" fmla="*/ 934212 h 1203769"/>
                <a:gd name="connsiteX102" fmla="*/ 19907 w 853440"/>
                <a:gd name="connsiteY102" fmla="*/ 941261 h 1203769"/>
                <a:gd name="connsiteX103" fmla="*/ 14383 w 853440"/>
                <a:gd name="connsiteY103" fmla="*/ 942118 h 1203769"/>
                <a:gd name="connsiteX104" fmla="*/ 13526 w 853440"/>
                <a:gd name="connsiteY104" fmla="*/ 949833 h 1203769"/>
                <a:gd name="connsiteX105" fmla="*/ 11621 w 853440"/>
                <a:gd name="connsiteY105" fmla="*/ 956310 h 1203769"/>
                <a:gd name="connsiteX106" fmla="*/ 9335 w 853440"/>
                <a:gd name="connsiteY106" fmla="*/ 961739 h 1203769"/>
                <a:gd name="connsiteX107" fmla="*/ 4096 w 853440"/>
                <a:gd name="connsiteY107" fmla="*/ 971264 h 1203769"/>
                <a:gd name="connsiteX108" fmla="*/ 762 w 853440"/>
                <a:gd name="connsiteY108" fmla="*/ 982123 h 1203769"/>
                <a:gd name="connsiteX109" fmla="*/ 0 w 853440"/>
                <a:gd name="connsiteY109" fmla="*/ 995553 h 1203769"/>
                <a:gd name="connsiteX110" fmla="*/ 953 w 853440"/>
                <a:gd name="connsiteY110" fmla="*/ 1009650 h 1203769"/>
                <a:gd name="connsiteX111" fmla="*/ 5048 w 853440"/>
                <a:gd name="connsiteY111" fmla="*/ 1037273 h 1203769"/>
                <a:gd name="connsiteX112" fmla="*/ 5525 w 853440"/>
                <a:gd name="connsiteY112" fmla="*/ 1043654 h 1203769"/>
                <a:gd name="connsiteX113" fmla="*/ 5525 w 853440"/>
                <a:gd name="connsiteY113" fmla="*/ 1051179 h 1203769"/>
                <a:gd name="connsiteX114" fmla="*/ 4572 w 853440"/>
                <a:gd name="connsiteY114" fmla="*/ 1059180 h 1203769"/>
                <a:gd name="connsiteX115" fmla="*/ 953 w 853440"/>
                <a:gd name="connsiteY115" fmla="*/ 1072896 h 1203769"/>
                <a:gd name="connsiteX116" fmla="*/ 191 w 853440"/>
                <a:gd name="connsiteY116" fmla="*/ 1077278 h 1203769"/>
                <a:gd name="connsiteX117" fmla="*/ 1905 w 853440"/>
                <a:gd name="connsiteY117" fmla="*/ 1092327 h 1203769"/>
                <a:gd name="connsiteX118" fmla="*/ 6096 w 853440"/>
                <a:gd name="connsiteY118" fmla="*/ 1107472 h 1203769"/>
                <a:gd name="connsiteX119" fmla="*/ 23527 w 853440"/>
                <a:gd name="connsiteY119" fmla="*/ 1151573 h 1203769"/>
                <a:gd name="connsiteX120" fmla="*/ 28956 w 853440"/>
                <a:gd name="connsiteY120" fmla="*/ 1174433 h 1203769"/>
                <a:gd name="connsiteX121" fmla="*/ 32766 w 853440"/>
                <a:gd name="connsiteY121" fmla="*/ 1200341 h 1203769"/>
                <a:gd name="connsiteX122" fmla="*/ 33052 w 853440"/>
                <a:gd name="connsiteY122" fmla="*/ 1203484 h 1203769"/>
                <a:gd name="connsiteX123" fmla="*/ 33052 w 853440"/>
                <a:gd name="connsiteY123" fmla="*/ 1203770 h 1203769"/>
                <a:gd name="connsiteX124" fmla="*/ 47816 w 853440"/>
                <a:gd name="connsiteY124" fmla="*/ 1200055 h 1203769"/>
                <a:gd name="connsiteX125" fmla="*/ 70771 w 853440"/>
                <a:gd name="connsiteY125" fmla="*/ 1199864 h 1203769"/>
                <a:gd name="connsiteX126" fmla="*/ 86392 w 853440"/>
                <a:gd name="connsiteY126" fmla="*/ 1195483 h 1203769"/>
                <a:gd name="connsiteX127" fmla="*/ 92202 w 853440"/>
                <a:gd name="connsiteY127" fmla="*/ 1182243 h 1203769"/>
                <a:gd name="connsiteX128" fmla="*/ 95060 w 853440"/>
                <a:gd name="connsiteY128" fmla="*/ 1163003 h 1203769"/>
                <a:gd name="connsiteX129" fmla="*/ 101727 w 853440"/>
                <a:gd name="connsiteY129" fmla="*/ 1140524 h 1203769"/>
                <a:gd name="connsiteX130" fmla="*/ 111538 w 853440"/>
                <a:gd name="connsiteY130" fmla="*/ 1125093 h 1203769"/>
                <a:gd name="connsiteX131" fmla="*/ 125349 w 853440"/>
                <a:gd name="connsiteY131" fmla="*/ 1109853 h 1203769"/>
                <a:gd name="connsiteX132" fmla="*/ 139827 w 853440"/>
                <a:gd name="connsiteY132" fmla="*/ 1097661 h 1203769"/>
                <a:gd name="connsiteX133" fmla="*/ 151829 w 853440"/>
                <a:gd name="connsiteY133" fmla="*/ 1091470 h 1203769"/>
                <a:gd name="connsiteX134" fmla="*/ 169450 w 853440"/>
                <a:gd name="connsiteY134" fmla="*/ 1090613 h 1203769"/>
                <a:gd name="connsiteX135" fmla="*/ 175546 w 853440"/>
                <a:gd name="connsiteY135" fmla="*/ 1088517 h 1203769"/>
                <a:gd name="connsiteX136" fmla="*/ 201359 w 853440"/>
                <a:gd name="connsiteY136" fmla="*/ 1068610 h 1203769"/>
                <a:gd name="connsiteX137" fmla="*/ 229934 w 853440"/>
                <a:gd name="connsiteY137" fmla="*/ 1046512 h 1203769"/>
                <a:gd name="connsiteX138" fmla="*/ 244316 w 853440"/>
                <a:gd name="connsiteY138" fmla="*/ 1039082 h 1203769"/>
                <a:gd name="connsiteX139" fmla="*/ 278797 w 853440"/>
                <a:gd name="connsiteY139" fmla="*/ 1037558 h 1203769"/>
                <a:gd name="connsiteX140" fmla="*/ 299085 w 853440"/>
                <a:gd name="connsiteY140" fmla="*/ 1027938 h 1203769"/>
                <a:gd name="connsiteX141" fmla="*/ 388144 w 853440"/>
                <a:gd name="connsiteY141" fmla="*/ 985838 h 1203769"/>
                <a:gd name="connsiteX142" fmla="*/ 395097 w 853440"/>
                <a:gd name="connsiteY142" fmla="*/ 982599 h 1203769"/>
                <a:gd name="connsiteX143" fmla="*/ 438341 w 853440"/>
                <a:gd name="connsiteY143" fmla="*/ 962120 h 1203769"/>
                <a:gd name="connsiteX144" fmla="*/ 455867 w 853440"/>
                <a:gd name="connsiteY144" fmla="*/ 963359 h 1203769"/>
                <a:gd name="connsiteX145" fmla="*/ 463201 w 853440"/>
                <a:gd name="connsiteY145" fmla="*/ 967169 h 1203769"/>
                <a:gd name="connsiteX146" fmla="*/ 477679 w 853440"/>
                <a:gd name="connsiteY146" fmla="*/ 978027 h 1203769"/>
                <a:gd name="connsiteX147" fmla="*/ 485299 w 853440"/>
                <a:gd name="connsiteY147" fmla="*/ 981170 h 1203769"/>
                <a:gd name="connsiteX148" fmla="*/ 600932 w 853440"/>
                <a:gd name="connsiteY148" fmla="*/ 977265 h 1203769"/>
                <a:gd name="connsiteX149" fmla="*/ 625888 w 853440"/>
                <a:gd name="connsiteY149" fmla="*/ 982980 h 1203769"/>
                <a:gd name="connsiteX150" fmla="*/ 626840 w 853440"/>
                <a:gd name="connsiteY150" fmla="*/ 983552 h 1203769"/>
                <a:gd name="connsiteX151" fmla="*/ 637127 w 853440"/>
                <a:gd name="connsiteY151" fmla="*/ 989076 h 1203769"/>
                <a:gd name="connsiteX152" fmla="*/ 654368 w 853440"/>
                <a:gd name="connsiteY152" fmla="*/ 1007364 h 1203769"/>
                <a:gd name="connsiteX153" fmla="*/ 661130 w 853440"/>
                <a:gd name="connsiteY153" fmla="*/ 1010221 h 1203769"/>
                <a:gd name="connsiteX154" fmla="*/ 667036 w 853440"/>
                <a:gd name="connsiteY154" fmla="*/ 1009269 h 1203769"/>
                <a:gd name="connsiteX155" fmla="*/ 722090 w 853440"/>
                <a:gd name="connsiteY155" fmla="*/ 986409 h 1203769"/>
                <a:gd name="connsiteX156" fmla="*/ 736378 w 853440"/>
                <a:gd name="connsiteY156" fmla="*/ 976408 h 1203769"/>
                <a:gd name="connsiteX157" fmla="*/ 735997 w 853440"/>
                <a:gd name="connsiteY157" fmla="*/ 976313 h 1203769"/>
                <a:gd name="connsiteX158" fmla="*/ 721709 w 853440"/>
                <a:gd name="connsiteY158" fmla="*/ 972502 h 1203769"/>
                <a:gd name="connsiteX159" fmla="*/ 707708 w 853440"/>
                <a:gd name="connsiteY159" fmla="*/ 961454 h 1203769"/>
                <a:gd name="connsiteX160" fmla="*/ 700564 w 853440"/>
                <a:gd name="connsiteY160" fmla="*/ 958977 h 1203769"/>
                <a:gd name="connsiteX161" fmla="*/ 684562 w 853440"/>
                <a:gd name="connsiteY161" fmla="*/ 957072 h 1203769"/>
                <a:gd name="connsiteX162" fmla="*/ 688467 w 853440"/>
                <a:gd name="connsiteY162" fmla="*/ 943547 h 1203769"/>
                <a:gd name="connsiteX163" fmla="*/ 690944 w 853440"/>
                <a:gd name="connsiteY163" fmla="*/ 939641 h 1203769"/>
                <a:gd name="connsiteX164" fmla="*/ 692944 w 853440"/>
                <a:gd name="connsiteY164" fmla="*/ 935165 h 1203769"/>
                <a:gd name="connsiteX165" fmla="*/ 691706 w 853440"/>
                <a:gd name="connsiteY165" fmla="*/ 926402 h 1203769"/>
                <a:gd name="connsiteX166" fmla="*/ 690372 w 853440"/>
                <a:gd name="connsiteY166" fmla="*/ 921258 h 1203769"/>
                <a:gd name="connsiteX167" fmla="*/ 674751 w 853440"/>
                <a:gd name="connsiteY167" fmla="*/ 908685 h 1203769"/>
                <a:gd name="connsiteX168" fmla="*/ 678942 w 853440"/>
                <a:gd name="connsiteY168" fmla="*/ 857726 h 1203769"/>
                <a:gd name="connsiteX169" fmla="*/ 686848 w 853440"/>
                <a:gd name="connsiteY169" fmla="*/ 857822 h 1203769"/>
                <a:gd name="connsiteX170" fmla="*/ 688181 w 853440"/>
                <a:gd name="connsiteY170" fmla="*/ 857631 h 1203769"/>
                <a:gd name="connsiteX171" fmla="*/ 695706 w 853440"/>
                <a:gd name="connsiteY171" fmla="*/ 860108 h 1203769"/>
                <a:gd name="connsiteX172" fmla="*/ 702850 w 853440"/>
                <a:gd name="connsiteY172" fmla="*/ 856298 h 1203769"/>
                <a:gd name="connsiteX173" fmla="*/ 712470 w 853440"/>
                <a:gd name="connsiteY173" fmla="*/ 855631 h 1203769"/>
                <a:gd name="connsiteX174" fmla="*/ 709994 w 853440"/>
                <a:gd name="connsiteY174" fmla="*/ 848106 h 1203769"/>
                <a:gd name="connsiteX175" fmla="*/ 708755 w 853440"/>
                <a:gd name="connsiteY175" fmla="*/ 846487 h 1203769"/>
                <a:gd name="connsiteX176" fmla="*/ 707136 w 853440"/>
                <a:gd name="connsiteY176" fmla="*/ 843344 h 1203769"/>
                <a:gd name="connsiteX177" fmla="*/ 704850 w 853440"/>
                <a:gd name="connsiteY177" fmla="*/ 841915 h 1203769"/>
                <a:gd name="connsiteX178" fmla="*/ 704183 w 853440"/>
                <a:gd name="connsiteY178" fmla="*/ 839057 h 1203769"/>
                <a:gd name="connsiteX179" fmla="*/ 704088 w 853440"/>
                <a:gd name="connsiteY179" fmla="*/ 835628 h 1203769"/>
                <a:gd name="connsiteX180" fmla="*/ 704183 w 853440"/>
                <a:gd name="connsiteY180" fmla="*/ 832295 h 1203769"/>
                <a:gd name="connsiteX181" fmla="*/ 705707 w 853440"/>
                <a:gd name="connsiteY181" fmla="*/ 828961 h 1203769"/>
                <a:gd name="connsiteX182" fmla="*/ 710470 w 853440"/>
                <a:gd name="connsiteY182" fmla="*/ 828104 h 1203769"/>
                <a:gd name="connsiteX183" fmla="*/ 719900 w 853440"/>
                <a:gd name="connsiteY183" fmla="*/ 828104 h 1203769"/>
                <a:gd name="connsiteX184" fmla="*/ 724567 w 853440"/>
                <a:gd name="connsiteY184" fmla="*/ 825818 h 1203769"/>
                <a:gd name="connsiteX185" fmla="*/ 729044 w 853440"/>
                <a:gd name="connsiteY185" fmla="*/ 821150 h 1203769"/>
                <a:gd name="connsiteX186" fmla="*/ 734282 w 853440"/>
                <a:gd name="connsiteY186" fmla="*/ 811435 h 1203769"/>
                <a:gd name="connsiteX187" fmla="*/ 736283 w 853440"/>
                <a:gd name="connsiteY187" fmla="*/ 801910 h 1203769"/>
                <a:gd name="connsiteX188" fmla="*/ 727901 w 853440"/>
                <a:gd name="connsiteY188" fmla="*/ 791909 h 1203769"/>
                <a:gd name="connsiteX189" fmla="*/ 724376 w 853440"/>
                <a:gd name="connsiteY189" fmla="*/ 782574 h 1203769"/>
                <a:gd name="connsiteX190" fmla="*/ 715232 w 853440"/>
                <a:gd name="connsiteY190" fmla="*/ 777812 h 1203769"/>
                <a:gd name="connsiteX191" fmla="*/ 713232 w 853440"/>
                <a:gd name="connsiteY191" fmla="*/ 765239 h 1203769"/>
                <a:gd name="connsiteX192" fmla="*/ 723329 w 853440"/>
                <a:gd name="connsiteY192" fmla="*/ 763810 h 1203769"/>
                <a:gd name="connsiteX193" fmla="*/ 720376 w 853440"/>
                <a:gd name="connsiteY193" fmla="*/ 756571 h 1203769"/>
                <a:gd name="connsiteX194" fmla="*/ 718947 w 853440"/>
                <a:gd name="connsiteY194" fmla="*/ 754571 h 1203769"/>
                <a:gd name="connsiteX195" fmla="*/ 718757 w 853440"/>
                <a:gd name="connsiteY195" fmla="*/ 751618 h 1203769"/>
                <a:gd name="connsiteX196" fmla="*/ 720566 w 853440"/>
                <a:gd name="connsiteY196" fmla="*/ 749808 h 1203769"/>
                <a:gd name="connsiteX197" fmla="*/ 722852 w 853440"/>
                <a:gd name="connsiteY197" fmla="*/ 748379 h 1203769"/>
                <a:gd name="connsiteX198" fmla="*/ 724376 w 853440"/>
                <a:gd name="connsiteY198" fmla="*/ 743998 h 1203769"/>
                <a:gd name="connsiteX199" fmla="*/ 723519 w 853440"/>
                <a:gd name="connsiteY199" fmla="*/ 738473 h 1203769"/>
                <a:gd name="connsiteX200" fmla="*/ 721233 w 853440"/>
                <a:gd name="connsiteY200" fmla="*/ 711613 h 1203769"/>
                <a:gd name="connsiteX201" fmla="*/ 708374 w 853440"/>
                <a:gd name="connsiteY201" fmla="*/ 693706 h 1203769"/>
                <a:gd name="connsiteX202" fmla="*/ 708851 w 853440"/>
                <a:gd name="connsiteY202" fmla="*/ 688658 h 1203769"/>
                <a:gd name="connsiteX203" fmla="*/ 681514 w 853440"/>
                <a:gd name="connsiteY203" fmla="*/ 689991 h 1203769"/>
                <a:gd name="connsiteX204" fmla="*/ 666083 w 853440"/>
                <a:gd name="connsiteY204" fmla="*/ 684657 h 1203769"/>
                <a:gd name="connsiteX205" fmla="*/ 651605 w 853440"/>
                <a:gd name="connsiteY205" fmla="*/ 685610 h 1203769"/>
                <a:gd name="connsiteX206" fmla="*/ 653129 w 853440"/>
                <a:gd name="connsiteY206" fmla="*/ 679799 h 1203769"/>
                <a:gd name="connsiteX207" fmla="*/ 648653 w 853440"/>
                <a:gd name="connsiteY207" fmla="*/ 674275 h 1203769"/>
                <a:gd name="connsiteX208" fmla="*/ 629984 w 853440"/>
                <a:gd name="connsiteY208" fmla="*/ 665036 h 1203769"/>
                <a:gd name="connsiteX209" fmla="*/ 607124 w 853440"/>
                <a:gd name="connsiteY209" fmla="*/ 661797 h 1203769"/>
                <a:gd name="connsiteX210" fmla="*/ 592836 w 853440"/>
                <a:gd name="connsiteY210" fmla="*/ 654749 h 1203769"/>
                <a:gd name="connsiteX211" fmla="*/ 596551 w 853440"/>
                <a:gd name="connsiteY211" fmla="*/ 646557 h 1203769"/>
                <a:gd name="connsiteX212" fmla="*/ 598932 w 853440"/>
                <a:gd name="connsiteY212" fmla="*/ 643414 h 1203769"/>
                <a:gd name="connsiteX213" fmla="*/ 602075 w 853440"/>
                <a:gd name="connsiteY213" fmla="*/ 640175 h 1203769"/>
                <a:gd name="connsiteX214" fmla="*/ 603695 w 853440"/>
                <a:gd name="connsiteY214" fmla="*/ 636746 h 1203769"/>
                <a:gd name="connsiteX215" fmla="*/ 604552 w 853440"/>
                <a:gd name="connsiteY215" fmla="*/ 631127 h 1203769"/>
                <a:gd name="connsiteX216" fmla="*/ 604552 w 853440"/>
                <a:gd name="connsiteY216" fmla="*/ 619982 h 1203769"/>
                <a:gd name="connsiteX217" fmla="*/ 605885 w 853440"/>
                <a:gd name="connsiteY217" fmla="*/ 616553 h 1203769"/>
                <a:gd name="connsiteX218" fmla="*/ 607695 w 853440"/>
                <a:gd name="connsiteY218" fmla="*/ 613982 h 1203769"/>
                <a:gd name="connsiteX219" fmla="*/ 606743 w 853440"/>
                <a:gd name="connsiteY219" fmla="*/ 611029 h 1203769"/>
                <a:gd name="connsiteX220" fmla="*/ 601028 w 853440"/>
                <a:gd name="connsiteY220" fmla="*/ 607790 h 1203769"/>
                <a:gd name="connsiteX221" fmla="*/ 593408 w 853440"/>
                <a:gd name="connsiteY221" fmla="*/ 605885 h 1203769"/>
                <a:gd name="connsiteX222" fmla="*/ 578834 w 853440"/>
                <a:gd name="connsiteY222" fmla="*/ 608076 h 1203769"/>
                <a:gd name="connsiteX223" fmla="*/ 575120 w 853440"/>
                <a:gd name="connsiteY223" fmla="*/ 592741 h 1203769"/>
                <a:gd name="connsiteX224" fmla="*/ 579215 w 853440"/>
                <a:gd name="connsiteY224" fmla="*/ 591407 h 1203769"/>
                <a:gd name="connsiteX225" fmla="*/ 585597 w 853440"/>
                <a:gd name="connsiteY225" fmla="*/ 561308 h 1203769"/>
                <a:gd name="connsiteX226" fmla="*/ 599599 w 853440"/>
                <a:gd name="connsiteY226" fmla="*/ 538925 h 1203769"/>
                <a:gd name="connsiteX227" fmla="*/ 619601 w 853440"/>
                <a:gd name="connsiteY227" fmla="*/ 542830 h 1203769"/>
                <a:gd name="connsiteX228" fmla="*/ 631984 w 853440"/>
                <a:gd name="connsiteY228" fmla="*/ 532829 h 1203769"/>
                <a:gd name="connsiteX229" fmla="*/ 649224 w 853440"/>
                <a:gd name="connsiteY229" fmla="*/ 537496 h 1203769"/>
                <a:gd name="connsiteX230" fmla="*/ 654558 w 853440"/>
                <a:gd name="connsiteY230" fmla="*/ 519017 h 1203769"/>
                <a:gd name="connsiteX231" fmla="*/ 651510 w 853440"/>
                <a:gd name="connsiteY231" fmla="*/ 481012 h 1203769"/>
                <a:gd name="connsiteX232" fmla="*/ 662369 w 853440"/>
                <a:gd name="connsiteY232" fmla="*/ 478917 h 1203769"/>
                <a:gd name="connsiteX233" fmla="*/ 697897 w 853440"/>
                <a:gd name="connsiteY233" fmla="*/ 468440 h 1203769"/>
                <a:gd name="connsiteX234" fmla="*/ 710565 w 853440"/>
                <a:gd name="connsiteY234" fmla="*/ 458533 h 1203769"/>
                <a:gd name="connsiteX235" fmla="*/ 713994 w 853440"/>
                <a:gd name="connsiteY235" fmla="*/ 454724 h 1203769"/>
                <a:gd name="connsiteX236" fmla="*/ 716280 w 853440"/>
                <a:gd name="connsiteY236" fmla="*/ 450914 h 1203769"/>
                <a:gd name="connsiteX237" fmla="*/ 725329 w 853440"/>
                <a:gd name="connsiteY237" fmla="*/ 448532 h 1203769"/>
                <a:gd name="connsiteX238" fmla="*/ 756476 w 853440"/>
                <a:gd name="connsiteY238" fmla="*/ 450533 h 1203769"/>
                <a:gd name="connsiteX239" fmla="*/ 764191 w 853440"/>
                <a:gd name="connsiteY239" fmla="*/ 445199 h 1203769"/>
                <a:gd name="connsiteX240" fmla="*/ 768287 w 853440"/>
                <a:gd name="connsiteY240" fmla="*/ 439579 h 1203769"/>
                <a:gd name="connsiteX241" fmla="*/ 770287 w 853440"/>
                <a:gd name="connsiteY241" fmla="*/ 433959 h 1203769"/>
                <a:gd name="connsiteX242" fmla="*/ 771144 w 853440"/>
                <a:gd name="connsiteY242" fmla="*/ 428530 h 1203769"/>
                <a:gd name="connsiteX243" fmla="*/ 778288 w 853440"/>
                <a:gd name="connsiteY243" fmla="*/ 417290 h 1203769"/>
                <a:gd name="connsiteX244" fmla="*/ 782288 w 853440"/>
                <a:gd name="connsiteY244" fmla="*/ 414719 h 1203769"/>
                <a:gd name="connsiteX245" fmla="*/ 806577 w 853440"/>
                <a:gd name="connsiteY245" fmla="*/ 398145 h 1203769"/>
                <a:gd name="connsiteX246" fmla="*/ 822389 w 853440"/>
                <a:gd name="connsiteY246" fmla="*/ 377762 h 1203769"/>
                <a:gd name="connsiteX247" fmla="*/ 834962 w 853440"/>
                <a:gd name="connsiteY247" fmla="*/ 358426 h 1203769"/>
                <a:gd name="connsiteX248" fmla="*/ 835724 w 853440"/>
                <a:gd name="connsiteY248" fmla="*/ 338233 h 1203769"/>
                <a:gd name="connsiteX249" fmla="*/ 838105 w 853440"/>
                <a:gd name="connsiteY249" fmla="*/ 329756 h 1203769"/>
                <a:gd name="connsiteX250" fmla="*/ 840867 w 853440"/>
                <a:gd name="connsiteY250" fmla="*/ 324612 h 1203769"/>
                <a:gd name="connsiteX251" fmla="*/ 853440 w 853440"/>
                <a:gd name="connsiteY251" fmla="*/ 320040 h 1203769"/>
                <a:gd name="connsiteX252" fmla="*/ 844772 w 853440"/>
                <a:gd name="connsiteY252" fmla="*/ 302324 h 120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Lst>
              <a:rect l="l" t="t" r="r" b="b"/>
              <a:pathLst>
                <a:path w="853440" h="1203769">
                  <a:moveTo>
                    <a:pt x="844772" y="302324"/>
                  </a:moveTo>
                  <a:lnTo>
                    <a:pt x="843058" y="295180"/>
                  </a:lnTo>
                  <a:lnTo>
                    <a:pt x="842867" y="288036"/>
                  </a:lnTo>
                  <a:lnTo>
                    <a:pt x="841724" y="282416"/>
                  </a:lnTo>
                  <a:lnTo>
                    <a:pt x="836771" y="280130"/>
                  </a:lnTo>
                  <a:lnTo>
                    <a:pt x="823532" y="276987"/>
                  </a:lnTo>
                  <a:lnTo>
                    <a:pt x="803243" y="265271"/>
                  </a:lnTo>
                  <a:lnTo>
                    <a:pt x="788956" y="252698"/>
                  </a:lnTo>
                  <a:lnTo>
                    <a:pt x="771716" y="237554"/>
                  </a:lnTo>
                  <a:lnTo>
                    <a:pt x="743903" y="202502"/>
                  </a:lnTo>
                  <a:lnTo>
                    <a:pt x="657130" y="126683"/>
                  </a:lnTo>
                  <a:lnTo>
                    <a:pt x="635603" y="94488"/>
                  </a:lnTo>
                  <a:lnTo>
                    <a:pt x="631793" y="83820"/>
                  </a:lnTo>
                  <a:lnTo>
                    <a:pt x="630269" y="69056"/>
                  </a:lnTo>
                  <a:lnTo>
                    <a:pt x="631698" y="39148"/>
                  </a:lnTo>
                  <a:lnTo>
                    <a:pt x="635413" y="11620"/>
                  </a:lnTo>
                  <a:lnTo>
                    <a:pt x="637222" y="6382"/>
                  </a:lnTo>
                  <a:lnTo>
                    <a:pt x="639223" y="4572"/>
                  </a:lnTo>
                  <a:lnTo>
                    <a:pt x="639318" y="3715"/>
                  </a:lnTo>
                  <a:lnTo>
                    <a:pt x="635413" y="1238"/>
                  </a:lnTo>
                  <a:lnTo>
                    <a:pt x="629793" y="0"/>
                  </a:lnTo>
                  <a:lnTo>
                    <a:pt x="624650" y="2095"/>
                  </a:lnTo>
                  <a:lnTo>
                    <a:pt x="619887" y="5143"/>
                  </a:lnTo>
                  <a:lnTo>
                    <a:pt x="615506" y="6668"/>
                  </a:lnTo>
                  <a:lnTo>
                    <a:pt x="606552" y="7334"/>
                  </a:lnTo>
                  <a:lnTo>
                    <a:pt x="589979" y="12573"/>
                  </a:lnTo>
                  <a:lnTo>
                    <a:pt x="477393" y="74486"/>
                  </a:lnTo>
                  <a:lnTo>
                    <a:pt x="401383" y="116110"/>
                  </a:lnTo>
                  <a:lnTo>
                    <a:pt x="384524" y="121444"/>
                  </a:lnTo>
                  <a:lnTo>
                    <a:pt x="312706" y="126397"/>
                  </a:lnTo>
                  <a:lnTo>
                    <a:pt x="296418" y="135350"/>
                  </a:lnTo>
                  <a:lnTo>
                    <a:pt x="284512" y="148781"/>
                  </a:lnTo>
                  <a:lnTo>
                    <a:pt x="254318" y="208312"/>
                  </a:lnTo>
                  <a:lnTo>
                    <a:pt x="241649" y="233267"/>
                  </a:lnTo>
                  <a:lnTo>
                    <a:pt x="213836" y="270224"/>
                  </a:lnTo>
                  <a:lnTo>
                    <a:pt x="211455" y="276701"/>
                  </a:lnTo>
                  <a:lnTo>
                    <a:pt x="199263" y="309182"/>
                  </a:lnTo>
                  <a:lnTo>
                    <a:pt x="193929" y="315087"/>
                  </a:lnTo>
                  <a:lnTo>
                    <a:pt x="187262" y="318992"/>
                  </a:lnTo>
                  <a:lnTo>
                    <a:pt x="181070" y="328803"/>
                  </a:lnTo>
                  <a:lnTo>
                    <a:pt x="176403" y="341567"/>
                  </a:lnTo>
                  <a:lnTo>
                    <a:pt x="173831" y="354425"/>
                  </a:lnTo>
                  <a:lnTo>
                    <a:pt x="172974" y="369475"/>
                  </a:lnTo>
                  <a:lnTo>
                    <a:pt x="173831" y="416338"/>
                  </a:lnTo>
                  <a:lnTo>
                    <a:pt x="172974" y="422529"/>
                  </a:lnTo>
                  <a:lnTo>
                    <a:pt x="169259" y="432721"/>
                  </a:lnTo>
                  <a:lnTo>
                    <a:pt x="168402" y="440436"/>
                  </a:lnTo>
                  <a:lnTo>
                    <a:pt x="172688" y="459677"/>
                  </a:lnTo>
                  <a:lnTo>
                    <a:pt x="173831" y="467297"/>
                  </a:lnTo>
                  <a:lnTo>
                    <a:pt x="173355" y="496443"/>
                  </a:lnTo>
                  <a:lnTo>
                    <a:pt x="168688" y="521970"/>
                  </a:lnTo>
                  <a:lnTo>
                    <a:pt x="161258" y="542449"/>
                  </a:lnTo>
                  <a:lnTo>
                    <a:pt x="152495" y="556165"/>
                  </a:lnTo>
                  <a:lnTo>
                    <a:pt x="140018" y="567690"/>
                  </a:lnTo>
                  <a:lnTo>
                    <a:pt x="129159" y="577691"/>
                  </a:lnTo>
                  <a:lnTo>
                    <a:pt x="124301" y="580644"/>
                  </a:lnTo>
                  <a:lnTo>
                    <a:pt x="120396" y="585121"/>
                  </a:lnTo>
                  <a:lnTo>
                    <a:pt x="106109" y="607219"/>
                  </a:lnTo>
                  <a:lnTo>
                    <a:pt x="99060" y="614744"/>
                  </a:lnTo>
                  <a:lnTo>
                    <a:pt x="73343" y="630460"/>
                  </a:lnTo>
                  <a:lnTo>
                    <a:pt x="69628" y="637032"/>
                  </a:lnTo>
                  <a:lnTo>
                    <a:pt x="37624" y="658463"/>
                  </a:lnTo>
                  <a:lnTo>
                    <a:pt x="32766" y="670846"/>
                  </a:lnTo>
                  <a:lnTo>
                    <a:pt x="33338" y="682943"/>
                  </a:lnTo>
                  <a:lnTo>
                    <a:pt x="36100" y="695611"/>
                  </a:lnTo>
                  <a:lnTo>
                    <a:pt x="37624" y="709708"/>
                  </a:lnTo>
                  <a:lnTo>
                    <a:pt x="34957" y="770477"/>
                  </a:lnTo>
                  <a:lnTo>
                    <a:pt x="30290" y="793528"/>
                  </a:lnTo>
                  <a:lnTo>
                    <a:pt x="20288" y="822674"/>
                  </a:lnTo>
                  <a:lnTo>
                    <a:pt x="16383" y="834200"/>
                  </a:lnTo>
                  <a:lnTo>
                    <a:pt x="12383" y="863156"/>
                  </a:lnTo>
                  <a:lnTo>
                    <a:pt x="10382" y="866204"/>
                  </a:lnTo>
                  <a:lnTo>
                    <a:pt x="9239" y="869442"/>
                  </a:lnTo>
                  <a:lnTo>
                    <a:pt x="10859" y="877252"/>
                  </a:lnTo>
                  <a:lnTo>
                    <a:pt x="13526" y="882777"/>
                  </a:lnTo>
                  <a:lnTo>
                    <a:pt x="16383" y="884301"/>
                  </a:lnTo>
                  <a:lnTo>
                    <a:pt x="19907" y="884777"/>
                  </a:lnTo>
                  <a:lnTo>
                    <a:pt x="24194" y="886873"/>
                  </a:lnTo>
                  <a:lnTo>
                    <a:pt x="31052" y="892874"/>
                  </a:lnTo>
                  <a:lnTo>
                    <a:pt x="32861" y="896112"/>
                  </a:lnTo>
                  <a:lnTo>
                    <a:pt x="34957" y="901351"/>
                  </a:lnTo>
                  <a:lnTo>
                    <a:pt x="36862" y="908209"/>
                  </a:lnTo>
                  <a:lnTo>
                    <a:pt x="38576" y="920591"/>
                  </a:lnTo>
                  <a:lnTo>
                    <a:pt x="40386" y="925354"/>
                  </a:lnTo>
                  <a:lnTo>
                    <a:pt x="38767" y="932974"/>
                  </a:lnTo>
                  <a:lnTo>
                    <a:pt x="38195" y="944880"/>
                  </a:lnTo>
                  <a:lnTo>
                    <a:pt x="38957" y="957453"/>
                  </a:lnTo>
                  <a:lnTo>
                    <a:pt x="43339" y="972217"/>
                  </a:lnTo>
                  <a:lnTo>
                    <a:pt x="42291" y="977741"/>
                  </a:lnTo>
                  <a:lnTo>
                    <a:pt x="39624" y="981837"/>
                  </a:lnTo>
                  <a:lnTo>
                    <a:pt x="36290" y="983552"/>
                  </a:lnTo>
                  <a:lnTo>
                    <a:pt x="33052" y="981456"/>
                  </a:lnTo>
                  <a:lnTo>
                    <a:pt x="24194" y="968693"/>
                  </a:lnTo>
                  <a:lnTo>
                    <a:pt x="29718" y="959549"/>
                  </a:lnTo>
                  <a:lnTo>
                    <a:pt x="29718" y="954691"/>
                  </a:lnTo>
                  <a:lnTo>
                    <a:pt x="29718" y="944690"/>
                  </a:lnTo>
                  <a:lnTo>
                    <a:pt x="26861" y="942975"/>
                  </a:lnTo>
                  <a:lnTo>
                    <a:pt x="24194" y="940308"/>
                  </a:lnTo>
                  <a:lnTo>
                    <a:pt x="29718" y="930688"/>
                  </a:lnTo>
                  <a:lnTo>
                    <a:pt x="26194" y="922306"/>
                  </a:lnTo>
                  <a:lnTo>
                    <a:pt x="21622" y="924116"/>
                  </a:lnTo>
                  <a:lnTo>
                    <a:pt x="20860" y="934212"/>
                  </a:lnTo>
                  <a:lnTo>
                    <a:pt x="19907" y="941261"/>
                  </a:lnTo>
                  <a:lnTo>
                    <a:pt x="14383" y="942118"/>
                  </a:lnTo>
                  <a:lnTo>
                    <a:pt x="13526" y="949833"/>
                  </a:lnTo>
                  <a:lnTo>
                    <a:pt x="11621" y="956310"/>
                  </a:lnTo>
                  <a:lnTo>
                    <a:pt x="9335" y="961739"/>
                  </a:lnTo>
                  <a:lnTo>
                    <a:pt x="4096" y="971264"/>
                  </a:lnTo>
                  <a:lnTo>
                    <a:pt x="762" y="982123"/>
                  </a:lnTo>
                  <a:lnTo>
                    <a:pt x="0" y="995553"/>
                  </a:lnTo>
                  <a:lnTo>
                    <a:pt x="953" y="1009650"/>
                  </a:lnTo>
                  <a:lnTo>
                    <a:pt x="5048" y="1037273"/>
                  </a:lnTo>
                  <a:lnTo>
                    <a:pt x="5525" y="1043654"/>
                  </a:lnTo>
                  <a:lnTo>
                    <a:pt x="5525" y="1051179"/>
                  </a:lnTo>
                  <a:lnTo>
                    <a:pt x="4572" y="1059180"/>
                  </a:lnTo>
                  <a:lnTo>
                    <a:pt x="953" y="1072896"/>
                  </a:lnTo>
                  <a:lnTo>
                    <a:pt x="191" y="1077278"/>
                  </a:lnTo>
                  <a:lnTo>
                    <a:pt x="1905" y="1092327"/>
                  </a:lnTo>
                  <a:lnTo>
                    <a:pt x="6096" y="1107472"/>
                  </a:lnTo>
                  <a:lnTo>
                    <a:pt x="23527" y="1151573"/>
                  </a:lnTo>
                  <a:lnTo>
                    <a:pt x="28956" y="1174433"/>
                  </a:lnTo>
                  <a:lnTo>
                    <a:pt x="32766" y="1200341"/>
                  </a:lnTo>
                  <a:lnTo>
                    <a:pt x="33052" y="1203484"/>
                  </a:lnTo>
                  <a:lnTo>
                    <a:pt x="33052" y="1203770"/>
                  </a:lnTo>
                  <a:lnTo>
                    <a:pt x="47816" y="1200055"/>
                  </a:lnTo>
                  <a:lnTo>
                    <a:pt x="70771" y="1199864"/>
                  </a:lnTo>
                  <a:lnTo>
                    <a:pt x="86392" y="1195483"/>
                  </a:lnTo>
                  <a:lnTo>
                    <a:pt x="92202" y="1182243"/>
                  </a:lnTo>
                  <a:lnTo>
                    <a:pt x="95060" y="1163003"/>
                  </a:lnTo>
                  <a:lnTo>
                    <a:pt x="101727" y="1140524"/>
                  </a:lnTo>
                  <a:lnTo>
                    <a:pt x="111538" y="1125093"/>
                  </a:lnTo>
                  <a:lnTo>
                    <a:pt x="125349" y="1109853"/>
                  </a:lnTo>
                  <a:lnTo>
                    <a:pt x="139827" y="1097661"/>
                  </a:lnTo>
                  <a:lnTo>
                    <a:pt x="151829" y="1091470"/>
                  </a:lnTo>
                  <a:lnTo>
                    <a:pt x="169450" y="1090613"/>
                  </a:lnTo>
                  <a:lnTo>
                    <a:pt x="175546" y="1088517"/>
                  </a:lnTo>
                  <a:lnTo>
                    <a:pt x="201359" y="1068610"/>
                  </a:lnTo>
                  <a:lnTo>
                    <a:pt x="229934" y="1046512"/>
                  </a:lnTo>
                  <a:lnTo>
                    <a:pt x="244316" y="1039082"/>
                  </a:lnTo>
                  <a:lnTo>
                    <a:pt x="278797" y="1037558"/>
                  </a:lnTo>
                  <a:lnTo>
                    <a:pt x="299085" y="1027938"/>
                  </a:lnTo>
                  <a:lnTo>
                    <a:pt x="388144" y="985838"/>
                  </a:lnTo>
                  <a:lnTo>
                    <a:pt x="395097" y="982599"/>
                  </a:lnTo>
                  <a:lnTo>
                    <a:pt x="438341" y="962120"/>
                  </a:lnTo>
                  <a:lnTo>
                    <a:pt x="455867" y="963359"/>
                  </a:lnTo>
                  <a:lnTo>
                    <a:pt x="463201" y="967169"/>
                  </a:lnTo>
                  <a:lnTo>
                    <a:pt x="477679" y="978027"/>
                  </a:lnTo>
                  <a:lnTo>
                    <a:pt x="485299" y="981170"/>
                  </a:lnTo>
                  <a:lnTo>
                    <a:pt x="600932" y="977265"/>
                  </a:lnTo>
                  <a:lnTo>
                    <a:pt x="625888" y="982980"/>
                  </a:lnTo>
                  <a:lnTo>
                    <a:pt x="626840" y="983552"/>
                  </a:lnTo>
                  <a:lnTo>
                    <a:pt x="637127" y="989076"/>
                  </a:lnTo>
                  <a:lnTo>
                    <a:pt x="654368" y="1007364"/>
                  </a:lnTo>
                  <a:lnTo>
                    <a:pt x="661130" y="1010221"/>
                  </a:lnTo>
                  <a:lnTo>
                    <a:pt x="667036" y="1009269"/>
                  </a:lnTo>
                  <a:lnTo>
                    <a:pt x="722090" y="986409"/>
                  </a:lnTo>
                  <a:lnTo>
                    <a:pt x="736378" y="976408"/>
                  </a:lnTo>
                  <a:lnTo>
                    <a:pt x="735997" y="976313"/>
                  </a:lnTo>
                  <a:lnTo>
                    <a:pt x="721709" y="972502"/>
                  </a:lnTo>
                  <a:lnTo>
                    <a:pt x="707708" y="961454"/>
                  </a:lnTo>
                  <a:lnTo>
                    <a:pt x="700564" y="958977"/>
                  </a:lnTo>
                  <a:lnTo>
                    <a:pt x="684562" y="957072"/>
                  </a:lnTo>
                  <a:lnTo>
                    <a:pt x="688467" y="943547"/>
                  </a:lnTo>
                  <a:lnTo>
                    <a:pt x="690944" y="939641"/>
                  </a:lnTo>
                  <a:lnTo>
                    <a:pt x="692944" y="935165"/>
                  </a:lnTo>
                  <a:lnTo>
                    <a:pt x="691706" y="926402"/>
                  </a:lnTo>
                  <a:lnTo>
                    <a:pt x="690372" y="921258"/>
                  </a:lnTo>
                  <a:lnTo>
                    <a:pt x="674751" y="908685"/>
                  </a:lnTo>
                  <a:lnTo>
                    <a:pt x="678942" y="857726"/>
                  </a:lnTo>
                  <a:lnTo>
                    <a:pt x="686848" y="857822"/>
                  </a:lnTo>
                  <a:lnTo>
                    <a:pt x="688181" y="857631"/>
                  </a:lnTo>
                  <a:lnTo>
                    <a:pt x="695706" y="860108"/>
                  </a:lnTo>
                  <a:lnTo>
                    <a:pt x="702850" y="856298"/>
                  </a:lnTo>
                  <a:lnTo>
                    <a:pt x="712470" y="855631"/>
                  </a:lnTo>
                  <a:lnTo>
                    <a:pt x="709994" y="848106"/>
                  </a:lnTo>
                  <a:lnTo>
                    <a:pt x="708755" y="846487"/>
                  </a:lnTo>
                  <a:lnTo>
                    <a:pt x="707136" y="843344"/>
                  </a:lnTo>
                  <a:lnTo>
                    <a:pt x="704850" y="841915"/>
                  </a:lnTo>
                  <a:lnTo>
                    <a:pt x="704183" y="839057"/>
                  </a:lnTo>
                  <a:lnTo>
                    <a:pt x="704088" y="835628"/>
                  </a:lnTo>
                  <a:lnTo>
                    <a:pt x="704183" y="832295"/>
                  </a:lnTo>
                  <a:lnTo>
                    <a:pt x="705707" y="828961"/>
                  </a:lnTo>
                  <a:lnTo>
                    <a:pt x="710470" y="828104"/>
                  </a:lnTo>
                  <a:lnTo>
                    <a:pt x="719900" y="828104"/>
                  </a:lnTo>
                  <a:lnTo>
                    <a:pt x="724567" y="825818"/>
                  </a:lnTo>
                  <a:lnTo>
                    <a:pt x="729044" y="821150"/>
                  </a:lnTo>
                  <a:lnTo>
                    <a:pt x="734282" y="811435"/>
                  </a:lnTo>
                  <a:lnTo>
                    <a:pt x="736283" y="801910"/>
                  </a:lnTo>
                  <a:lnTo>
                    <a:pt x="727901" y="791909"/>
                  </a:lnTo>
                  <a:lnTo>
                    <a:pt x="724376" y="782574"/>
                  </a:lnTo>
                  <a:lnTo>
                    <a:pt x="715232" y="777812"/>
                  </a:lnTo>
                  <a:lnTo>
                    <a:pt x="713232" y="765239"/>
                  </a:lnTo>
                  <a:lnTo>
                    <a:pt x="723329" y="763810"/>
                  </a:lnTo>
                  <a:lnTo>
                    <a:pt x="720376" y="756571"/>
                  </a:lnTo>
                  <a:lnTo>
                    <a:pt x="718947" y="754571"/>
                  </a:lnTo>
                  <a:lnTo>
                    <a:pt x="718757" y="751618"/>
                  </a:lnTo>
                  <a:lnTo>
                    <a:pt x="720566" y="749808"/>
                  </a:lnTo>
                  <a:lnTo>
                    <a:pt x="722852" y="748379"/>
                  </a:lnTo>
                  <a:lnTo>
                    <a:pt x="724376" y="743998"/>
                  </a:lnTo>
                  <a:lnTo>
                    <a:pt x="723519" y="738473"/>
                  </a:lnTo>
                  <a:lnTo>
                    <a:pt x="721233" y="711613"/>
                  </a:lnTo>
                  <a:lnTo>
                    <a:pt x="708374" y="693706"/>
                  </a:lnTo>
                  <a:lnTo>
                    <a:pt x="708851" y="688658"/>
                  </a:lnTo>
                  <a:lnTo>
                    <a:pt x="681514" y="689991"/>
                  </a:lnTo>
                  <a:lnTo>
                    <a:pt x="666083" y="684657"/>
                  </a:lnTo>
                  <a:lnTo>
                    <a:pt x="651605" y="685610"/>
                  </a:lnTo>
                  <a:lnTo>
                    <a:pt x="653129" y="679799"/>
                  </a:lnTo>
                  <a:lnTo>
                    <a:pt x="648653" y="674275"/>
                  </a:lnTo>
                  <a:lnTo>
                    <a:pt x="629984" y="665036"/>
                  </a:lnTo>
                  <a:lnTo>
                    <a:pt x="607124" y="661797"/>
                  </a:lnTo>
                  <a:lnTo>
                    <a:pt x="592836" y="654749"/>
                  </a:lnTo>
                  <a:lnTo>
                    <a:pt x="596551" y="646557"/>
                  </a:lnTo>
                  <a:lnTo>
                    <a:pt x="598932" y="643414"/>
                  </a:lnTo>
                  <a:lnTo>
                    <a:pt x="602075" y="640175"/>
                  </a:lnTo>
                  <a:lnTo>
                    <a:pt x="603695" y="636746"/>
                  </a:lnTo>
                  <a:lnTo>
                    <a:pt x="604552" y="631127"/>
                  </a:lnTo>
                  <a:lnTo>
                    <a:pt x="604552" y="619982"/>
                  </a:lnTo>
                  <a:lnTo>
                    <a:pt x="605885" y="616553"/>
                  </a:lnTo>
                  <a:lnTo>
                    <a:pt x="607695" y="613982"/>
                  </a:lnTo>
                  <a:lnTo>
                    <a:pt x="606743" y="611029"/>
                  </a:lnTo>
                  <a:lnTo>
                    <a:pt x="601028" y="607790"/>
                  </a:lnTo>
                  <a:lnTo>
                    <a:pt x="593408" y="605885"/>
                  </a:lnTo>
                  <a:lnTo>
                    <a:pt x="578834" y="608076"/>
                  </a:lnTo>
                  <a:lnTo>
                    <a:pt x="575120" y="592741"/>
                  </a:lnTo>
                  <a:lnTo>
                    <a:pt x="579215" y="591407"/>
                  </a:lnTo>
                  <a:lnTo>
                    <a:pt x="585597" y="561308"/>
                  </a:lnTo>
                  <a:lnTo>
                    <a:pt x="599599" y="538925"/>
                  </a:lnTo>
                  <a:lnTo>
                    <a:pt x="619601" y="542830"/>
                  </a:lnTo>
                  <a:lnTo>
                    <a:pt x="631984" y="532829"/>
                  </a:lnTo>
                  <a:lnTo>
                    <a:pt x="649224" y="537496"/>
                  </a:lnTo>
                  <a:lnTo>
                    <a:pt x="654558" y="519017"/>
                  </a:lnTo>
                  <a:lnTo>
                    <a:pt x="651510" y="481012"/>
                  </a:lnTo>
                  <a:lnTo>
                    <a:pt x="662369" y="478917"/>
                  </a:lnTo>
                  <a:lnTo>
                    <a:pt x="697897" y="468440"/>
                  </a:lnTo>
                  <a:lnTo>
                    <a:pt x="710565" y="458533"/>
                  </a:lnTo>
                  <a:lnTo>
                    <a:pt x="713994" y="454724"/>
                  </a:lnTo>
                  <a:lnTo>
                    <a:pt x="716280" y="450914"/>
                  </a:lnTo>
                  <a:lnTo>
                    <a:pt x="725329" y="448532"/>
                  </a:lnTo>
                  <a:lnTo>
                    <a:pt x="756476" y="450533"/>
                  </a:lnTo>
                  <a:lnTo>
                    <a:pt x="764191" y="445199"/>
                  </a:lnTo>
                  <a:lnTo>
                    <a:pt x="768287" y="439579"/>
                  </a:lnTo>
                  <a:lnTo>
                    <a:pt x="770287" y="433959"/>
                  </a:lnTo>
                  <a:lnTo>
                    <a:pt x="771144" y="428530"/>
                  </a:lnTo>
                  <a:lnTo>
                    <a:pt x="778288" y="417290"/>
                  </a:lnTo>
                  <a:lnTo>
                    <a:pt x="782288" y="414719"/>
                  </a:lnTo>
                  <a:lnTo>
                    <a:pt x="806577" y="398145"/>
                  </a:lnTo>
                  <a:lnTo>
                    <a:pt x="822389" y="377762"/>
                  </a:lnTo>
                  <a:lnTo>
                    <a:pt x="834962" y="358426"/>
                  </a:lnTo>
                  <a:lnTo>
                    <a:pt x="835724" y="338233"/>
                  </a:lnTo>
                  <a:lnTo>
                    <a:pt x="838105" y="329756"/>
                  </a:lnTo>
                  <a:lnTo>
                    <a:pt x="840867" y="324612"/>
                  </a:lnTo>
                  <a:lnTo>
                    <a:pt x="853440" y="320040"/>
                  </a:lnTo>
                  <a:lnTo>
                    <a:pt x="844772" y="302324"/>
                  </a:lnTo>
                  <a:close/>
                </a:path>
              </a:pathLst>
            </a:custGeom>
            <a:grpFill/>
            <a:ln w="9525" cap="sq">
              <a:noFill/>
              <a:prstDash val="solid"/>
              <a:bevel/>
            </a:ln>
          </p:spPr>
          <p:txBody>
            <a:bodyPr rtlCol="0" anchor="ctr"/>
            <a:lstStyle/>
            <a:p>
              <a:endParaRPr lang="cs-CZ"/>
            </a:p>
          </p:txBody>
        </p:sp>
        <p:sp>
          <p:nvSpPr>
            <p:cNvPr id="151" name="Freeform: Shape 150">
              <a:extLst>
                <a:ext uri="{FF2B5EF4-FFF2-40B4-BE49-F238E27FC236}">
                  <a16:creationId xmlns:a16="http://schemas.microsoft.com/office/drawing/2014/main" id="{60148185-FAC5-A434-A58D-6FF195988C53}"/>
                </a:ext>
              </a:extLst>
            </p:cNvPr>
            <p:cNvSpPr/>
            <p:nvPr/>
          </p:nvSpPr>
          <p:spPr>
            <a:xfrm>
              <a:off x="9449988" y="6242873"/>
              <a:ext cx="1127283" cy="1073848"/>
            </a:xfrm>
            <a:custGeom>
              <a:avLst/>
              <a:gdLst>
                <a:gd name="connsiteX0" fmla="*/ 1106424 w 1127283"/>
                <a:gd name="connsiteY0" fmla="*/ 500444 h 1073848"/>
                <a:gd name="connsiteX1" fmla="*/ 1065752 w 1127283"/>
                <a:gd name="connsiteY1" fmla="*/ 481108 h 1073848"/>
                <a:gd name="connsiteX2" fmla="*/ 1056037 w 1127283"/>
                <a:gd name="connsiteY2" fmla="*/ 470440 h 1073848"/>
                <a:gd name="connsiteX3" fmla="*/ 1057370 w 1127283"/>
                <a:gd name="connsiteY3" fmla="*/ 457867 h 1073848"/>
                <a:gd name="connsiteX4" fmla="*/ 1061561 w 1127283"/>
                <a:gd name="connsiteY4" fmla="*/ 443008 h 1073848"/>
                <a:gd name="connsiteX5" fmla="*/ 1060514 w 1127283"/>
                <a:gd name="connsiteY5" fmla="*/ 425863 h 1073848"/>
                <a:gd name="connsiteX6" fmla="*/ 1062514 w 1127283"/>
                <a:gd name="connsiteY6" fmla="*/ 399479 h 1073848"/>
                <a:gd name="connsiteX7" fmla="*/ 994315 w 1127283"/>
                <a:gd name="connsiteY7" fmla="*/ 400050 h 1073848"/>
                <a:gd name="connsiteX8" fmla="*/ 981456 w 1127283"/>
                <a:gd name="connsiteY8" fmla="*/ 408432 h 1073848"/>
                <a:gd name="connsiteX9" fmla="*/ 921449 w 1127283"/>
                <a:gd name="connsiteY9" fmla="*/ 386239 h 1073848"/>
                <a:gd name="connsiteX10" fmla="*/ 890111 w 1127283"/>
                <a:gd name="connsiteY10" fmla="*/ 384239 h 1073848"/>
                <a:gd name="connsiteX11" fmla="*/ 880872 w 1127283"/>
                <a:gd name="connsiteY11" fmla="*/ 379762 h 1073848"/>
                <a:gd name="connsiteX12" fmla="*/ 872966 w 1127283"/>
                <a:gd name="connsiteY12" fmla="*/ 370427 h 1073848"/>
                <a:gd name="connsiteX13" fmla="*/ 858679 w 1127283"/>
                <a:gd name="connsiteY13" fmla="*/ 348329 h 1073848"/>
                <a:gd name="connsiteX14" fmla="*/ 849535 w 1127283"/>
                <a:gd name="connsiteY14" fmla="*/ 340995 h 1073848"/>
                <a:gd name="connsiteX15" fmla="*/ 836105 w 1127283"/>
                <a:gd name="connsiteY15" fmla="*/ 336328 h 1073848"/>
                <a:gd name="connsiteX16" fmla="*/ 829342 w 1127283"/>
                <a:gd name="connsiteY16" fmla="*/ 336233 h 1073848"/>
                <a:gd name="connsiteX17" fmla="*/ 822484 w 1127283"/>
                <a:gd name="connsiteY17" fmla="*/ 337757 h 1073848"/>
                <a:gd name="connsiteX18" fmla="*/ 816388 w 1127283"/>
                <a:gd name="connsiteY18" fmla="*/ 336614 h 1073848"/>
                <a:gd name="connsiteX19" fmla="*/ 812102 w 1127283"/>
                <a:gd name="connsiteY19" fmla="*/ 331470 h 1073848"/>
                <a:gd name="connsiteX20" fmla="*/ 807339 w 1127283"/>
                <a:gd name="connsiteY20" fmla="*/ 327755 h 1073848"/>
                <a:gd name="connsiteX21" fmla="*/ 800100 w 1127283"/>
                <a:gd name="connsiteY21" fmla="*/ 331089 h 1073848"/>
                <a:gd name="connsiteX22" fmla="*/ 794004 w 1127283"/>
                <a:gd name="connsiteY22" fmla="*/ 340328 h 1073848"/>
                <a:gd name="connsiteX23" fmla="*/ 790004 w 1127283"/>
                <a:gd name="connsiteY23" fmla="*/ 351091 h 1073848"/>
                <a:gd name="connsiteX24" fmla="*/ 785336 w 1127283"/>
                <a:gd name="connsiteY24" fmla="*/ 361188 h 1073848"/>
                <a:gd name="connsiteX25" fmla="*/ 777335 w 1127283"/>
                <a:gd name="connsiteY25" fmla="*/ 368332 h 1073848"/>
                <a:gd name="connsiteX26" fmla="*/ 770477 w 1127283"/>
                <a:gd name="connsiteY26" fmla="*/ 370427 h 1073848"/>
                <a:gd name="connsiteX27" fmla="*/ 740283 w 1127283"/>
                <a:gd name="connsiteY27" fmla="*/ 368808 h 1073848"/>
                <a:gd name="connsiteX28" fmla="*/ 727234 w 1127283"/>
                <a:gd name="connsiteY28" fmla="*/ 372999 h 1073848"/>
                <a:gd name="connsiteX29" fmla="*/ 714470 w 1127283"/>
                <a:gd name="connsiteY29" fmla="*/ 380619 h 1073848"/>
                <a:gd name="connsiteX30" fmla="*/ 702945 w 1127283"/>
                <a:gd name="connsiteY30" fmla="*/ 390811 h 1073848"/>
                <a:gd name="connsiteX31" fmla="*/ 700469 w 1127283"/>
                <a:gd name="connsiteY31" fmla="*/ 395573 h 1073848"/>
                <a:gd name="connsiteX32" fmla="*/ 699135 w 1127283"/>
                <a:gd name="connsiteY32" fmla="*/ 400907 h 1073848"/>
                <a:gd name="connsiteX33" fmla="*/ 697230 w 1127283"/>
                <a:gd name="connsiteY33" fmla="*/ 405289 h 1073848"/>
                <a:gd name="connsiteX34" fmla="*/ 693325 w 1127283"/>
                <a:gd name="connsiteY34" fmla="*/ 407194 h 1073848"/>
                <a:gd name="connsiteX35" fmla="*/ 689515 w 1127283"/>
                <a:gd name="connsiteY35" fmla="*/ 405860 h 1073848"/>
                <a:gd name="connsiteX36" fmla="*/ 682371 w 1127283"/>
                <a:gd name="connsiteY36" fmla="*/ 400622 h 1073848"/>
                <a:gd name="connsiteX37" fmla="*/ 678656 w 1127283"/>
                <a:gd name="connsiteY37" fmla="*/ 399669 h 1073848"/>
                <a:gd name="connsiteX38" fmla="*/ 673322 w 1127283"/>
                <a:gd name="connsiteY38" fmla="*/ 402812 h 1073848"/>
                <a:gd name="connsiteX39" fmla="*/ 668084 w 1127283"/>
                <a:gd name="connsiteY39" fmla="*/ 407575 h 1073848"/>
                <a:gd name="connsiteX40" fmla="*/ 661988 w 1127283"/>
                <a:gd name="connsiteY40" fmla="*/ 408623 h 1073848"/>
                <a:gd name="connsiteX41" fmla="*/ 654844 w 1127283"/>
                <a:gd name="connsiteY41" fmla="*/ 400431 h 1073848"/>
                <a:gd name="connsiteX42" fmla="*/ 641795 w 1127283"/>
                <a:gd name="connsiteY42" fmla="*/ 381667 h 1073848"/>
                <a:gd name="connsiteX43" fmla="*/ 635318 w 1127283"/>
                <a:gd name="connsiteY43" fmla="*/ 375380 h 1073848"/>
                <a:gd name="connsiteX44" fmla="*/ 635222 w 1127283"/>
                <a:gd name="connsiteY44" fmla="*/ 375285 h 1073848"/>
                <a:gd name="connsiteX45" fmla="*/ 604266 w 1127283"/>
                <a:gd name="connsiteY45" fmla="*/ 361855 h 1073848"/>
                <a:gd name="connsiteX46" fmla="*/ 599408 w 1127283"/>
                <a:gd name="connsiteY46" fmla="*/ 359759 h 1073848"/>
                <a:gd name="connsiteX47" fmla="*/ 583216 w 1127283"/>
                <a:gd name="connsiteY47" fmla="*/ 348139 h 1073848"/>
                <a:gd name="connsiteX48" fmla="*/ 569976 w 1127283"/>
                <a:gd name="connsiteY48" fmla="*/ 332423 h 1073848"/>
                <a:gd name="connsiteX49" fmla="*/ 533114 w 1127283"/>
                <a:gd name="connsiteY49" fmla="*/ 271844 h 1073848"/>
                <a:gd name="connsiteX50" fmla="*/ 520160 w 1127283"/>
                <a:gd name="connsiteY50" fmla="*/ 256699 h 1073848"/>
                <a:gd name="connsiteX51" fmla="*/ 477107 w 1127283"/>
                <a:gd name="connsiteY51" fmla="*/ 220504 h 1073848"/>
                <a:gd name="connsiteX52" fmla="*/ 473774 w 1127283"/>
                <a:gd name="connsiteY52" fmla="*/ 211550 h 1073848"/>
                <a:gd name="connsiteX53" fmla="*/ 472631 w 1127283"/>
                <a:gd name="connsiteY53" fmla="*/ 196406 h 1073848"/>
                <a:gd name="connsiteX54" fmla="*/ 473774 w 1127283"/>
                <a:gd name="connsiteY54" fmla="*/ 189738 h 1073848"/>
                <a:gd name="connsiteX55" fmla="*/ 475964 w 1127283"/>
                <a:gd name="connsiteY55" fmla="*/ 185357 h 1073848"/>
                <a:gd name="connsiteX56" fmla="*/ 477298 w 1127283"/>
                <a:gd name="connsiteY56" fmla="*/ 180975 h 1073848"/>
                <a:gd name="connsiteX57" fmla="*/ 476060 w 1127283"/>
                <a:gd name="connsiteY57" fmla="*/ 174022 h 1073848"/>
                <a:gd name="connsiteX58" fmla="*/ 473202 w 1127283"/>
                <a:gd name="connsiteY58" fmla="*/ 170498 h 1073848"/>
                <a:gd name="connsiteX59" fmla="*/ 468535 w 1127283"/>
                <a:gd name="connsiteY59" fmla="*/ 168116 h 1073848"/>
                <a:gd name="connsiteX60" fmla="*/ 386715 w 1127283"/>
                <a:gd name="connsiteY60" fmla="*/ 160877 h 1073848"/>
                <a:gd name="connsiteX61" fmla="*/ 377000 w 1127283"/>
                <a:gd name="connsiteY61" fmla="*/ 151352 h 1073848"/>
                <a:gd name="connsiteX62" fmla="*/ 371951 w 1127283"/>
                <a:gd name="connsiteY62" fmla="*/ 136779 h 1073848"/>
                <a:gd name="connsiteX63" fmla="*/ 368332 w 1127283"/>
                <a:gd name="connsiteY63" fmla="*/ 121920 h 1073848"/>
                <a:gd name="connsiteX64" fmla="*/ 362521 w 1127283"/>
                <a:gd name="connsiteY64" fmla="*/ 111633 h 1073848"/>
                <a:gd name="connsiteX65" fmla="*/ 356521 w 1127283"/>
                <a:gd name="connsiteY65" fmla="*/ 111443 h 1073848"/>
                <a:gd name="connsiteX66" fmla="*/ 352139 w 1127283"/>
                <a:gd name="connsiteY66" fmla="*/ 112967 h 1073848"/>
                <a:gd name="connsiteX67" fmla="*/ 337471 w 1127283"/>
                <a:gd name="connsiteY67" fmla="*/ 118110 h 1073848"/>
                <a:gd name="connsiteX68" fmla="*/ 337471 w 1127283"/>
                <a:gd name="connsiteY68" fmla="*/ 118110 h 1073848"/>
                <a:gd name="connsiteX69" fmla="*/ 331280 w 1127283"/>
                <a:gd name="connsiteY69" fmla="*/ 120206 h 1073848"/>
                <a:gd name="connsiteX70" fmla="*/ 321564 w 1127283"/>
                <a:gd name="connsiteY70" fmla="*/ 121063 h 1073848"/>
                <a:gd name="connsiteX71" fmla="*/ 312325 w 1127283"/>
                <a:gd name="connsiteY71" fmla="*/ 119634 h 1073848"/>
                <a:gd name="connsiteX72" fmla="*/ 303752 w 1127283"/>
                <a:gd name="connsiteY72" fmla="*/ 114300 h 1073848"/>
                <a:gd name="connsiteX73" fmla="*/ 295561 w 1127283"/>
                <a:gd name="connsiteY73" fmla="*/ 103537 h 1073848"/>
                <a:gd name="connsiteX74" fmla="*/ 293465 w 1127283"/>
                <a:gd name="connsiteY74" fmla="*/ 97631 h 1073848"/>
                <a:gd name="connsiteX75" fmla="*/ 293084 w 1127283"/>
                <a:gd name="connsiteY75" fmla="*/ 92774 h 1073848"/>
                <a:gd name="connsiteX76" fmla="*/ 292989 w 1127283"/>
                <a:gd name="connsiteY76" fmla="*/ 92012 h 1073848"/>
                <a:gd name="connsiteX77" fmla="*/ 292417 w 1127283"/>
                <a:gd name="connsiteY77" fmla="*/ 88011 h 1073848"/>
                <a:gd name="connsiteX78" fmla="*/ 289084 w 1127283"/>
                <a:gd name="connsiteY78" fmla="*/ 82487 h 1073848"/>
                <a:gd name="connsiteX79" fmla="*/ 285274 w 1127283"/>
                <a:gd name="connsiteY79" fmla="*/ 79915 h 1073848"/>
                <a:gd name="connsiteX80" fmla="*/ 271463 w 1127283"/>
                <a:gd name="connsiteY80" fmla="*/ 76867 h 1073848"/>
                <a:gd name="connsiteX81" fmla="*/ 256127 w 1127283"/>
                <a:gd name="connsiteY81" fmla="*/ 66961 h 1073848"/>
                <a:gd name="connsiteX82" fmla="*/ 241554 w 1127283"/>
                <a:gd name="connsiteY82" fmla="*/ 49149 h 1073848"/>
                <a:gd name="connsiteX83" fmla="*/ 232600 w 1127283"/>
                <a:gd name="connsiteY83" fmla="*/ 38195 h 1073848"/>
                <a:gd name="connsiteX84" fmla="*/ 216979 w 1127283"/>
                <a:gd name="connsiteY84" fmla="*/ 29718 h 1073848"/>
                <a:gd name="connsiteX85" fmla="*/ 212979 w 1127283"/>
                <a:gd name="connsiteY85" fmla="*/ 29909 h 1073848"/>
                <a:gd name="connsiteX86" fmla="*/ 210407 w 1127283"/>
                <a:gd name="connsiteY86" fmla="*/ 31242 h 1073848"/>
                <a:gd name="connsiteX87" fmla="*/ 208026 w 1127283"/>
                <a:gd name="connsiteY87" fmla="*/ 31814 h 1073848"/>
                <a:gd name="connsiteX88" fmla="*/ 204502 w 1127283"/>
                <a:gd name="connsiteY88" fmla="*/ 29718 h 1073848"/>
                <a:gd name="connsiteX89" fmla="*/ 202025 w 1127283"/>
                <a:gd name="connsiteY89" fmla="*/ 25337 h 1073848"/>
                <a:gd name="connsiteX90" fmla="*/ 197453 w 1127283"/>
                <a:gd name="connsiteY90" fmla="*/ 12002 h 1073848"/>
                <a:gd name="connsiteX91" fmla="*/ 194786 w 1127283"/>
                <a:gd name="connsiteY91" fmla="*/ 6953 h 1073848"/>
                <a:gd name="connsiteX92" fmla="*/ 187833 w 1127283"/>
                <a:gd name="connsiteY92" fmla="*/ 1238 h 1073848"/>
                <a:gd name="connsiteX93" fmla="*/ 180689 w 1127283"/>
                <a:gd name="connsiteY93" fmla="*/ 0 h 1073848"/>
                <a:gd name="connsiteX94" fmla="*/ 175736 w 1127283"/>
                <a:gd name="connsiteY94" fmla="*/ 4858 h 1073848"/>
                <a:gd name="connsiteX95" fmla="*/ 175260 w 1127283"/>
                <a:gd name="connsiteY95" fmla="*/ 17621 h 1073848"/>
                <a:gd name="connsiteX96" fmla="*/ 186214 w 1127283"/>
                <a:gd name="connsiteY96" fmla="*/ 37529 h 1073848"/>
                <a:gd name="connsiteX97" fmla="*/ 188881 w 1127283"/>
                <a:gd name="connsiteY97" fmla="*/ 49244 h 1073848"/>
                <a:gd name="connsiteX98" fmla="*/ 181166 w 1127283"/>
                <a:gd name="connsiteY98" fmla="*/ 59531 h 1073848"/>
                <a:gd name="connsiteX99" fmla="*/ 168688 w 1127283"/>
                <a:gd name="connsiteY99" fmla="*/ 66008 h 1073848"/>
                <a:gd name="connsiteX100" fmla="*/ 162496 w 1127283"/>
                <a:gd name="connsiteY100" fmla="*/ 66008 h 1073848"/>
                <a:gd name="connsiteX101" fmla="*/ 156782 w 1127283"/>
                <a:gd name="connsiteY101" fmla="*/ 61151 h 1073848"/>
                <a:gd name="connsiteX102" fmla="*/ 152019 w 1127283"/>
                <a:gd name="connsiteY102" fmla="*/ 45339 h 1073848"/>
                <a:gd name="connsiteX103" fmla="*/ 148495 w 1127283"/>
                <a:gd name="connsiteY103" fmla="*/ 27146 h 1073848"/>
                <a:gd name="connsiteX104" fmla="*/ 143161 w 1127283"/>
                <a:gd name="connsiteY104" fmla="*/ 12002 h 1073848"/>
                <a:gd name="connsiteX105" fmla="*/ 133064 w 1127283"/>
                <a:gd name="connsiteY105" fmla="*/ 5239 h 1073848"/>
                <a:gd name="connsiteX106" fmla="*/ 114776 w 1127283"/>
                <a:gd name="connsiteY106" fmla="*/ 5715 h 1073848"/>
                <a:gd name="connsiteX107" fmla="*/ 105632 w 1127283"/>
                <a:gd name="connsiteY107" fmla="*/ 8477 h 1073848"/>
                <a:gd name="connsiteX108" fmla="*/ 97155 w 1127283"/>
                <a:gd name="connsiteY108" fmla="*/ 13907 h 1073848"/>
                <a:gd name="connsiteX109" fmla="*/ 91726 w 1127283"/>
                <a:gd name="connsiteY109" fmla="*/ 19526 h 1073848"/>
                <a:gd name="connsiteX110" fmla="*/ 68294 w 1127283"/>
                <a:gd name="connsiteY110" fmla="*/ 43625 h 1073848"/>
                <a:gd name="connsiteX111" fmla="*/ 58388 w 1127283"/>
                <a:gd name="connsiteY111" fmla="*/ 50483 h 1073848"/>
                <a:gd name="connsiteX112" fmla="*/ 28480 w 1127283"/>
                <a:gd name="connsiteY112" fmla="*/ 54864 h 1073848"/>
                <a:gd name="connsiteX113" fmla="*/ 19050 w 1127283"/>
                <a:gd name="connsiteY113" fmla="*/ 60960 h 1073848"/>
                <a:gd name="connsiteX114" fmla="*/ 10954 w 1127283"/>
                <a:gd name="connsiteY114" fmla="*/ 68580 h 1073848"/>
                <a:gd name="connsiteX115" fmla="*/ 10954 w 1127283"/>
                <a:gd name="connsiteY115" fmla="*/ 69818 h 1073848"/>
                <a:gd name="connsiteX116" fmla="*/ 16764 w 1127283"/>
                <a:gd name="connsiteY116" fmla="*/ 127921 h 1073848"/>
                <a:gd name="connsiteX117" fmla="*/ 25146 w 1127283"/>
                <a:gd name="connsiteY117" fmla="*/ 128397 h 1073848"/>
                <a:gd name="connsiteX118" fmla="*/ 28861 w 1127283"/>
                <a:gd name="connsiteY118" fmla="*/ 130016 h 1073848"/>
                <a:gd name="connsiteX119" fmla="*/ 32099 w 1127283"/>
                <a:gd name="connsiteY119" fmla="*/ 133731 h 1073848"/>
                <a:gd name="connsiteX120" fmla="*/ 33338 w 1127283"/>
                <a:gd name="connsiteY120" fmla="*/ 136589 h 1073848"/>
                <a:gd name="connsiteX121" fmla="*/ 32766 w 1127283"/>
                <a:gd name="connsiteY121" fmla="*/ 140494 h 1073848"/>
                <a:gd name="connsiteX122" fmla="*/ 33433 w 1127283"/>
                <a:gd name="connsiteY122" fmla="*/ 149447 h 1073848"/>
                <a:gd name="connsiteX123" fmla="*/ 34481 w 1127283"/>
                <a:gd name="connsiteY123" fmla="*/ 158972 h 1073848"/>
                <a:gd name="connsiteX124" fmla="*/ 36576 w 1127283"/>
                <a:gd name="connsiteY124" fmla="*/ 170021 h 1073848"/>
                <a:gd name="connsiteX125" fmla="*/ 37529 w 1127283"/>
                <a:gd name="connsiteY125" fmla="*/ 178975 h 1073848"/>
                <a:gd name="connsiteX126" fmla="*/ 39624 w 1127283"/>
                <a:gd name="connsiteY126" fmla="*/ 183166 h 1073848"/>
                <a:gd name="connsiteX127" fmla="*/ 42863 w 1127283"/>
                <a:gd name="connsiteY127" fmla="*/ 186690 h 1073848"/>
                <a:gd name="connsiteX128" fmla="*/ 49340 w 1127283"/>
                <a:gd name="connsiteY128" fmla="*/ 189262 h 1073848"/>
                <a:gd name="connsiteX129" fmla="*/ 52102 w 1127283"/>
                <a:gd name="connsiteY129" fmla="*/ 188976 h 1073848"/>
                <a:gd name="connsiteX130" fmla="*/ 54102 w 1127283"/>
                <a:gd name="connsiteY130" fmla="*/ 187833 h 1073848"/>
                <a:gd name="connsiteX131" fmla="*/ 55531 w 1127283"/>
                <a:gd name="connsiteY131" fmla="*/ 188214 h 1073848"/>
                <a:gd name="connsiteX132" fmla="*/ 57055 w 1127283"/>
                <a:gd name="connsiteY132" fmla="*/ 188976 h 1073848"/>
                <a:gd name="connsiteX133" fmla="*/ 59912 w 1127283"/>
                <a:gd name="connsiteY133" fmla="*/ 201740 h 1073848"/>
                <a:gd name="connsiteX134" fmla="*/ 64770 w 1127283"/>
                <a:gd name="connsiteY134" fmla="*/ 195739 h 1073848"/>
                <a:gd name="connsiteX135" fmla="*/ 80963 w 1127283"/>
                <a:gd name="connsiteY135" fmla="*/ 200787 h 1073848"/>
                <a:gd name="connsiteX136" fmla="*/ 84868 w 1127283"/>
                <a:gd name="connsiteY136" fmla="*/ 204311 h 1073848"/>
                <a:gd name="connsiteX137" fmla="*/ 108204 w 1127283"/>
                <a:gd name="connsiteY137" fmla="*/ 225743 h 1073848"/>
                <a:gd name="connsiteX138" fmla="*/ 110681 w 1127283"/>
                <a:gd name="connsiteY138" fmla="*/ 235268 h 1073848"/>
                <a:gd name="connsiteX139" fmla="*/ 116586 w 1127283"/>
                <a:gd name="connsiteY139" fmla="*/ 248507 h 1073848"/>
                <a:gd name="connsiteX140" fmla="*/ 113538 w 1127283"/>
                <a:gd name="connsiteY140" fmla="*/ 251936 h 1073848"/>
                <a:gd name="connsiteX141" fmla="*/ 112109 w 1127283"/>
                <a:gd name="connsiteY141" fmla="*/ 254984 h 1073848"/>
                <a:gd name="connsiteX142" fmla="*/ 109347 w 1127283"/>
                <a:gd name="connsiteY142" fmla="*/ 259271 h 1073848"/>
                <a:gd name="connsiteX143" fmla="*/ 107728 w 1127283"/>
                <a:gd name="connsiteY143" fmla="*/ 264128 h 1073848"/>
                <a:gd name="connsiteX144" fmla="*/ 107633 w 1127283"/>
                <a:gd name="connsiteY144" fmla="*/ 270415 h 1073848"/>
                <a:gd name="connsiteX145" fmla="*/ 110109 w 1127283"/>
                <a:gd name="connsiteY145" fmla="*/ 276987 h 1073848"/>
                <a:gd name="connsiteX146" fmla="*/ 114110 w 1127283"/>
                <a:gd name="connsiteY146" fmla="*/ 283274 h 1073848"/>
                <a:gd name="connsiteX147" fmla="*/ 111347 w 1127283"/>
                <a:gd name="connsiteY147" fmla="*/ 293275 h 1073848"/>
                <a:gd name="connsiteX148" fmla="*/ 114586 w 1127283"/>
                <a:gd name="connsiteY148" fmla="*/ 308896 h 1073848"/>
                <a:gd name="connsiteX149" fmla="*/ 104204 w 1127283"/>
                <a:gd name="connsiteY149" fmla="*/ 307562 h 1073848"/>
                <a:gd name="connsiteX150" fmla="*/ 102394 w 1127283"/>
                <a:gd name="connsiteY150" fmla="*/ 309372 h 1073848"/>
                <a:gd name="connsiteX151" fmla="*/ 102775 w 1127283"/>
                <a:gd name="connsiteY151" fmla="*/ 312515 h 1073848"/>
                <a:gd name="connsiteX152" fmla="*/ 107633 w 1127283"/>
                <a:gd name="connsiteY152" fmla="*/ 319373 h 1073848"/>
                <a:gd name="connsiteX153" fmla="*/ 110585 w 1127283"/>
                <a:gd name="connsiteY153" fmla="*/ 322707 h 1073848"/>
                <a:gd name="connsiteX154" fmla="*/ 111062 w 1127283"/>
                <a:gd name="connsiteY154" fmla="*/ 325850 h 1073848"/>
                <a:gd name="connsiteX155" fmla="*/ 104489 w 1127283"/>
                <a:gd name="connsiteY155" fmla="*/ 328327 h 1073848"/>
                <a:gd name="connsiteX156" fmla="*/ 102108 w 1127283"/>
                <a:gd name="connsiteY156" fmla="*/ 330137 h 1073848"/>
                <a:gd name="connsiteX157" fmla="*/ 94583 w 1127283"/>
                <a:gd name="connsiteY157" fmla="*/ 328708 h 1073848"/>
                <a:gd name="connsiteX158" fmla="*/ 90964 w 1127283"/>
                <a:gd name="connsiteY158" fmla="*/ 325565 h 1073848"/>
                <a:gd name="connsiteX159" fmla="*/ 88868 w 1127283"/>
                <a:gd name="connsiteY159" fmla="*/ 322612 h 1073848"/>
                <a:gd name="connsiteX160" fmla="*/ 87440 w 1127283"/>
                <a:gd name="connsiteY160" fmla="*/ 320326 h 1073848"/>
                <a:gd name="connsiteX161" fmla="*/ 85535 w 1127283"/>
                <a:gd name="connsiteY161" fmla="*/ 319754 h 1073848"/>
                <a:gd name="connsiteX162" fmla="*/ 80391 w 1127283"/>
                <a:gd name="connsiteY162" fmla="*/ 321278 h 1073848"/>
                <a:gd name="connsiteX163" fmla="*/ 78200 w 1127283"/>
                <a:gd name="connsiteY163" fmla="*/ 321469 h 1073848"/>
                <a:gd name="connsiteX164" fmla="*/ 74771 w 1127283"/>
                <a:gd name="connsiteY164" fmla="*/ 320993 h 1073848"/>
                <a:gd name="connsiteX165" fmla="*/ 64961 w 1127283"/>
                <a:gd name="connsiteY165" fmla="*/ 326898 h 1073848"/>
                <a:gd name="connsiteX166" fmla="*/ 52578 w 1127283"/>
                <a:gd name="connsiteY166" fmla="*/ 338804 h 1073848"/>
                <a:gd name="connsiteX167" fmla="*/ 31909 w 1127283"/>
                <a:gd name="connsiteY167" fmla="*/ 329565 h 1073848"/>
                <a:gd name="connsiteX168" fmla="*/ 31433 w 1127283"/>
                <a:gd name="connsiteY168" fmla="*/ 359950 h 1073848"/>
                <a:gd name="connsiteX169" fmla="*/ 37243 w 1127283"/>
                <a:gd name="connsiteY169" fmla="*/ 371380 h 1073848"/>
                <a:gd name="connsiteX170" fmla="*/ 45434 w 1127283"/>
                <a:gd name="connsiteY170" fmla="*/ 379666 h 1073848"/>
                <a:gd name="connsiteX171" fmla="*/ 52007 w 1127283"/>
                <a:gd name="connsiteY171" fmla="*/ 379190 h 1073848"/>
                <a:gd name="connsiteX172" fmla="*/ 72009 w 1127283"/>
                <a:gd name="connsiteY172" fmla="*/ 373761 h 1073848"/>
                <a:gd name="connsiteX173" fmla="*/ 79820 w 1127283"/>
                <a:gd name="connsiteY173" fmla="*/ 374999 h 1073848"/>
                <a:gd name="connsiteX174" fmla="*/ 86773 w 1127283"/>
                <a:gd name="connsiteY174" fmla="*/ 379952 h 1073848"/>
                <a:gd name="connsiteX175" fmla="*/ 96203 w 1127283"/>
                <a:gd name="connsiteY175" fmla="*/ 394430 h 1073848"/>
                <a:gd name="connsiteX176" fmla="*/ 98108 w 1127283"/>
                <a:gd name="connsiteY176" fmla="*/ 402336 h 1073848"/>
                <a:gd name="connsiteX177" fmla="*/ 98108 w 1127283"/>
                <a:gd name="connsiteY177" fmla="*/ 406813 h 1073848"/>
                <a:gd name="connsiteX178" fmla="*/ 96393 w 1127283"/>
                <a:gd name="connsiteY178" fmla="*/ 408623 h 1073848"/>
                <a:gd name="connsiteX179" fmla="*/ 96774 w 1127283"/>
                <a:gd name="connsiteY179" fmla="*/ 409861 h 1073848"/>
                <a:gd name="connsiteX180" fmla="*/ 99060 w 1127283"/>
                <a:gd name="connsiteY180" fmla="*/ 411575 h 1073848"/>
                <a:gd name="connsiteX181" fmla="*/ 104108 w 1127283"/>
                <a:gd name="connsiteY181" fmla="*/ 410909 h 1073848"/>
                <a:gd name="connsiteX182" fmla="*/ 109633 w 1127283"/>
                <a:gd name="connsiteY182" fmla="*/ 412242 h 1073848"/>
                <a:gd name="connsiteX183" fmla="*/ 112014 w 1127283"/>
                <a:gd name="connsiteY183" fmla="*/ 414814 h 1073848"/>
                <a:gd name="connsiteX184" fmla="*/ 112300 w 1127283"/>
                <a:gd name="connsiteY184" fmla="*/ 417386 h 1073848"/>
                <a:gd name="connsiteX185" fmla="*/ 109157 w 1127283"/>
                <a:gd name="connsiteY185" fmla="*/ 419957 h 1073848"/>
                <a:gd name="connsiteX186" fmla="*/ 102203 w 1127283"/>
                <a:gd name="connsiteY186" fmla="*/ 421386 h 1073848"/>
                <a:gd name="connsiteX187" fmla="*/ 98870 w 1127283"/>
                <a:gd name="connsiteY187" fmla="*/ 425958 h 1073848"/>
                <a:gd name="connsiteX188" fmla="*/ 95917 w 1127283"/>
                <a:gd name="connsiteY188" fmla="*/ 432530 h 1073848"/>
                <a:gd name="connsiteX189" fmla="*/ 83058 w 1127283"/>
                <a:gd name="connsiteY189" fmla="*/ 437388 h 1073848"/>
                <a:gd name="connsiteX190" fmla="*/ 79248 w 1127283"/>
                <a:gd name="connsiteY190" fmla="*/ 443675 h 1073848"/>
                <a:gd name="connsiteX191" fmla="*/ 73819 w 1127283"/>
                <a:gd name="connsiteY191" fmla="*/ 448151 h 1073848"/>
                <a:gd name="connsiteX192" fmla="*/ 70485 w 1127283"/>
                <a:gd name="connsiteY192" fmla="*/ 454247 h 1073848"/>
                <a:gd name="connsiteX193" fmla="*/ 34100 w 1127283"/>
                <a:gd name="connsiteY193" fmla="*/ 477393 h 1073848"/>
                <a:gd name="connsiteX194" fmla="*/ 29813 w 1127283"/>
                <a:gd name="connsiteY194" fmla="*/ 483013 h 1073848"/>
                <a:gd name="connsiteX195" fmla="*/ 18383 w 1127283"/>
                <a:gd name="connsiteY195" fmla="*/ 483680 h 1073848"/>
                <a:gd name="connsiteX196" fmla="*/ 5144 w 1127283"/>
                <a:gd name="connsiteY196" fmla="*/ 478727 h 1073848"/>
                <a:gd name="connsiteX197" fmla="*/ 0 w 1127283"/>
                <a:gd name="connsiteY197" fmla="*/ 480060 h 1073848"/>
                <a:gd name="connsiteX198" fmla="*/ 191 w 1127283"/>
                <a:gd name="connsiteY198" fmla="*/ 484156 h 1073848"/>
                <a:gd name="connsiteX199" fmla="*/ 12573 w 1127283"/>
                <a:gd name="connsiteY199" fmla="*/ 495681 h 1073848"/>
                <a:gd name="connsiteX200" fmla="*/ 21336 w 1127283"/>
                <a:gd name="connsiteY200" fmla="*/ 512159 h 1073848"/>
                <a:gd name="connsiteX201" fmla="*/ 27813 w 1127283"/>
                <a:gd name="connsiteY201" fmla="*/ 528161 h 1073848"/>
                <a:gd name="connsiteX202" fmla="*/ 30956 w 1127283"/>
                <a:gd name="connsiteY202" fmla="*/ 533686 h 1073848"/>
                <a:gd name="connsiteX203" fmla="*/ 31814 w 1127283"/>
                <a:gd name="connsiteY203" fmla="*/ 537782 h 1073848"/>
                <a:gd name="connsiteX204" fmla="*/ 40481 w 1127283"/>
                <a:gd name="connsiteY204" fmla="*/ 544640 h 1073848"/>
                <a:gd name="connsiteX205" fmla="*/ 40291 w 1127283"/>
                <a:gd name="connsiteY205" fmla="*/ 547973 h 1073848"/>
                <a:gd name="connsiteX206" fmla="*/ 39243 w 1127283"/>
                <a:gd name="connsiteY206" fmla="*/ 551021 h 1073848"/>
                <a:gd name="connsiteX207" fmla="*/ 35052 w 1127283"/>
                <a:gd name="connsiteY207" fmla="*/ 555879 h 1073848"/>
                <a:gd name="connsiteX208" fmla="*/ 34766 w 1127283"/>
                <a:gd name="connsiteY208" fmla="*/ 557975 h 1073848"/>
                <a:gd name="connsiteX209" fmla="*/ 38386 w 1127283"/>
                <a:gd name="connsiteY209" fmla="*/ 562737 h 1073848"/>
                <a:gd name="connsiteX210" fmla="*/ 45053 w 1127283"/>
                <a:gd name="connsiteY210" fmla="*/ 572262 h 1073848"/>
                <a:gd name="connsiteX211" fmla="*/ 53150 w 1127283"/>
                <a:gd name="connsiteY211" fmla="*/ 580263 h 1073848"/>
                <a:gd name="connsiteX212" fmla="*/ 55626 w 1127283"/>
                <a:gd name="connsiteY212" fmla="*/ 588074 h 1073848"/>
                <a:gd name="connsiteX213" fmla="*/ 54578 w 1127283"/>
                <a:gd name="connsiteY213" fmla="*/ 594932 h 1073848"/>
                <a:gd name="connsiteX214" fmla="*/ 52102 w 1127283"/>
                <a:gd name="connsiteY214" fmla="*/ 603409 h 1073848"/>
                <a:gd name="connsiteX215" fmla="*/ 70675 w 1127283"/>
                <a:gd name="connsiteY215" fmla="*/ 609124 h 1073848"/>
                <a:gd name="connsiteX216" fmla="*/ 96869 w 1127283"/>
                <a:gd name="connsiteY216" fmla="*/ 606838 h 1073848"/>
                <a:gd name="connsiteX217" fmla="*/ 113348 w 1127283"/>
                <a:gd name="connsiteY217" fmla="*/ 602361 h 1073848"/>
                <a:gd name="connsiteX218" fmla="*/ 118872 w 1127283"/>
                <a:gd name="connsiteY218" fmla="*/ 612553 h 1073848"/>
                <a:gd name="connsiteX219" fmla="*/ 132302 w 1127283"/>
                <a:gd name="connsiteY219" fmla="*/ 612553 h 1073848"/>
                <a:gd name="connsiteX220" fmla="*/ 140208 w 1127283"/>
                <a:gd name="connsiteY220" fmla="*/ 617030 h 1073848"/>
                <a:gd name="connsiteX221" fmla="*/ 145066 w 1127283"/>
                <a:gd name="connsiteY221" fmla="*/ 631603 h 1073848"/>
                <a:gd name="connsiteX222" fmla="*/ 147542 w 1127283"/>
                <a:gd name="connsiteY222" fmla="*/ 649700 h 1073848"/>
                <a:gd name="connsiteX223" fmla="*/ 151829 w 1127283"/>
                <a:gd name="connsiteY223" fmla="*/ 663130 h 1073848"/>
                <a:gd name="connsiteX224" fmla="*/ 160973 w 1127283"/>
                <a:gd name="connsiteY224" fmla="*/ 675513 h 1073848"/>
                <a:gd name="connsiteX225" fmla="*/ 154210 w 1127283"/>
                <a:gd name="connsiteY225" fmla="*/ 684467 h 1073848"/>
                <a:gd name="connsiteX226" fmla="*/ 145637 w 1127283"/>
                <a:gd name="connsiteY226" fmla="*/ 695706 h 1073848"/>
                <a:gd name="connsiteX227" fmla="*/ 131636 w 1127283"/>
                <a:gd name="connsiteY227" fmla="*/ 700278 h 1073848"/>
                <a:gd name="connsiteX228" fmla="*/ 121920 w 1127283"/>
                <a:gd name="connsiteY228" fmla="*/ 701326 h 1073848"/>
                <a:gd name="connsiteX229" fmla="*/ 131636 w 1127283"/>
                <a:gd name="connsiteY229" fmla="*/ 715899 h 1073848"/>
                <a:gd name="connsiteX230" fmla="*/ 143828 w 1127283"/>
                <a:gd name="connsiteY230" fmla="*/ 731615 h 1073848"/>
                <a:gd name="connsiteX231" fmla="*/ 129826 w 1127283"/>
                <a:gd name="connsiteY231" fmla="*/ 742855 h 1073848"/>
                <a:gd name="connsiteX232" fmla="*/ 136589 w 1127283"/>
                <a:gd name="connsiteY232" fmla="*/ 756285 h 1073848"/>
                <a:gd name="connsiteX233" fmla="*/ 143828 w 1127283"/>
                <a:gd name="connsiteY233" fmla="*/ 769715 h 1073848"/>
                <a:gd name="connsiteX234" fmla="*/ 143256 w 1127283"/>
                <a:gd name="connsiteY234" fmla="*/ 780955 h 1073848"/>
                <a:gd name="connsiteX235" fmla="*/ 135541 w 1127283"/>
                <a:gd name="connsiteY235" fmla="*/ 787622 h 1073848"/>
                <a:gd name="connsiteX236" fmla="*/ 131921 w 1127283"/>
                <a:gd name="connsiteY236" fmla="*/ 794290 h 1073848"/>
                <a:gd name="connsiteX237" fmla="*/ 133636 w 1127283"/>
                <a:gd name="connsiteY237" fmla="*/ 815150 h 1073848"/>
                <a:gd name="connsiteX238" fmla="*/ 169259 w 1127283"/>
                <a:gd name="connsiteY238" fmla="*/ 826865 h 1073848"/>
                <a:gd name="connsiteX239" fmla="*/ 176117 w 1127283"/>
                <a:gd name="connsiteY239" fmla="*/ 826484 h 1073848"/>
                <a:gd name="connsiteX240" fmla="*/ 174879 w 1127283"/>
                <a:gd name="connsiteY240" fmla="*/ 824865 h 1073848"/>
                <a:gd name="connsiteX241" fmla="*/ 174212 w 1127283"/>
                <a:gd name="connsiteY241" fmla="*/ 823151 h 1073848"/>
                <a:gd name="connsiteX242" fmla="*/ 174403 w 1127283"/>
                <a:gd name="connsiteY242" fmla="*/ 820960 h 1073848"/>
                <a:gd name="connsiteX243" fmla="*/ 178213 w 1127283"/>
                <a:gd name="connsiteY243" fmla="*/ 817721 h 1073848"/>
                <a:gd name="connsiteX244" fmla="*/ 180023 w 1127283"/>
                <a:gd name="connsiteY244" fmla="*/ 813721 h 1073848"/>
                <a:gd name="connsiteX245" fmla="*/ 185166 w 1127283"/>
                <a:gd name="connsiteY245" fmla="*/ 809625 h 1073848"/>
                <a:gd name="connsiteX246" fmla="*/ 188786 w 1127283"/>
                <a:gd name="connsiteY246" fmla="*/ 805148 h 1073848"/>
                <a:gd name="connsiteX247" fmla="*/ 205645 w 1127283"/>
                <a:gd name="connsiteY247" fmla="*/ 796290 h 1073848"/>
                <a:gd name="connsiteX248" fmla="*/ 211931 w 1127283"/>
                <a:gd name="connsiteY248" fmla="*/ 796100 h 1073848"/>
                <a:gd name="connsiteX249" fmla="*/ 216122 w 1127283"/>
                <a:gd name="connsiteY249" fmla="*/ 798862 h 1073848"/>
                <a:gd name="connsiteX250" fmla="*/ 218980 w 1127283"/>
                <a:gd name="connsiteY250" fmla="*/ 803720 h 1073848"/>
                <a:gd name="connsiteX251" fmla="*/ 221075 w 1127283"/>
                <a:gd name="connsiteY251" fmla="*/ 808863 h 1073848"/>
                <a:gd name="connsiteX252" fmla="*/ 222314 w 1127283"/>
                <a:gd name="connsiteY252" fmla="*/ 813626 h 1073848"/>
                <a:gd name="connsiteX253" fmla="*/ 222790 w 1127283"/>
                <a:gd name="connsiteY253" fmla="*/ 817150 h 1073848"/>
                <a:gd name="connsiteX254" fmla="*/ 223075 w 1127283"/>
                <a:gd name="connsiteY254" fmla="*/ 821817 h 1073848"/>
                <a:gd name="connsiteX255" fmla="*/ 232220 w 1127283"/>
                <a:gd name="connsiteY255" fmla="*/ 824770 h 1073848"/>
                <a:gd name="connsiteX256" fmla="*/ 244316 w 1127283"/>
                <a:gd name="connsiteY256" fmla="*/ 816674 h 1073848"/>
                <a:gd name="connsiteX257" fmla="*/ 254413 w 1127283"/>
                <a:gd name="connsiteY257" fmla="*/ 801719 h 1073848"/>
                <a:gd name="connsiteX258" fmla="*/ 253365 w 1127283"/>
                <a:gd name="connsiteY258" fmla="*/ 796100 h 1073848"/>
                <a:gd name="connsiteX259" fmla="*/ 252317 w 1127283"/>
                <a:gd name="connsiteY259" fmla="*/ 792861 h 1073848"/>
                <a:gd name="connsiteX260" fmla="*/ 252127 w 1127283"/>
                <a:gd name="connsiteY260" fmla="*/ 786003 h 1073848"/>
                <a:gd name="connsiteX261" fmla="*/ 260604 w 1127283"/>
                <a:gd name="connsiteY261" fmla="*/ 788289 h 1073848"/>
                <a:gd name="connsiteX262" fmla="*/ 262128 w 1127283"/>
                <a:gd name="connsiteY262" fmla="*/ 787813 h 1073848"/>
                <a:gd name="connsiteX263" fmla="*/ 268224 w 1127283"/>
                <a:gd name="connsiteY263" fmla="*/ 783908 h 1073848"/>
                <a:gd name="connsiteX264" fmla="*/ 269939 w 1127283"/>
                <a:gd name="connsiteY264" fmla="*/ 793433 h 1073848"/>
                <a:gd name="connsiteX265" fmla="*/ 275844 w 1127283"/>
                <a:gd name="connsiteY265" fmla="*/ 799433 h 1073848"/>
                <a:gd name="connsiteX266" fmla="*/ 276035 w 1127283"/>
                <a:gd name="connsiteY266" fmla="*/ 805339 h 1073848"/>
                <a:gd name="connsiteX267" fmla="*/ 279368 w 1127283"/>
                <a:gd name="connsiteY267" fmla="*/ 811244 h 1073848"/>
                <a:gd name="connsiteX268" fmla="*/ 281654 w 1127283"/>
                <a:gd name="connsiteY268" fmla="*/ 820388 h 1073848"/>
                <a:gd name="connsiteX269" fmla="*/ 285083 w 1127283"/>
                <a:gd name="connsiteY269" fmla="*/ 828103 h 1073848"/>
                <a:gd name="connsiteX270" fmla="*/ 285369 w 1127283"/>
                <a:gd name="connsiteY270" fmla="*/ 836105 h 1073848"/>
                <a:gd name="connsiteX271" fmla="*/ 282131 w 1127283"/>
                <a:gd name="connsiteY271" fmla="*/ 841724 h 1073848"/>
                <a:gd name="connsiteX272" fmla="*/ 280321 w 1127283"/>
                <a:gd name="connsiteY272" fmla="*/ 845725 h 1073848"/>
                <a:gd name="connsiteX273" fmla="*/ 279083 w 1127283"/>
                <a:gd name="connsiteY273" fmla="*/ 849059 h 1073848"/>
                <a:gd name="connsiteX274" fmla="*/ 278987 w 1127283"/>
                <a:gd name="connsiteY274" fmla="*/ 852869 h 1073848"/>
                <a:gd name="connsiteX275" fmla="*/ 280892 w 1127283"/>
                <a:gd name="connsiteY275" fmla="*/ 855536 h 1073848"/>
                <a:gd name="connsiteX276" fmla="*/ 283655 w 1127283"/>
                <a:gd name="connsiteY276" fmla="*/ 858488 h 1073848"/>
                <a:gd name="connsiteX277" fmla="*/ 286036 w 1127283"/>
                <a:gd name="connsiteY277" fmla="*/ 862108 h 1073848"/>
                <a:gd name="connsiteX278" fmla="*/ 294513 w 1127283"/>
                <a:gd name="connsiteY278" fmla="*/ 870014 h 1073848"/>
                <a:gd name="connsiteX279" fmla="*/ 266414 w 1127283"/>
                <a:gd name="connsiteY279" fmla="*/ 874776 h 1073848"/>
                <a:gd name="connsiteX280" fmla="*/ 266891 w 1127283"/>
                <a:gd name="connsiteY280" fmla="*/ 882015 h 1073848"/>
                <a:gd name="connsiteX281" fmla="*/ 266605 w 1127283"/>
                <a:gd name="connsiteY281" fmla="*/ 884301 h 1073848"/>
                <a:gd name="connsiteX282" fmla="*/ 269748 w 1127283"/>
                <a:gd name="connsiteY282" fmla="*/ 889730 h 1073848"/>
                <a:gd name="connsiteX283" fmla="*/ 273272 w 1127283"/>
                <a:gd name="connsiteY283" fmla="*/ 892778 h 1073848"/>
                <a:gd name="connsiteX284" fmla="*/ 274701 w 1127283"/>
                <a:gd name="connsiteY284" fmla="*/ 899065 h 1073848"/>
                <a:gd name="connsiteX285" fmla="*/ 275368 w 1127283"/>
                <a:gd name="connsiteY285" fmla="*/ 903542 h 1073848"/>
                <a:gd name="connsiteX286" fmla="*/ 274892 w 1127283"/>
                <a:gd name="connsiteY286" fmla="*/ 913257 h 1073848"/>
                <a:gd name="connsiteX287" fmla="*/ 296799 w 1127283"/>
                <a:gd name="connsiteY287" fmla="*/ 920782 h 1073848"/>
                <a:gd name="connsiteX288" fmla="*/ 313754 w 1127283"/>
                <a:gd name="connsiteY288" fmla="*/ 920877 h 1073848"/>
                <a:gd name="connsiteX289" fmla="*/ 327946 w 1127283"/>
                <a:gd name="connsiteY289" fmla="*/ 928211 h 1073848"/>
                <a:gd name="connsiteX290" fmla="*/ 338519 w 1127283"/>
                <a:gd name="connsiteY290" fmla="*/ 930402 h 1073848"/>
                <a:gd name="connsiteX291" fmla="*/ 347663 w 1127283"/>
                <a:gd name="connsiteY291" fmla="*/ 943547 h 1073848"/>
                <a:gd name="connsiteX292" fmla="*/ 362426 w 1127283"/>
                <a:gd name="connsiteY292" fmla="*/ 935165 h 1073848"/>
                <a:gd name="connsiteX293" fmla="*/ 364046 w 1127283"/>
                <a:gd name="connsiteY293" fmla="*/ 930212 h 1073848"/>
                <a:gd name="connsiteX294" fmla="*/ 368713 w 1127283"/>
                <a:gd name="connsiteY294" fmla="*/ 921830 h 1073848"/>
                <a:gd name="connsiteX295" fmla="*/ 369665 w 1127283"/>
                <a:gd name="connsiteY295" fmla="*/ 916305 h 1073848"/>
                <a:gd name="connsiteX296" fmla="*/ 369475 w 1127283"/>
                <a:gd name="connsiteY296" fmla="*/ 912114 h 1073848"/>
                <a:gd name="connsiteX297" fmla="*/ 366141 w 1127283"/>
                <a:gd name="connsiteY297" fmla="*/ 909542 h 1073848"/>
                <a:gd name="connsiteX298" fmla="*/ 368713 w 1127283"/>
                <a:gd name="connsiteY298" fmla="*/ 904113 h 1073848"/>
                <a:gd name="connsiteX299" fmla="*/ 376238 w 1127283"/>
                <a:gd name="connsiteY299" fmla="*/ 902494 h 1073848"/>
                <a:gd name="connsiteX300" fmla="*/ 384143 w 1127283"/>
                <a:gd name="connsiteY300" fmla="*/ 909257 h 1073848"/>
                <a:gd name="connsiteX301" fmla="*/ 388525 w 1127283"/>
                <a:gd name="connsiteY301" fmla="*/ 914210 h 1073848"/>
                <a:gd name="connsiteX302" fmla="*/ 392049 w 1127283"/>
                <a:gd name="connsiteY302" fmla="*/ 919258 h 1073848"/>
                <a:gd name="connsiteX303" fmla="*/ 394335 w 1127283"/>
                <a:gd name="connsiteY303" fmla="*/ 921353 h 1073848"/>
                <a:gd name="connsiteX304" fmla="*/ 400431 w 1127283"/>
                <a:gd name="connsiteY304" fmla="*/ 921925 h 1073848"/>
                <a:gd name="connsiteX305" fmla="*/ 406241 w 1127283"/>
                <a:gd name="connsiteY305" fmla="*/ 930212 h 1073848"/>
                <a:gd name="connsiteX306" fmla="*/ 409385 w 1127283"/>
                <a:gd name="connsiteY306" fmla="*/ 943737 h 1073848"/>
                <a:gd name="connsiteX307" fmla="*/ 406717 w 1127283"/>
                <a:gd name="connsiteY307" fmla="*/ 947833 h 1073848"/>
                <a:gd name="connsiteX308" fmla="*/ 404146 w 1127283"/>
                <a:gd name="connsiteY308" fmla="*/ 953453 h 1073848"/>
                <a:gd name="connsiteX309" fmla="*/ 400145 w 1127283"/>
                <a:gd name="connsiteY309" fmla="*/ 958596 h 1073848"/>
                <a:gd name="connsiteX310" fmla="*/ 399574 w 1127283"/>
                <a:gd name="connsiteY310" fmla="*/ 964692 h 1073848"/>
                <a:gd name="connsiteX311" fmla="*/ 403003 w 1127283"/>
                <a:gd name="connsiteY311" fmla="*/ 984885 h 1073848"/>
                <a:gd name="connsiteX312" fmla="*/ 431197 w 1127283"/>
                <a:gd name="connsiteY312" fmla="*/ 995553 h 1073848"/>
                <a:gd name="connsiteX313" fmla="*/ 442436 w 1127283"/>
                <a:gd name="connsiteY313" fmla="*/ 1006697 h 1073848"/>
                <a:gd name="connsiteX314" fmla="*/ 441579 w 1127283"/>
                <a:gd name="connsiteY314" fmla="*/ 1010698 h 1073848"/>
                <a:gd name="connsiteX315" fmla="*/ 439103 w 1127283"/>
                <a:gd name="connsiteY315" fmla="*/ 1013841 h 1073848"/>
                <a:gd name="connsiteX316" fmla="*/ 434626 w 1127283"/>
                <a:gd name="connsiteY316" fmla="*/ 1015651 h 1073848"/>
                <a:gd name="connsiteX317" fmla="*/ 433959 w 1127283"/>
                <a:gd name="connsiteY317" fmla="*/ 1018603 h 1073848"/>
                <a:gd name="connsiteX318" fmla="*/ 434912 w 1127283"/>
                <a:gd name="connsiteY318" fmla="*/ 1022699 h 1073848"/>
                <a:gd name="connsiteX319" fmla="*/ 438341 w 1127283"/>
                <a:gd name="connsiteY319" fmla="*/ 1026033 h 1073848"/>
                <a:gd name="connsiteX320" fmla="*/ 440150 w 1127283"/>
                <a:gd name="connsiteY320" fmla="*/ 1029176 h 1073848"/>
                <a:gd name="connsiteX321" fmla="*/ 441008 w 1127283"/>
                <a:gd name="connsiteY321" fmla="*/ 1037653 h 1073848"/>
                <a:gd name="connsiteX322" fmla="*/ 461105 w 1127283"/>
                <a:gd name="connsiteY322" fmla="*/ 1017937 h 1073848"/>
                <a:gd name="connsiteX323" fmla="*/ 468344 w 1127283"/>
                <a:gd name="connsiteY323" fmla="*/ 1036320 h 1073848"/>
                <a:gd name="connsiteX324" fmla="*/ 476441 w 1127283"/>
                <a:gd name="connsiteY324" fmla="*/ 1043750 h 1073848"/>
                <a:gd name="connsiteX325" fmla="*/ 483108 w 1127283"/>
                <a:gd name="connsiteY325" fmla="*/ 1045750 h 1073848"/>
                <a:gd name="connsiteX326" fmla="*/ 490157 w 1127283"/>
                <a:gd name="connsiteY326" fmla="*/ 1043273 h 1073848"/>
                <a:gd name="connsiteX327" fmla="*/ 503396 w 1127283"/>
                <a:gd name="connsiteY327" fmla="*/ 1033367 h 1073848"/>
                <a:gd name="connsiteX328" fmla="*/ 518541 w 1127283"/>
                <a:gd name="connsiteY328" fmla="*/ 1026319 h 1073848"/>
                <a:gd name="connsiteX329" fmla="*/ 528447 w 1127283"/>
                <a:gd name="connsiteY329" fmla="*/ 1028986 h 1073848"/>
                <a:gd name="connsiteX330" fmla="*/ 533686 w 1127283"/>
                <a:gd name="connsiteY330" fmla="*/ 1032605 h 1073848"/>
                <a:gd name="connsiteX331" fmla="*/ 541877 w 1127283"/>
                <a:gd name="connsiteY331" fmla="*/ 1034510 h 1073848"/>
                <a:gd name="connsiteX332" fmla="*/ 547307 w 1127283"/>
                <a:gd name="connsiteY332" fmla="*/ 1039463 h 1073848"/>
                <a:gd name="connsiteX333" fmla="*/ 544735 w 1127283"/>
                <a:gd name="connsiteY333" fmla="*/ 1045274 h 1073848"/>
                <a:gd name="connsiteX334" fmla="*/ 555022 w 1127283"/>
                <a:gd name="connsiteY334" fmla="*/ 1057466 h 1073848"/>
                <a:gd name="connsiteX335" fmla="*/ 569500 w 1127283"/>
                <a:gd name="connsiteY335" fmla="*/ 1052703 h 1073848"/>
                <a:gd name="connsiteX336" fmla="*/ 577025 w 1127283"/>
                <a:gd name="connsiteY336" fmla="*/ 1056704 h 1073848"/>
                <a:gd name="connsiteX337" fmla="*/ 578168 w 1127283"/>
                <a:gd name="connsiteY337" fmla="*/ 1060323 h 1073848"/>
                <a:gd name="connsiteX338" fmla="*/ 580930 w 1127283"/>
                <a:gd name="connsiteY338" fmla="*/ 1073849 h 1073848"/>
                <a:gd name="connsiteX339" fmla="*/ 600932 w 1127283"/>
                <a:gd name="connsiteY339" fmla="*/ 1061752 h 1073848"/>
                <a:gd name="connsiteX340" fmla="*/ 604076 w 1127283"/>
                <a:gd name="connsiteY340" fmla="*/ 1057370 h 1073848"/>
                <a:gd name="connsiteX341" fmla="*/ 613791 w 1127283"/>
                <a:gd name="connsiteY341" fmla="*/ 1038987 h 1073848"/>
                <a:gd name="connsiteX342" fmla="*/ 618744 w 1127283"/>
                <a:gd name="connsiteY342" fmla="*/ 1009460 h 1073848"/>
                <a:gd name="connsiteX343" fmla="*/ 676085 w 1127283"/>
                <a:gd name="connsiteY343" fmla="*/ 1009460 h 1073848"/>
                <a:gd name="connsiteX344" fmla="*/ 691991 w 1127283"/>
                <a:gd name="connsiteY344" fmla="*/ 999458 h 1073848"/>
                <a:gd name="connsiteX345" fmla="*/ 704183 w 1127283"/>
                <a:gd name="connsiteY345" fmla="*/ 1000506 h 1073848"/>
                <a:gd name="connsiteX346" fmla="*/ 711422 w 1127283"/>
                <a:gd name="connsiteY346" fmla="*/ 990505 h 1073848"/>
                <a:gd name="connsiteX347" fmla="*/ 719995 w 1127283"/>
                <a:gd name="connsiteY347" fmla="*/ 981647 h 1073848"/>
                <a:gd name="connsiteX348" fmla="*/ 733425 w 1127283"/>
                <a:gd name="connsiteY348" fmla="*/ 978313 h 1073848"/>
                <a:gd name="connsiteX349" fmla="*/ 743141 w 1127283"/>
                <a:gd name="connsiteY349" fmla="*/ 977265 h 1073848"/>
                <a:gd name="connsiteX350" fmla="*/ 744379 w 1127283"/>
                <a:gd name="connsiteY350" fmla="*/ 988314 h 1073848"/>
                <a:gd name="connsiteX351" fmla="*/ 757142 w 1127283"/>
                <a:gd name="connsiteY351" fmla="*/ 996125 h 1073848"/>
                <a:gd name="connsiteX352" fmla="*/ 768287 w 1127283"/>
                <a:gd name="connsiteY352" fmla="*/ 1007078 h 1073848"/>
                <a:gd name="connsiteX353" fmla="*/ 772382 w 1127283"/>
                <a:gd name="connsiteY353" fmla="*/ 988409 h 1073848"/>
                <a:gd name="connsiteX354" fmla="*/ 820865 w 1127283"/>
                <a:gd name="connsiteY354" fmla="*/ 909828 h 1073848"/>
                <a:gd name="connsiteX355" fmla="*/ 829056 w 1127283"/>
                <a:gd name="connsiteY355" fmla="*/ 900494 h 1073848"/>
                <a:gd name="connsiteX356" fmla="*/ 835152 w 1127283"/>
                <a:gd name="connsiteY356" fmla="*/ 893921 h 1073848"/>
                <a:gd name="connsiteX357" fmla="*/ 838676 w 1127283"/>
                <a:gd name="connsiteY357" fmla="*/ 889349 h 1073848"/>
                <a:gd name="connsiteX358" fmla="*/ 849440 w 1127283"/>
                <a:gd name="connsiteY358" fmla="*/ 875919 h 1073848"/>
                <a:gd name="connsiteX359" fmla="*/ 850583 w 1127283"/>
                <a:gd name="connsiteY359" fmla="*/ 872204 h 1073848"/>
                <a:gd name="connsiteX360" fmla="*/ 851059 w 1127283"/>
                <a:gd name="connsiteY360" fmla="*/ 866870 h 1073848"/>
                <a:gd name="connsiteX361" fmla="*/ 845630 w 1127283"/>
                <a:gd name="connsiteY361" fmla="*/ 857822 h 1073848"/>
                <a:gd name="connsiteX362" fmla="*/ 842296 w 1127283"/>
                <a:gd name="connsiteY362" fmla="*/ 841915 h 1073848"/>
                <a:gd name="connsiteX363" fmla="*/ 838962 w 1127283"/>
                <a:gd name="connsiteY363" fmla="*/ 836581 h 1073848"/>
                <a:gd name="connsiteX364" fmla="*/ 827246 w 1127283"/>
                <a:gd name="connsiteY364" fmla="*/ 828770 h 1073848"/>
                <a:gd name="connsiteX365" fmla="*/ 822389 w 1127283"/>
                <a:gd name="connsiteY365" fmla="*/ 823341 h 1073848"/>
                <a:gd name="connsiteX366" fmla="*/ 822293 w 1127283"/>
                <a:gd name="connsiteY366" fmla="*/ 817340 h 1073848"/>
                <a:gd name="connsiteX367" fmla="*/ 823722 w 1127283"/>
                <a:gd name="connsiteY367" fmla="*/ 810101 h 1073848"/>
                <a:gd name="connsiteX368" fmla="*/ 824675 w 1127283"/>
                <a:gd name="connsiteY368" fmla="*/ 801910 h 1073848"/>
                <a:gd name="connsiteX369" fmla="*/ 822579 w 1127283"/>
                <a:gd name="connsiteY369" fmla="*/ 798671 h 1073848"/>
                <a:gd name="connsiteX370" fmla="*/ 818960 w 1127283"/>
                <a:gd name="connsiteY370" fmla="*/ 795719 h 1073848"/>
                <a:gd name="connsiteX371" fmla="*/ 809435 w 1127283"/>
                <a:gd name="connsiteY371" fmla="*/ 795433 h 1073848"/>
                <a:gd name="connsiteX372" fmla="*/ 806196 w 1127283"/>
                <a:gd name="connsiteY372" fmla="*/ 796957 h 1073848"/>
                <a:gd name="connsiteX373" fmla="*/ 802386 w 1127283"/>
                <a:gd name="connsiteY373" fmla="*/ 792099 h 1073848"/>
                <a:gd name="connsiteX374" fmla="*/ 806768 w 1127283"/>
                <a:gd name="connsiteY374" fmla="*/ 778097 h 1073848"/>
                <a:gd name="connsiteX375" fmla="*/ 805625 w 1127283"/>
                <a:gd name="connsiteY375" fmla="*/ 775811 h 1073848"/>
                <a:gd name="connsiteX376" fmla="*/ 802577 w 1127283"/>
                <a:gd name="connsiteY376" fmla="*/ 767144 h 1073848"/>
                <a:gd name="connsiteX377" fmla="*/ 818674 w 1127283"/>
                <a:gd name="connsiteY377" fmla="*/ 751903 h 1073848"/>
                <a:gd name="connsiteX378" fmla="*/ 829437 w 1127283"/>
                <a:gd name="connsiteY378" fmla="*/ 744379 h 1073848"/>
                <a:gd name="connsiteX379" fmla="*/ 838676 w 1127283"/>
                <a:gd name="connsiteY379" fmla="*/ 733616 h 1073848"/>
                <a:gd name="connsiteX380" fmla="*/ 848773 w 1127283"/>
                <a:gd name="connsiteY380" fmla="*/ 711613 h 1073848"/>
                <a:gd name="connsiteX381" fmla="*/ 855059 w 1127283"/>
                <a:gd name="connsiteY381" fmla="*/ 704755 h 1073848"/>
                <a:gd name="connsiteX382" fmla="*/ 860012 w 1127283"/>
                <a:gd name="connsiteY382" fmla="*/ 697992 h 1073848"/>
                <a:gd name="connsiteX383" fmla="*/ 882206 w 1127283"/>
                <a:gd name="connsiteY383" fmla="*/ 668465 h 1073848"/>
                <a:gd name="connsiteX384" fmla="*/ 892397 w 1127283"/>
                <a:gd name="connsiteY384" fmla="*/ 658082 h 1073848"/>
                <a:gd name="connsiteX385" fmla="*/ 907637 w 1127283"/>
                <a:gd name="connsiteY385" fmla="*/ 636842 h 1073848"/>
                <a:gd name="connsiteX386" fmla="*/ 917829 w 1127283"/>
                <a:gd name="connsiteY386" fmla="*/ 617696 h 1073848"/>
                <a:gd name="connsiteX387" fmla="*/ 928688 w 1127283"/>
                <a:gd name="connsiteY387" fmla="*/ 616363 h 1073848"/>
                <a:gd name="connsiteX388" fmla="*/ 935165 w 1127283"/>
                <a:gd name="connsiteY388" fmla="*/ 611600 h 1073848"/>
                <a:gd name="connsiteX389" fmla="*/ 942785 w 1127283"/>
                <a:gd name="connsiteY389" fmla="*/ 611886 h 1073848"/>
                <a:gd name="connsiteX390" fmla="*/ 946023 w 1127283"/>
                <a:gd name="connsiteY390" fmla="*/ 608552 h 1073848"/>
                <a:gd name="connsiteX391" fmla="*/ 948118 w 1127283"/>
                <a:gd name="connsiteY391" fmla="*/ 605790 h 1073848"/>
                <a:gd name="connsiteX392" fmla="*/ 950785 w 1127283"/>
                <a:gd name="connsiteY392" fmla="*/ 603218 h 1073848"/>
                <a:gd name="connsiteX393" fmla="*/ 953548 w 1127283"/>
                <a:gd name="connsiteY393" fmla="*/ 601409 h 1073848"/>
                <a:gd name="connsiteX394" fmla="*/ 964311 w 1127283"/>
                <a:gd name="connsiteY394" fmla="*/ 603028 h 1073848"/>
                <a:gd name="connsiteX395" fmla="*/ 983837 w 1127283"/>
                <a:gd name="connsiteY395" fmla="*/ 580930 h 1073848"/>
                <a:gd name="connsiteX396" fmla="*/ 995077 w 1127283"/>
                <a:gd name="connsiteY396" fmla="*/ 575596 h 1073848"/>
                <a:gd name="connsiteX397" fmla="*/ 1015079 w 1127283"/>
                <a:gd name="connsiteY397" fmla="*/ 591217 h 1073848"/>
                <a:gd name="connsiteX398" fmla="*/ 1036320 w 1127283"/>
                <a:gd name="connsiteY398" fmla="*/ 583216 h 1073848"/>
                <a:gd name="connsiteX399" fmla="*/ 1046512 w 1127283"/>
                <a:gd name="connsiteY399" fmla="*/ 583502 h 1073848"/>
                <a:gd name="connsiteX400" fmla="*/ 1052227 w 1127283"/>
                <a:gd name="connsiteY400" fmla="*/ 589979 h 1073848"/>
                <a:gd name="connsiteX401" fmla="*/ 1058990 w 1127283"/>
                <a:gd name="connsiteY401" fmla="*/ 593884 h 1073848"/>
                <a:gd name="connsiteX402" fmla="*/ 1062038 w 1127283"/>
                <a:gd name="connsiteY402" fmla="*/ 593503 h 1073848"/>
                <a:gd name="connsiteX403" fmla="*/ 1073182 w 1127283"/>
                <a:gd name="connsiteY403" fmla="*/ 594265 h 1073848"/>
                <a:gd name="connsiteX404" fmla="*/ 1079373 w 1127283"/>
                <a:gd name="connsiteY404" fmla="*/ 581216 h 1073848"/>
                <a:gd name="connsiteX405" fmla="*/ 1085564 w 1127283"/>
                <a:gd name="connsiteY405" fmla="*/ 577215 h 1073848"/>
                <a:gd name="connsiteX406" fmla="*/ 1090613 w 1127283"/>
                <a:gd name="connsiteY406" fmla="*/ 566261 h 1073848"/>
                <a:gd name="connsiteX407" fmla="*/ 1110901 w 1127283"/>
                <a:gd name="connsiteY407" fmla="*/ 554736 h 1073848"/>
                <a:gd name="connsiteX408" fmla="*/ 1114806 w 1127283"/>
                <a:gd name="connsiteY408" fmla="*/ 551402 h 1073848"/>
                <a:gd name="connsiteX409" fmla="*/ 1118711 w 1127283"/>
                <a:gd name="connsiteY409" fmla="*/ 550069 h 1073848"/>
                <a:gd name="connsiteX410" fmla="*/ 1122426 w 1127283"/>
                <a:gd name="connsiteY410" fmla="*/ 545306 h 1073848"/>
                <a:gd name="connsiteX411" fmla="*/ 1124998 w 1127283"/>
                <a:gd name="connsiteY411" fmla="*/ 541115 h 1073848"/>
                <a:gd name="connsiteX412" fmla="*/ 1127284 w 1127283"/>
                <a:gd name="connsiteY412" fmla="*/ 523970 h 1073848"/>
                <a:gd name="connsiteX413" fmla="*/ 1106424 w 1127283"/>
                <a:gd name="connsiteY413" fmla="*/ 500444 h 1073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Lst>
              <a:rect l="l" t="t" r="r" b="b"/>
              <a:pathLst>
                <a:path w="1127283" h="1073848">
                  <a:moveTo>
                    <a:pt x="1106424" y="500444"/>
                  </a:moveTo>
                  <a:lnTo>
                    <a:pt x="1065752" y="481108"/>
                  </a:lnTo>
                  <a:lnTo>
                    <a:pt x="1056037" y="470440"/>
                  </a:lnTo>
                  <a:lnTo>
                    <a:pt x="1057370" y="457867"/>
                  </a:lnTo>
                  <a:lnTo>
                    <a:pt x="1061561" y="443008"/>
                  </a:lnTo>
                  <a:lnTo>
                    <a:pt x="1060514" y="425863"/>
                  </a:lnTo>
                  <a:lnTo>
                    <a:pt x="1062514" y="399479"/>
                  </a:lnTo>
                  <a:lnTo>
                    <a:pt x="994315" y="400050"/>
                  </a:lnTo>
                  <a:lnTo>
                    <a:pt x="981456" y="408432"/>
                  </a:lnTo>
                  <a:lnTo>
                    <a:pt x="921449" y="386239"/>
                  </a:lnTo>
                  <a:lnTo>
                    <a:pt x="890111" y="384239"/>
                  </a:lnTo>
                  <a:lnTo>
                    <a:pt x="880872" y="379762"/>
                  </a:lnTo>
                  <a:lnTo>
                    <a:pt x="872966" y="370427"/>
                  </a:lnTo>
                  <a:lnTo>
                    <a:pt x="858679" y="348329"/>
                  </a:lnTo>
                  <a:lnTo>
                    <a:pt x="849535" y="340995"/>
                  </a:lnTo>
                  <a:lnTo>
                    <a:pt x="836105" y="336328"/>
                  </a:lnTo>
                  <a:lnTo>
                    <a:pt x="829342" y="336233"/>
                  </a:lnTo>
                  <a:lnTo>
                    <a:pt x="822484" y="337757"/>
                  </a:lnTo>
                  <a:lnTo>
                    <a:pt x="816388" y="336614"/>
                  </a:lnTo>
                  <a:lnTo>
                    <a:pt x="812102" y="331470"/>
                  </a:lnTo>
                  <a:lnTo>
                    <a:pt x="807339" y="327755"/>
                  </a:lnTo>
                  <a:lnTo>
                    <a:pt x="800100" y="331089"/>
                  </a:lnTo>
                  <a:lnTo>
                    <a:pt x="794004" y="340328"/>
                  </a:lnTo>
                  <a:lnTo>
                    <a:pt x="790004" y="351091"/>
                  </a:lnTo>
                  <a:lnTo>
                    <a:pt x="785336" y="361188"/>
                  </a:lnTo>
                  <a:lnTo>
                    <a:pt x="777335" y="368332"/>
                  </a:lnTo>
                  <a:lnTo>
                    <a:pt x="770477" y="370427"/>
                  </a:lnTo>
                  <a:lnTo>
                    <a:pt x="740283" y="368808"/>
                  </a:lnTo>
                  <a:lnTo>
                    <a:pt x="727234" y="372999"/>
                  </a:lnTo>
                  <a:lnTo>
                    <a:pt x="714470" y="380619"/>
                  </a:lnTo>
                  <a:lnTo>
                    <a:pt x="702945" y="390811"/>
                  </a:lnTo>
                  <a:lnTo>
                    <a:pt x="700469" y="395573"/>
                  </a:lnTo>
                  <a:lnTo>
                    <a:pt x="699135" y="400907"/>
                  </a:lnTo>
                  <a:lnTo>
                    <a:pt x="697230" y="405289"/>
                  </a:lnTo>
                  <a:lnTo>
                    <a:pt x="693325" y="407194"/>
                  </a:lnTo>
                  <a:lnTo>
                    <a:pt x="689515" y="405860"/>
                  </a:lnTo>
                  <a:lnTo>
                    <a:pt x="682371" y="400622"/>
                  </a:lnTo>
                  <a:lnTo>
                    <a:pt x="678656" y="399669"/>
                  </a:lnTo>
                  <a:lnTo>
                    <a:pt x="673322" y="402812"/>
                  </a:lnTo>
                  <a:lnTo>
                    <a:pt x="668084" y="407575"/>
                  </a:lnTo>
                  <a:lnTo>
                    <a:pt x="661988" y="408623"/>
                  </a:lnTo>
                  <a:lnTo>
                    <a:pt x="654844" y="400431"/>
                  </a:lnTo>
                  <a:lnTo>
                    <a:pt x="641795" y="381667"/>
                  </a:lnTo>
                  <a:lnTo>
                    <a:pt x="635318" y="375380"/>
                  </a:lnTo>
                  <a:lnTo>
                    <a:pt x="635222" y="375285"/>
                  </a:lnTo>
                  <a:lnTo>
                    <a:pt x="604266" y="361855"/>
                  </a:lnTo>
                  <a:lnTo>
                    <a:pt x="599408" y="359759"/>
                  </a:lnTo>
                  <a:lnTo>
                    <a:pt x="583216" y="348139"/>
                  </a:lnTo>
                  <a:lnTo>
                    <a:pt x="569976" y="332423"/>
                  </a:lnTo>
                  <a:lnTo>
                    <a:pt x="533114" y="271844"/>
                  </a:lnTo>
                  <a:lnTo>
                    <a:pt x="520160" y="256699"/>
                  </a:lnTo>
                  <a:lnTo>
                    <a:pt x="477107" y="220504"/>
                  </a:lnTo>
                  <a:lnTo>
                    <a:pt x="473774" y="211550"/>
                  </a:lnTo>
                  <a:lnTo>
                    <a:pt x="472631" y="196406"/>
                  </a:lnTo>
                  <a:lnTo>
                    <a:pt x="473774" y="189738"/>
                  </a:lnTo>
                  <a:lnTo>
                    <a:pt x="475964" y="185357"/>
                  </a:lnTo>
                  <a:lnTo>
                    <a:pt x="477298" y="180975"/>
                  </a:lnTo>
                  <a:lnTo>
                    <a:pt x="476060" y="174022"/>
                  </a:lnTo>
                  <a:lnTo>
                    <a:pt x="473202" y="170498"/>
                  </a:lnTo>
                  <a:lnTo>
                    <a:pt x="468535" y="168116"/>
                  </a:lnTo>
                  <a:lnTo>
                    <a:pt x="386715" y="160877"/>
                  </a:lnTo>
                  <a:lnTo>
                    <a:pt x="377000" y="151352"/>
                  </a:lnTo>
                  <a:lnTo>
                    <a:pt x="371951" y="136779"/>
                  </a:lnTo>
                  <a:lnTo>
                    <a:pt x="368332" y="121920"/>
                  </a:lnTo>
                  <a:lnTo>
                    <a:pt x="362521" y="111633"/>
                  </a:lnTo>
                  <a:lnTo>
                    <a:pt x="356521" y="111443"/>
                  </a:lnTo>
                  <a:lnTo>
                    <a:pt x="352139" y="112967"/>
                  </a:lnTo>
                  <a:lnTo>
                    <a:pt x="337471" y="118110"/>
                  </a:lnTo>
                  <a:lnTo>
                    <a:pt x="337471" y="118110"/>
                  </a:lnTo>
                  <a:lnTo>
                    <a:pt x="331280" y="120206"/>
                  </a:lnTo>
                  <a:lnTo>
                    <a:pt x="321564" y="121063"/>
                  </a:lnTo>
                  <a:lnTo>
                    <a:pt x="312325" y="119634"/>
                  </a:lnTo>
                  <a:lnTo>
                    <a:pt x="303752" y="114300"/>
                  </a:lnTo>
                  <a:lnTo>
                    <a:pt x="295561" y="103537"/>
                  </a:lnTo>
                  <a:lnTo>
                    <a:pt x="293465" y="97631"/>
                  </a:lnTo>
                  <a:lnTo>
                    <a:pt x="293084" y="92774"/>
                  </a:lnTo>
                  <a:lnTo>
                    <a:pt x="292989" y="92012"/>
                  </a:lnTo>
                  <a:lnTo>
                    <a:pt x="292417" y="88011"/>
                  </a:lnTo>
                  <a:lnTo>
                    <a:pt x="289084" y="82487"/>
                  </a:lnTo>
                  <a:lnTo>
                    <a:pt x="285274" y="79915"/>
                  </a:lnTo>
                  <a:lnTo>
                    <a:pt x="271463" y="76867"/>
                  </a:lnTo>
                  <a:lnTo>
                    <a:pt x="256127" y="66961"/>
                  </a:lnTo>
                  <a:lnTo>
                    <a:pt x="241554" y="49149"/>
                  </a:lnTo>
                  <a:lnTo>
                    <a:pt x="232600" y="38195"/>
                  </a:lnTo>
                  <a:lnTo>
                    <a:pt x="216979" y="29718"/>
                  </a:lnTo>
                  <a:lnTo>
                    <a:pt x="212979" y="29909"/>
                  </a:lnTo>
                  <a:lnTo>
                    <a:pt x="210407" y="31242"/>
                  </a:lnTo>
                  <a:lnTo>
                    <a:pt x="208026" y="31814"/>
                  </a:lnTo>
                  <a:lnTo>
                    <a:pt x="204502" y="29718"/>
                  </a:lnTo>
                  <a:lnTo>
                    <a:pt x="202025" y="25337"/>
                  </a:lnTo>
                  <a:lnTo>
                    <a:pt x="197453" y="12002"/>
                  </a:lnTo>
                  <a:lnTo>
                    <a:pt x="194786" y="6953"/>
                  </a:lnTo>
                  <a:lnTo>
                    <a:pt x="187833" y="1238"/>
                  </a:lnTo>
                  <a:lnTo>
                    <a:pt x="180689" y="0"/>
                  </a:lnTo>
                  <a:lnTo>
                    <a:pt x="175736" y="4858"/>
                  </a:lnTo>
                  <a:lnTo>
                    <a:pt x="175260" y="17621"/>
                  </a:lnTo>
                  <a:lnTo>
                    <a:pt x="186214" y="37529"/>
                  </a:lnTo>
                  <a:lnTo>
                    <a:pt x="188881" y="49244"/>
                  </a:lnTo>
                  <a:lnTo>
                    <a:pt x="181166" y="59531"/>
                  </a:lnTo>
                  <a:lnTo>
                    <a:pt x="168688" y="66008"/>
                  </a:lnTo>
                  <a:lnTo>
                    <a:pt x="162496" y="66008"/>
                  </a:lnTo>
                  <a:lnTo>
                    <a:pt x="156782" y="61151"/>
                  </a:lnTo>
                  <a:lnTo>
                    <a:pt x="152019" y="45339"/>
                  </a:lnTo>
                  <a:lnTo>
                    <a:pt x="148495" y="27146"/>
                  </a:lnTo>
                  <a:lnTo>
                    <a:pt x="143161" y="12002"/>
                  </a:lnTo>
                  <a:lnTo>
                    <a:pt x="133064" y="5239"/>
                  </a:lnTo>
                  <a:lnTo>
                    <a:pt x="114776" y="5715"/>
                  </a:lnTo>
                  <a:lnTo>
                    <a:pt x="105632" y="8477"/>
                  </a:lnTo>
                  <a:lnTo>
                    <a:pt x="97155" y="13907"/>
                  </a:lnTo>
                  <a:lnTo>
                    <a:pt x="91726" y="19526"/>
                  </a:lnTo>
                  <a:lnTo>
                    <a:pt x="68294" y="43625"/>
                  </a:lnTo>
                  <a:lnTo>
                    <a:pt x="58388" y="50483"/>
                  </a:lnTo>
                  <a:lnTo>
                    <a:pt x="28480" y="54864"/>
                  </a:lnTo>
                  <a:lnTo>
                    <a:pt x="19050" y="60960"/>
                  </a:lnTo>
                  <a:lnTo>
                    <a:pt x="10954" y="68580"/>
                  </a:lnTo>
                  <a:lnTo>
                    <a:pt x="10954" y="69818"/>
                  </a:lnTo>
                  <a:lnTo>
                    <a:pt x="16764" y="127921"/>
                  </a:lnTo>
                  <a:lnTo>
                    <a:pt x="25146" y="128397"/>
                  </a:lnTo>
                  <a:lnTo>
                    <a:pt x="28861" y="130016"/>
                  </a:lnTo>
                  <a:lnTo>
                    <a:pt x="32099" y="133731"/>
                  </a:lnTo>
                  <a:lnTo>
                    <a:pt x="33338" y="136589"/>
                  </a:lnTo>
                  <a:lnTo>
                    <a:pt x="32766" y="140494"/>
                  </a:lnTo>
                  <a:lnTo>
                    <a:pt x="33433" y="149447"/>
                  </a:lnTo>
                  <a:lnTo>
                    <a:pt x="34481" y="158972"/>
                  </a:lnTo>
                  <a:lnTo>
                    <a:pt x="36576" y="170021"/>
                  </a:lnTo>
                  <a:lnTo>
                    <a:pt x="37529" y="178975"/>
                  </a:lnTo>
                  <a:lnTo>
                    <a:pt x="39624" y="183166"/>
                  </a:lnTo>
                  <a:lnTo>
                    <a:pt x="42863" y="186690"/>
                  </a:lnTo>
                  <a:lnTo>
                    <a:pt x="49340" y="189262"/>
                  </a:lnTo>
                  <a:lnTo>
                    <a:pt x="52102" y="188976"/>
                  </a:lnTo>
                  <a:lnTo>
                    <a:pt x="54102" y="187833"/>
                  </a:lnTo>
                  <a:lnTo>
                    <a:pt x="55531" y="188214"/>
                  </a:lnTo>
                  <a:lnTo>
                    <a:pt x="57055" y="188976"/>
                  </a:lnTo>
                  <a:lnTo>
                    <a:pt x="59912" y="201740"/>
                  </a:lnTo>
                  <a:lnTo>
                    <a:pt x="64770" y="195739"/>
                  </a:lnTo>
                  <a:lnTo>
                    <a:pt x="80963" y="200787"/>
                  </a:lnTo>
                  <a:lnTo>
                    <a:pt x="84868" y="204311"/>
                  </a:lnTo>
                  <a:lnTo>
                    <a:pt x="108204" y="225743"/>
                  </a:lnTo>
                  <a:lnTo>
                    <a:pt x="110681" y="235268"/>
                  </a:lnTo>
                  <a:lnTo>
                    <a:pt x="116586" y="248507"/>
                  </a:lnTo>
                  <a:lnTo>
                    <a:pt x="113538" y="251936"/>
                  </a:lnTo>
                  <a:lnTo>
                    <a:pt x="112109" y="254984"/>
                  </a:lnTo>
                  <a:lnTo>
                    <a:pt x="109347" y="259271"/>
                  </a:lnTo>
                  <a:lnTo>
                    <a:pt x="107728" y="264128"/>
                  </a:lnTo>
                  <a:lnTo>
                    <a:pt x="107633" y="270415"/>
                  </a:lnTo>
                  <a:lnTo>
                    <a:pt x="110109" y="276987"/>
                  </a:lnTo>
                  <a:lnTo>
                    <a:pt x="114110" y="283274"/>
                  </a:lnTo>
                  <a:lnTo>
                    <a:pt x="111347" y="293275"/>
                  </a:lnTo>
                  <a:lnTo>
                    <a:pt x="114586" y="308896"/>
                  </a:lnTo>
                  <a:lnTo>
                    <a:pt x="104204" y="307562"/>
                  </a:lnTo>
                  <a:lnTo>
                    <a:pt x="102394" y="309372"/>
                  </a:lnTo>
                  <a:lnTo>
                    <a:pt x="102775" y="312515"/>
                  </a:lnTo>
                  <a:lnTo>
                    <a:pt x="107633" y="319373"/>
                  </a:lnTo>
                  <a:lnTo>
                    <a:pt x="110585" y="322707"/>
                  </a:lnTo>
                  <a:lnTo>
                    <a:pt x="111062" y="325850"/>
                  </a:lnTo>
                  <a:lnTo>
                    <a:pt x="104489" y="328327"/>
                  </a:lnTo>
                  <a:lnTo>
                    <a:pt x="102108" y="330137"/>
                  </a:lnTo>
                  <a:lnTo>
                    <a:pt x="94583" y="328708"/>
                  </a:lnTo>
                  <a:lnTo>
                    <a:pt x="90964" y="325565"/>
                  </a:lnTo>
                  <a:lnTo>
                    <a:pt x="88868" y="322612"/>
                  </a:lnTo>
                  <a:lnTo>
                    <a:pt x="87440" y="320326"/>
                  </a:lnTo>
                  <a:lnTo>
                    <a:pt x="85535" y="319754"/>
                  </a:lnTo>
                  <a:lnTo>
                    <a:pt x="80391" y="321278"/>
                  </a:lnTo>
                  <a:lnTo>
                    <a:pt x="78200" y="321469"/>
                  </a:lnTo>
                  <a:lnTo>
                    <a:pt x="74771" y="320993"/>
                  </a:lnTo>
                  <a:lnTo>
                    <a:pt x="64961" y="326898"/>
                  </a:lnTo>
                  <a:lnTo>
                    <a:pt x="52578" y="338804"/>
                  </a:lnTo>
                  <a:lnTo>
                    <a:pt x="31909" y="329565"/>
                  </a:lnTo>
                  <a:lnTo>
                    <a:pt x="31433" y="359950"/>
                  </a:lnTo>
                  <a:lnTo>
                    <a:pt x="37243" y="371380"/>
                  </a:lnTo>
                  <a:lnTo>
                    <a:pt x="45434" y="379666"/>
                  </a:lnTo>
                  <a:lnTo>
                    <a:pt x="52007" y="379190"/>
                  </a:lnTo>
                  <a:lnTo>
                    <a:pt x="72009" y="373761"/>
                  </a:lnTo>
                  <a:lnTo>
                    <a:pt x="79820" y="374999"/>
                  </a:lnTo>
                  <a:lnTo>
                    <a:pt x="86773" y="379952"/>
                  </a:lnTo>
                  <a:lnTo>
                    <a:pt x="96203" y="394430"/>
                  </a:lnTo>
                  <a:lnTo>
                    <a:pt x="98108" y="402336"/>
                  </a:lnTo>
                  <a:lnTo>
                    <a:pt x="98108" y="406813"/>
                  </a:lnTo>
                  <a:lnTo>
                    <a:pt x="96393" y="408623"/>
                  </a:lnTo>
                  <a:lnTo>
                    <a:pt x="96774" y="409861"/>
                  </a:lnTo>
                  <a:lnTo>
                    <a:pt x="99060" y="411575"/>
                  </a:lnTo>
                  <a:lnTo>
                    <a:pt x="104108" y="410909"/>
                  </a:lnTo>
                  <a:lnTo>
                    <a:pt x="109633" y="412242"/>
                  </a:lnTo>
                  <a:lnTo>
                    <a:pt x="112014" y="414814"/>
                  </a:lnTo>
                  <a:lnTo>
                    <a:pt x="112300" y="417386"/>
                  </a:lnTo>
                  <a:lnTo>
                    <a:pt x="109157" y="419957"/>
                  </a:lnTo>
                  <a:lnTo>
                    <a:pt x="102203" y="421386"/>
                  </a:lnTo>
                  <a:lnTo>
                    <a:pt x="98870" y="425958"/>
                  </a:lnTo>
                  <a:lnTo>
                    <a:pt x="95917" y="432530"/>
                  </a:lnTo>
                  <a:lnTo>
                    <a:pt x="83058" y="437388"/>
                  </a:lnTo>
                  <a:lnTo>
                    <a:pt x="79248" y="443675"/>
                  </a:lnTo>
                  <a:lnTo>
                    <a:pt x="73819" y="448151"/>
                  </a:lnTo>
                  <a:lnTo>
                    <a:pt x="70485" y="454247"/>
                  </a:lnTo>
                  <a:lnTo>
                    <a:pt x="34100" y="477393"/>
                  </a:lnTo>
                  <a:lnTo>
                    <a:pt x="29813" y="483013"/>
                  </a:lnTo>
                  <a:lnTo>
                    <a:pt x="18383" y="483680"/>
                  </a:lnTo>
                  <a:lnTo>
                    <a:pt x="5144" y="478727"/>
                  </a:lnTo>
                  <a:lnTo>
                    <a:pt x="0" y="480060"/>
                  </a:lnTo>
                  <a:lnTo>
                    <a:pt x="191" y="484156"/>
                  </a:lnTo>
                  <a:lnTo>
                    <a:pt x="12573" y="495681"/>
                  </a:lnTo>
                  <a:lnTo>
                    <a:pt x="21336" y="512159"/>
                  </a:lnTo>
                  <a:lnTo>
                    <a:pt x="27813" y="528161"/>
                  </a:lnTo>
                  <a:lnTo>
                    <a:pt x="30956" y="533686"/>
                  </a:lnTo>
                  <a:lnTo>
                    <a:pt x="31814" y="537782"/>
                  </a:lnTo>
                  <a:lnTo>
                    <a:pt x="40481" y="544640"/>
                  </a:lnTo>
                  <a:lnTo>
                    <a:pt x="40291" y="547973"/>
                  </a:lnTo>
                  <a:lnTo>
                    <a:pt x="39243" y="551021"/>
                  </a:lnTo>
                  <a:lnTo>
                    <a:pt x="35052" y="555879"/>
                  </a:lnTo>
                  <a:lnTo>
                    <a:pt x="34766" y="557975"/>
                  </a:lnTo>
                  <a:lnTo>
                    <a:pt x="38386" y="562737"/>
                  </a:lnTo>
                  <a:lnTo>
                    <a:pt x="45053" y="572262"/>
                  </a:lnTo>
                  <a:lnTo>
                    <a:pt x="53150" y="580263"/>
                  </a:lnTo>
                  <a:lnTo>
                    <a:pt x="55626" y="588074"/>
                  </a:lnTo>
                  <a:lnTo>
                    <a:pt x="54578" y="594932"/>
                  </a:lnTo>
                  <a:lnTo>
                    <a:pt x="52102" y="603409"/>
                  </a:lnTo>
                  <a:lnTo>
                    <a:pt x="70675" y="609124"/>
                  </a:lnTo>
                  <a:lnTo>
                    <a:pt x="96869" y="606838"/>
                  </a:lnTo>
                  <a:lnTo>
                    <a:pt x="113348" y="602361"/>
                  </a:lnTo>
                  <a:lnTo>
                    <a:pt x="118872" y="612553"/>
                  </a:lnTo>
                  <a:lnTo>
                    <a:pt x="132302" y="612553"/>
                  </a:lnTo>
                  <a:lnTo>
                    <a:pt x="140208" y="617030"/>
                  </a:lnTo>
                  <a:lnTo>
                    <a:pt x="145066" y="631603"/>
                  </a:lnTo>
                  <a:lnTo>
                    <a:pt x="147542" y="649700"/>
                  </a:lnTo>
                  <a:lnTo>
                    <a:pt x="151829" y="663130"/>
                  </a:lnTo>
                  <a:lnTo>
                    <a:pt x="160973" y="675513"/>
                  </a:lnTo>
                  <a:lnTo>
                    <a:pt x="154210" y="684467"/>
                  </a:lnTo>
                  <a:lnTo>
                    <a:pt x="145637" y="695706"/>
                  </a:lnTo>
                  <a:lnTo>
                    <a:pt x="131636" y="700278"/>
                  </a:lnTo>
                  <a:lnTo>
                    <a:pt x="121920" y="701326"/>
                  </a:lnTo>
                  <a:lnTo>
                    <a:pt x="131636" y="715899"/>
                  </a:lnTo>
                  <a:lnTo>
                    <a:pt x="143828" y="731615"/>
                  </a:lnTo>
                  <a:lnTo>
                    <a:pt x="129826" y="742855"/>
                  </a:lnTo>
                  <a:lnTo>
                    <a:pt x="136589" y="756285"/>
                  </a:lnTo>
                  <a:lnTo>
                    <a:pt x="143828" y="769715"/>
                  </a:lnTo>
                  <a:lnTo>
                    <a:pt x="143256" y="780955"/>
                  </a:lnTo>
                  <a:lnTo>
                    <a:pt x="135541" y="787622"/>
                  </a:lnTo>
                  <a:lnTo>
                    <a:pt x="131921" y="794290"/>
                  </a:lnTo>
                  <a:lnTo>
                    <a:pt x="133636" y="815150"/>
                  </a:lnTo>
                  <a:lnTo>
                    <a:pt x="169259" y="826865"/>
                  </a:lnTo>
                  <a:lnTo>
                    <a:pt x="176117" y="826484"/>
                  </a:lnTo>
                  <a:lnTo>
                    <a:pt x="174879" y="824865"/>
                  </a:lnTo>
                  <a:lnTo>
                    <a:pt x="174212" y="823151"/>
                  </a:lnTo>
                  <a:lnTo>
                    <a:pt x="174403" y="820960"/>
                  </a:lnTo>
                  <a:lnTo>
                    <a:pt x="178213" y="817721"/>
                  </a:lnTo>
                  <a:lnTo>
                    <a:pt x="180023" y="813721"/>
                  </a:lnTo>
                  <a:lnTo>
                    <a:pt x="185166" y="809625"/>
                  </a:lnTo>
                  <a:lnTo>
                    <a:pt x="188786" y="805148"/>
                  </a:lnTo>
                  <a:lnTo>
                    <a:pt x="205645" y="796290"/>
                  </a:lnTo>
                  <a:lnTo>
                    <a:pt x="211931" y="796100"/>
                  </a:lnTo>
                  <a:lnTo>
                    <a:pt x="216122" y="798862"/>
                  </a:lnTo>
                  <a:lnTo>
                    <a:pt x="218980" y="803720"/>
                  </a:lnTo>
                  <a:lnTo>
                    <a:pt x="221075" y="808863"/>
                  </a:lnTo>
                  <a:lnTo>
                    <a:pt x="222314" y="813626"/>
                  </a:lnTo>
                  <a:lnTo>
                    <a:pt x="222790" y="817150"/>
                  </a:lnTo>
                  <a:lnTo>
                    <a:pt x="223075" y="821817"/>
                  </a:lnTo>
                  <a:lnTo>
                    <a:pt x="232220" y="824770"/>
                  </a:lnTo>
                  <a:lnTo>
                    <a:pt x="244316" y="816674"/>
                  </a:lnTo>
                  <a:lnTo>
                    <a:pt x="254413" y="801719"/>
                  </a:lnTo>
                  <a:lnTo>
                    <a:pt x="253365" y="796100"/>
                  </a:lnTo>
                  <a:lnTo>
                    <a:pt x="252317" y="792861"/>
                  </a:lnTo>
                  <a:lnTo>
                    <a:pt x="252127" y="786003"/>
                  </a:lnTo>
                  <a:lnTo>
                    <a:pt x="260604" y="788289"/>
                  </a:lnTo>
                  <a:lnTo>
                    <a:pt x="262128" y="787813"/>
                  </a:lnTo>
                  <a:lnTo>
                    <a:pt x="268224" y="783908"/>
                  </a:lnTo>
                  <a:lnTo>
                    <a:pt x="269939" y="793433"/>
                  </a:lnTo>
                  <a:lnTo>
                    <a:pt x="275844" y="799433"/>
                  </a:lnTo>
                  <a:lnTo>
                    <a:pt x="276035" y="805339"/>
                  </a:lnTo>
                  <a:lnTo>
                    <a:pt x="279368" y="811244"/>
                  </a:lnTo>
                  <a:lnTo>
                    <a:pt x="281654" y="820388"/>
                  </a:lnTo>
                  <a:lnTo>
                    <a:pt x="285083" y="828103"/>
                  </a:lnTo>
                  <a:lnTo>
                    <a:pt x="285369" y="836105"/>
                  </a:lnTo>
                  <a:lnTo>
                    <a:pt x="282131" y="841724"/>
                  </a:lnTo>
                  <a:lnTo>
                    <a:pt x="280321" y="845725"/>
                  </a:lnTo>
                  <a:lnTo>
                    <a:pt x="279083" y="849059"/>
                  </a:lnTo>
                  <a:lnTo>
                    <a:pt x="278987" y="852869"/>
                  </a:lnTo>
                  <a:lnTo>
                    <a:pt x="280892" y="855536"/>
                  </a:lnTo>
                  <a:lnTo>
                    <a:pt x="283655" y="858488"/>
                  </a:lnTo>
                  <a:lnTo>
                    <a:pt x="286036" y="862108"/>
                  </a:lnTo>
                  <a:lnTo>
                    <a:pt x="294513" y="870014"/>
                  </a:lnTo>
                  <a:lnTo>
                    <a:pt x="266414" y="874776"/>
                  </a:lnTo>
                  <a:lnTo>
                    <a:pt x="266891" y="882015"/>
                  </a:lnTo>
                  <a:lnTo>
                    <a:pt x="266605" y="884301"/>
                  </a:lnTo>
                  <a:lnTo>
                    <a:pt x="269748" y="889730"/>
                  </a:lnTo>
                  <a:lnTo>
                    <a:pt x="273272" y="892778"/>
                  </a:lnTo>
                  <a:lnTo>
                    <a:pt x="274701" y="899065"/>
                  </a:lnTo>
                  <a:lnTo>
                    <a:pt x="275368" y="903542"/>
                  </a:lnTo>
                  <a:lnTo>
                    <a:pt x="274892" y="913257"/>
                  </a:lnTo>
                  <a:lnTo>
                    <a:pt x="296799" y="920782"/>
                  </a:lnTo>
                  <a:lnTo>
                    <a:pt x="313754" y="920877"/>
                  </a:lnTo>
                  <a:lnTo>
                    <a:pt x="327946" y="928211"/>
                  </a:lnTo>
                  <a:lnTo>
                    <a:pt x="338519" y="930402"/>
                  </a:lnTo>
                  <a:lnTo>
                    <a:pt x="347663" y="943547"/>
                  </a:lnTo>
                  <a:lnTo>
                    <a:pt x="362426" y="935165"/>
                  </a:lnTo>
                  <a:lnTo>
                    <a:pt x="364046" y="930212"/>
                  </a:lnTo>
                  <a:lnTo>
                    <a:pt x="368713" y="921830"/>
                  </a:lnTo>
                  <a:lnTo>
                    <a:pt x="369665" y="916305"/>
                  </a:lnTo>
                  <a:lnTo>
                    <a:pt x="369475" y="912114"/>
                  </a:lnTo>
                  <a:lnTo>
                    <a:pt x="366141" y="909542"/>
                  </a:lnTo>
                  <a:lnTo>
                    <a:pt x="368713" y="904113"/>
                  </a:lnTo>
                  <a:lnTo>
                    <a:pt x="376238" y="902494"/>
                  </a:lnTo>
                  <a:lnTo>
                    <a:pt x="384143" y="909257"/>
                  </a:lnTo>
                  <a:lnTo>
                    <a:pt x="388525" y="914210"/>
                  </a:lnTo>
                  <a:lnTo>
                    <a:pt x="392049" y="919258"/>
                  </a:lnTo>
                  <a:lnTo>
                    <a:pt x="394335" y="921353"/>
                  </a:lnTo>
                  <a:lnTo>
                    <a:pt x="400431" y="921925"/>
                  </a:lnTo>
                  <a:lnTo>
                    <a:pt x="406241" y="930212"/>
                  </a:lnTo>
                  <a:lnTo>
                    <a:pt x="409385" y="943737"/>
                  </a:lnTo>
                  <a:lnTo>
                    <a:pt x="406717" y="947833"/>
                  </a:lnTo>
                  <a:lnTo>
                    <a:pt x="404146" y="953453"/>
                  </a:lnTo>
                  <a:lnTo>
                    <a:pt x="400145" y="958596"/>
                  </a:lnTo>
                  <a:lnTo>
                    <a:pt x="399574" y="964692"/>
                  </a:lnTo>
                  <a:lnTo>
                    <a:pt x="403003" y="984885"/>
                  </a:lnTo>
                  <a:lnTo>
                    <a:pt x="431197" y="995553"/>
                  </a:lnTo>
                  <a:lnTo>
                    <a:pt x="442436" y="1006697"/>
                  </a:lnTo>
                  <a:lnTo>
                    <a:pt x="441579" y="1010698"/>
                  </a:lnTo>
                  <a:lnTo>
                    <a:pt x="439103" y="1013841"/>
                  </a:lnTo>
                  <a:lnTo>
                    <a:pt x="434626" y="1015651"/>
                  </a:lnTo>
                  <a:lnTo>
                    <a:pt x="433959" y="1018603"/>
                  </a:lnTo>
                  <a:lnTo>
                    <a:pt x="434912" y="1022699"/>
                  </a:lnTo>
                  <a:lnTo>
                    <a:pt x="438341" y="1026033"/>
                  </a:lnTo>
                  <a:lnTo>
                    <a:pt x="440150" y="1029176"/>
                  </a:lnTo>
                  <a:lnTo>
                    <a:pt x="441008" y="1037653"/>
                  </a:lnTo>
                  <a:lnTo>
                    <a:pt x="461105" y="1017937"/>
                  </a:lnTo>
                  <a:lnTo>
                    <a:pt x="468344" y="1036320"/>
                  </a:lnTo>
                  <a:lnTo>
                    <a:pt x="476441" y="1043750"/>
                  </a:lnTo>
                  <a:lnTo>
                    <a:pt x="483108" y="1045750"/>
                  </a:lnTo>
                  <a:lnTo>
                    <a:pt x="490157" y="1043273"/>
                  </a:lnTo>
                  <a:lnTo>
                    <a:pt x="503396" y="1033367"/>
                  </a:lnTo>
                  <a:lnTo>
                    <a:pt x="518541" y="1026319"/>
                  </a:lnTo>
                  <a:lnTo>
                    <a:pt x="528447" y="1028986"/>
                  </a:lnTo>
                  <a:lnTo>
                    <a:pt x="533686" y="1032605"/>
                  </a:lnTo>
                  <a:lnTo>
                    <a:pt x="541877" y="1034510"/>
                  </a:lnTo>
                  <a:lnTo>
                    <a:pt x="547307" y="1039463"/>
                  </a:lnTo>
                  <a:lnTo>
                    <a:pt x="544735" y="1045274"/>
                  </a:lnTo>
                  <a:lnTo>
                    <a:pt x="555022" y="1057466"/>
                  </a:lnTo>
                  <a:lnTo>
                    <a:pt x="569500" y="1052703"/>
                  </a:lnTo>
                  <a:lnTo>
                    <a:pt x="577025" y="1056704"/>
                  </a:lnTo>
                  <a:lnTo>
                    <a:pt x="578168" y="1060323"/>
                  </a:lnTo>
                  <a:lnTo>
                    <a:pt x="580930" y="1073849"/>
                  </a:lnTo>
                  <a:lnTo>
                    <a:pt x="600932" y="1061752"/>
                  </a:lnTo>
                  <a:lnTo>
                    <a:pt x="604076" y="1057370"/>
                  </a:lnTo>
                  <a:lnTo>
                    <a:pt x="613791" y="1038987"/>
                  </a:lnTo>
                  <a:lnTo>
                    <a:pt x="618744" y="1009460"/>
                  </a:lnTo>
                  <a:lnTo>
                    <a:pt x="676085" y="1009460"/>
                  </a:lnTo>
                  <a:lnTo>
                    <a:pt x="691991" y="999458"/>
                  </a:lnTo>
                  <a:lnTo>
                    <a:pt x="704183" y="1000506"/>
                  </a:lnTo>
                  <a:lnTo>
                    <a:pt x="711422" y="990505"/>
                  </a:lnTo>
                  <a:lnTo>
                    <a:pt x="719995" y="981647"/>
                  </a:lnTo>
                  <a:lnTo>
                    <a:pt x="733425" y="978313"/>
                  </a:lnTo>
                  <a:lnTo>
                    <a:pt x="743141" y="977265"/>
                  </a:lnTo>
                  <a:lnTo>
                    <a:pt x="744379" y="988314"/>
                  </a:lnTo>
                  <a:lnTo>
                    <a:pt x="757142" y="996125"/>
                  </a:lnTo>
                  <a:lnTo>
                    <a:pt x="768287" y="1007078"/>
                  </a:lnTo>
                  <a:lnTo>
                    <a:pt x="772382" y="988409"/>
                  </a:lnTo>
                  <a:lnTo>
                    <a:pt x="820865" y="909828"/>
                  </a:lnTo>
                  <a:lnTo>
                    <a:pt x="829056" y="900494"/>
                  </a:lnTo>
                  <a:lnTo>
                    <a:pt x="835152" y="893921"/>
                  </a:lnTo>
                  <a:lnTo>
                    <a:pt x="838676" y="889349"/>
                  </a:lnTo>
                  <a:lnTo>
                    <a:pt x="849440" y="875919"/>
                  </a:lnTo>
                  <a:lnTo>
                    <a:pt x="850583" y="872204"/>
                  </a:lnTo>
                  <a:lnTo>
                    <a:pt x="851059" y="866870"/>
                  </a:lnTo>
                  <a:lnTo>
                    <a:pt x="845630" y="857822"/>
                  </a:lnTo>
                  <a:lnTo>
                    <a:pt x="842296" y="841915"/>
                  </a:lnTo>
                  <a:lnTo>
                    <a:pt x="838962" y="836581"/>
                  </a:lnTo>
                  <a:lnTo>
                    <a:pt x="827246" y="828770"/>
                  </a:lnTo>
                  <a:lnTo>
                    <a:pt x="822389" y="823341"/>
                  </a:lnTo>
                  <a:lnTo>
                    <a:pt x="822293" y="817340"/>
                  </a:lnTo>
                  <a:lnTo>
                    <a:pt x="823722" y="810101"/>
                  </a:lnTo>
                  <a:lnTo>
                    <a:pt x="824675" y="801910"/>
                  </a:lnTo>
                  <a:lnTo>
                    <a:pt x="822579" y="798671"/>
                  </a:lnTo>
                  <a:lnTo>
                    <a:pt x="818960" y="795719"/>
                  </a:lnTo>
                  <a:lnTo>
                    <a:pt x="809435" y="795433"/>
                  </a:lnTo>
                  <a:lnTo>
                    <a:pt x="806196" y="796957"/>
                  </a:lnTo>
                  <a:lnTo>
                    <a:pt x="802386" y="792099"/>
                  </a:lnTo>
                  <a:lnTo>
                    <a:pt x="806768" y="778097"/>
                  </a:lnTo>
                  <a:lnTo>
                    <a:pt x="805625" y="775811"/>
                  </a:lnTo>
                  <a:lnTo>
                    <a:pt x="802577" y="767144"/>
                  </a:lnTo>
                  <a:lnTo>
                    <a:pt x="818674" y="751903"/>
                  </a:lnTo>
                  <a:lnTo>
                    <a:pt x="829437" y="744379"/>
                  </a:lnTo>
                  <a:lnTo>
                    <a:pt x="838676" y="733616"/>
                  </a:lnTo>
                  <a:lnTo>
                    <a:pt x="848773" y="711613"/>
                  </a:lnTo>
                  <a:lnTo>
                    <a:pt x="855059" y="704755"/>
                  </a:lnTo>
                  <a:lnTo>
                    <a:pt x="860012" y="697992"/>
                  </a:lnTo>
                  <a:lnTo>
                    <a:pt x="882206" y="668465"/>
                  </a:lnTo>
                  <a:lnTo>
                    <a:pt x="892397" y="658082"/>
                  </a:lnTo>
                  <a:lnTo>
                    <a:pt x="907637" y="636842"/>
                  </a:lnTo>
                  <a:lnTo>
                    <a:pt x="917829" y="617696"/>
                  </a:lnTo>
                  <a:lnTo>
                    <a:pt x="928688" y="616363"/>
                  </a:lnTo>
                  <a:lnTo>
                    <a:pt x="935165" y="611600"/>
                  </a:lnTo>
                  <a:lnTo>
                    <a:pt x="942785" y="611886"/>
                  </a:lnTo>
                  <a:lnTo>
                    <a:pt x="946023" y="608552"/>
                  </a:lnTo>
                  <a:lnTo>
                    <a:pt x="948118" y="605790"/>
                  </a:lnTo>
                  <a:lnTo>
                    <a:pt x="950785" y="603218"/>
                  </a:lnTo>
                  <a:lnTo>
                    <a:pt x="953548" y="601409"/>
                  </a:lnTo>
                  <a:lnTo>
                    <a:pt x="964311" y="603028"/>
                  </a:lnTo>
                  <a:lnTo>
                    <a:pt x="983837" y="580930"/>
                  </a:lnTo>
                  <a:lnTo>
                    <a:pt x="995077" y="575596"/>
                  </a:lnTo>
                  <a:lnTo>
                    <a:pt x="1015079" y="591217"/>
                  </a:lnTo>
                  <a:lnTo>
                    <a:pt x="1036320" y="583216"/>
                  </a:lnTo>
                  <a:lnTo>
                    <a:pt x="1046512" y="583502"/>
                  </a:lnTo>
                  <a:lnTo>
                    <a:pt x="1052227" y="589979"/>
                  </a:lnTo>
                  <a:lnTo>
                    <a:pt x="1058990" y="593884"/>
                  </a:lnTo>
                  <a:lnTo>
                    <a:pt x="1062038" y="593503"/>
                  </a:lnTo>
                  <a:lnTo>
                    <a:pt x="1073182" y="594265"/>
                  </a:lnTo>
                  <a:lnTo>
                    <a:pt x="1079373" y="581216"/>
                  </a:lnTo>
                  <a:lnTo>
                    <a:pt x="1085564" y="577215"/>
                  </a:lnTo>
                  <a:lnTo>
                    <a:pt x="1090613" y="566261"/>
                  </a:lnTo>
                  <a:lnTo>
                    <a:pt x="1110901" y="554736"/>
                  </a:lnTo>
                  <a:lnTo>
                    <a:pt x="1114806" y="551402"/>
                  </a:lnTo>
                  <a:lnTo>
                    <a:pt x="1118711" y="550069"/>
                  </a:lnTo>
                  <a:lnTo>
                    <a:pt x="1122426" y="545306"/>
                  </a:lnTo>
                  <a:lnTo>
                    <a:pt x="1124998" y="541115"/>
                  </a:lnTo>
                  <a:lnTo>
                    <a:pt x="1127284" y="523970"/>
                  </a:lnTo>
                  <a:lnTo>
                    <a:pt x="1106424" y="500444"/>
                  </a:lnTo>
                  <a:close/>
                </a:path>
              </a:pathLst>
            </a:custGeom>
            <a:grpFill/>
            <a:ln w="9525" cap="sq">
              <a:noFill/>
              <a:prstDash val="solid"/>
              <a:bevel/>
            </a:ln>
          </p:spPr>
          <p:txBody>
            <a:bodyPr rtlCol="0" anchor="ctr"/>
            <a:lstStyle/>
            <a:p>
              <a:endParaRPr lang="cs-CZ"/>
            </a:p>
          </p:txBody>
        </p:sp>
        <p:sp>
          <p:nvSpPr>
            <p:cNvPr id="152" name="Freeform: Shape 151">
              <a:extLst>
                <a:ext uri="{FF2B5EF4-FFF2-40B4-BE49-F238E27FC236}">
                  <a16:creationId xmlns:a16="http://schemas.microsoft.com/office/drawing/2014/main" id="{340EF8E3-D8FC-45BE-A77B-DC6037DC2987}"/>
                </a:ext>
              </a:extLst>
            </p:cNvPr>
            <p:cNvSpPr/>
            <p:nvPr/>
          </p:nvSpPr>
          <p:spPr>
            <a:xfrm>
              <a:off x="8533778" y="6304119"/>
              <a:ext cx="1211103" cy="961263"/>
            </a:xfrm>
            <a:custGeom>
              <a:avLst/>
              <a:gdLst>
                <a:gd name="connsiteX0" fmla="*/ 1189863 w 1211103"/>
                <a:gd name="connsiteY0" fmla="*/ 831818 h 961263"/>
                <a:gd name="connsiteX1" fmla="*/ 1186339 w 1211103"/>
                <a:gd name="connsiteY1" fmla="*/ 828770 h 961263"/>
                <a:gd name="connsiteX2" fmla="*/ 1183196 w 1211103"/>
                <a:gd name="connsiteY2" fmla="*/ 823341 h 961263"/>
                <a:gd name="connsiteX3" fmla="*/ 1183577 w 1211103"/>
                <a:gd name="connsiteY3" fmla="*/ 821055 h 961263"/>
                <a:gd name="connsiteX4" fmla="*/ 1183100 w 1211103"/>
                <a:gd name="connsiteY4" fmla="*/ 813816 h 961263"/>
                <a:gd name="connsiteX5" fmla="*/ 1211104 w 1211103"/>
                <a:gd name="connsiteY5" fmla="*/ 809054 h 961263"/>
                <a:gd name="connsiteX6" fmla="*/ 1202722 w 1211103"/>
                <a:gd name="connsiteY6" fmla="*/ 801148 h 961263"/>
                <a:gd name="connsiteX7" fmla="*/ 1200245 w 1211103"/>
                <a:gd name="connsiteY7" fmla="*/ 797528 h 961263"/>
                <a:gd name="connsiteX8" fmla="*/ 1197578 w 1211103"/>
                <a:gd name="connsiteY8" fmla="*/ 794576 h 961263"/>
                <a:gd name="connsiteX9" fmla="*/ 1195673 w 1211103"/>
                <a:gd name="connsiteY9" fmla="*/ 791909 h 961263"/>
                <a:gd name="connsiteX10" fmla="*/ 1195769 w 1211103"/>
                <a:gd name="connsiteY10" fmla="*/ 788099 h 961263"/>
                <a:gd name="connsiteX11" fmla="*/ 1196912 w 1211103"/>
                <a:gd name="connsiteY11" fmla="*/ 784765 h 961263"/>
                <a:gd name="connsiteX12" fmla="*/ 1198816 w 1211103"/>
                <a:gd name="connsiteY12" fmla="*/ 780669 h 961263"/>
                <a:gd name="connsiteX13" fmla="*/ 1201960 w 1211103"/>
                <a:gd name="connsiteY13" fmla="*/ 775145 h 961263"/>
                <a:gd name="connsiteX14" fmla="*/ 1201769 w 1211103"/>
                <a:gd name="connsiteY14" fmla="*/ 767144 h 961263"/>
                <a:gd name="connsiteX15" fmla="*/ 1198340 w 1211103"/>
                <a:gd name="connsiteY15" fmla="*/ 759428 h 961263"/>
                <a:gd name="connsiteX16" fmla="*/ 1196054 w 1211103"/>
                <a:gd name="connsiteY16" fmla="*/ 750284 h 961263"/>
                <a:gd name="connsiteX17" fmla="*/ 1192721 w 1211103"/>
                <a:gd name="connsiteY17" fmla="*/ 744379 h 961263"/>
                <a:gd name="connsiteX18" fmla="*/ 1192435 w 1211103"/>
                <a:gd name="connsiteY18" fmla="*/ 738473 h 961263"/>
                <a:gd name="connsiteX19" fmla="*/ 1186625 w 1211103"/>
                <a:gd name="connsiteY19" fmla="*/ 732377 h 961263"/>
                <a:gd name="connsiteX20" fmla="*/ 1184815 w 1211103"/>
                <a:gd name="connsiteY20" fmla="*/ 722948 h 961263"/>
                <a:gd name="connsiteX21" fmla="*/ 1178814 w 1211103"/>
                <a:gd name="connsiteY21" fmla="*/ 726853 h 961263"/>
                <a:gd name="connsiteX22" fmla="*/ 1177290 w 1211103"/>
                <a:gd name="connsiteY22" fmla="*/ 727329 h 961263"/>
                <a:gd name="connsiteX23" fmla="*/ 1168813 w 1211103"/>
                <a:gd name="connsiteY23" fmla="*/ 725043 h 961263"/>
                <a:gd name="connsiteX24" fmla="*/ 1169003 w 1211103"/>
                <a:gd name="connsiteY24" fmla="*/ 731901 h 961263"/>
                <a:gd name="connsiteX25" fmla="*/ 1170051 w 1211103"/>
                <a:gd name="connsiteY25" fmla="*/ 735140 h 961263"/>
                <a:gd name="connsiteX26" fmla="*/ 1171004 w 1211103"/>
                <a:gd name="connsiteY26" fmla="*/ 740759 h 961263"/>
                <a:gd name="connsiteX27" fmla="*/ 1160907 w 1211103"/>
                <a:gd name="connsiteY27" fmla="*/ 755714 h 961263"/>
                <a:gd name="connsiteX28" fmla="*/ 1148906 w 1211103"/>
                <a:gd name="connsiteY28" fmla="*/ 763810 h 961263"/>
                <a:gd name="connsiteX29" fmla="*/ 1139762 w 1211103"/>
                <a:gd name="connsiteY29" fmla="*/ 760857 h 961263"/>
                <a:gd name="connsiteX30" fmla="*/ 1139476 w 1211103"/>
                <a:gd name="connsiteY30" fmla="*/ 756190 h 961263"/>
                <a:gd name="connsiteX31" fmla="*/ 1138904 w 1211103"/>
                <a:gd name="connsiteY31" fmla="*/ 752666 h 961263"/>
                <a:gd name="connsiteX32" fmla="*/ 1137761 w 1211103"/>
                <a:gd name="connsiteY32" fmla="*/ 747903 h 961263"/>
                <a:gd name="connsiteX33" fmla="*/ 1135571 w 1211103"/>
                <a:gd name="connsiteY33" fmla="*/ 742760 h 961263"/>
                <a:gd name="connsiteX34" fmla="*/ 1132808 w 1211103"/>
                <a:gd name="connsiteY34" fmla="*/ 737902 h 961263"/>
                <a:gd name="connsiteX35" fmla="*/ 1128617 w 1211103"/>
                <a:gd name="connsiteY35" fmla="*/ 735140 h 961263"/>
                <a:gd name="connsiteX36" fmla="*/ 1122236 w 1211103"/>
                <a:gd name="connsiteY36" fmla="*/ 735330 h 961263"/>
                <a:gd name="connsiteX37" fmla="*/ 1105376 w 1211103"/>
                <a:gd name="connsiteY37" fmla="*/ 744188 h 961263"/>
                <a:gd name="connsiteX38" fmla="*/ 1101757 w 1211103"/>
                <a:gd name="connsiteY38" fmla="*/ 748665 h 961263"/>
                <a:gd name="connsiteX39" fmla="*/ 1096708 w 1211103"/>
                <a:gd name="connsiteY39" fmla="*/ 752761 h 961263"/>
                <a:gd name="connsiteX40" fmla="*/ 1094804 w 1211103"/>
                <a:gd name="connsiteY40" fmla="*/ 756761 h 961263"/>
                <a:gd name="connsiteX41" fmla="*/ 1091089 w 1211103"/>
                <a:gd name="connsiteY41" fmla="*/ 760000 h 961263"/>
                <a:gd name="connsiteX42" fmla="*/ 1090803 w 1211103"/>
                <a:gd name="connsiteY42" fmla="*/ 762191 h 961263"/>
                <a:gd name="connsiteX43" fmla="*/ 1091470 w 1211103"/>
                <a:gd name="connsiteY43" fmla="*/ 763905 h 961263"/>
                <a:gd name="connsiteX44" fmla="*/ 1092708 w 1211103"/>
                <a:gd name="connsiteY44" fmla="*/ 765524 h 961263"/>
                <a:gd name="connsiteX45" fmla="*/ 1085850 w 1211103"/>
                <a:gd name="connsiteY45" fmla="*/ 765905 h 961263"/>
                <a:gd name="connsiteX46" fmla="*/ 1050322 w 1211103"/>
                <a:gd name="connsiteY46" fmla="*/ 754190 h 961263"/>
                <a:gd name="connsiteX47" fmla="*/ 1048512 w 1211103"/>
                <a:gd name="connsiteY47" fmla="*/ 733330 h 961263"/>
                <a:gd name="connsiteX48" fmla="*/ 1052227 w 1211103"/>
                <a:gd name="connsiteY48" fmla="*/ 726662 h 961263"/>
                <a:gd name="connsiteX49" fmla="*/ 1059942 w 1211103"/>
                <a:gd name="connsiteY49" fmla="*/ 719995 h 961263"/>
                <a:gd name="connsiteX50" fmla="*/ 1060514 w 1211103"/>
                <a:gd name="connsiteY50" fmla="*/ 708755 h 961263"/>
                <a:gd name="connsiteX51" fmla="*/ 1053179 w 1211103"/>
                <a:gd name="connsiteY51" fmla="*/ 695325 h 961263"/>
                <a:gd name="connsiteX52" fmla="*/ 1046512 w 1211103"/>
                <a:gd name="connsiteY52" fmla="*/ 681895 h 961263"/>
                <a:gd name="connsiteX53" fmla="*/ 1060514 w 1211103"/>
                <a:gd name="connsiteY53" fmla="*/ 670655 h 961263"/>
                <a:gd name="connsiteX54" fmla="*/ 1048322 w 1211103"/>
                <a:gd name="connsiteY54" fmla="*/ 654939 h 961263"/>
                <a:gd name="connsiteX55" fmla="*/ 1038606 w 1211103"/>
                <a:gd name="connsiteY55" fmla="*/ 640366 h 961263"/>
                <a:gd name="connsiteX56" fmla="*/ 1048322 w 1211103"/>
                <a:gd name="connsiteY56" fmla="*/ 639223 h 961263"/>
                <a:gd name="connsiteX57" fmla="*/ 1062323 w 1211103"/>
                <a:gd name="connsiteY57" fmla="*/ 634746 h 961263"/>
                <a:gd name="connsiteX58" fmla="*/ 1070896 w 1211103"/>
                <a:gd name="connsiteY58" fmla="*/ 623507 h 961263"/>
                <a:gd name="connsiteX59" fmla="*/ 1077563 w 1211103"/>
                <a:gd name="connsiteY59" fmla="*/ 614553 h 961263"/>
                <a:gd name="connsiteX60" fmla="*/ 1068419 w 1211103"/>
                <a:gd name="connsiteY60" fmla="*/ 602171 h 961263"/>
                <a:gd name="connsiteX61" fmla="*/ 1064228 w 1211103"/>
                <a:gd name="connsiteY61" fmla="*/ 588645 h 961263"/>
                <a:gd name="connsiteX62" fmla="*/ 1061752 w 1211103"/>
                <a:gd name="connsiteY62" fmla="*/ 570643 h 961263"/>
                <a:gd name="connsiteX63" fmla="*/ 1056799 w 1211103"/>
                <a:gd name="connsiteY63" fmla="*/ 556070 h 961263"/>
                <a:gd name="connsiteX64" fmla="*/ 1048893 w 1211103"/>
                <a:gd name="connsiteY64" fmla="*/ 551593 h 961263"/>
                <a:gd name="connsiteX65" fmla="*/ 1035558 w 1211103"/>
                <a:gd name="connsiteY65" fmla="*/ 551593 h 961263"/>
                <a:gd name="connsiteX66" fmla="*/ 1030033 w 1211103"/>
                <a:gd name="connsiteY66" fmla="*/ 541401 h 961263"/>
                <a:gd name="connsiteX67" fmla="*/ 1013555 w 1211103"/>
                <a:gd name="connsiteY67" fmla="*/ 545878 h 961263"/>
                <a:gd name="connsiteX68" fmla="*/ 987361 w 1211103"/>
                <a:gd name="connsiteY68" fmla="*/ 548164 h 961263"/>
                <a:gd name="connsiteX69" fmla="*/ 968693 w 1211103"/>
                <a:gd name="connsiteY69" fmla="*/ 542449 h 961263"/>
                <a:gd name="connsiteX70" fmla="*/ 971264 w 1211103"/>
                <a:gd name="connsiteY70" fmla="*/ 533972 h 961263"/>
                <a:gd name="connsiteX71" fmla="*/ 972217 w 1211103"/>
                <a:gd name="connsiteY71" fmla="*/ 527114 h 961263"/>
                <a:gd name="connsiteX72" fmla="*/ 969740 w 1211103"/>
                <a:gd name="connsiteY72" fmla="*/ 519303 h 961263"/>
                <a:gd name="connsiteX73" fmla="*/ 961739 w 1211103"/>
                <a:gd name="connsiteY73" fmla="*/ 511302 h 961263"/>
                <a:gd name="connsiteX74" fmla="*/ 955072 w 1211103"/>
                <a:gd name="connsiteY74" fmla="*/ 501777 h 961263"/>
                <a:gd name="connsiteX75" fmla="*/ 951452 w 1211103"/>
                <a:gd name="connsiteY75" fmla="*/ 497015 h 961263"/>
                <a:gd name="connsiteX76" fmla="*/ 951643 w 1211103"/>
                <a:gd name="connsiteY76" fmla="*/ 494824 h 961263"/>
                <a:gd name="connsiteX77" fmla="*/ 955929 w 1211103"/>
                <a:gd name="connsiteY77" fmla="*/ 490061 h 961263"/>
                <a:gd name="connsiteX78" fmla="*/ 956977 w 1211103"/>
                <a:gd name="connsiteY78" fmla="*/ 487013 h 961263"/>
                <a:gd name="connsiteX79" fmla="*/ 957072 w 1211103"/>
                <a:gd name="connsiteY79" fmla="*/ 483680 h 961263"/>
                <a:gd name="connsiteX80" fmla="*/ 948404 w 1211103"/>
                <a:gd name="connsiteY80" fmla="*/ 476822 h 961263"/>
                <a:gd name="connsiteX81" fmla="*/ 947547 w 1211103"/>
                <a:gd name="connsiteY81" fmla="*/ 472726 h 961263"/>
                <a:gd name="connsiteX82" fmla="*/ 944404 w 1211103"/>
                <a:gd name="connsiteY82" fmla="*/ 467201 h 961263"/>
                <a:gd name="connsiteX83" fmla="*/ 938022 w 1211103"/>
                <a:gd name="connsiteY83" fmla="*/ 451199 h 961263"/>
                <a:gd name="connsiteX84" fmla="*/ 929164 w 1211103"/>
                <a:gd name="connsiteY84" fmla="*/ 434721 h 961263"/>
                <a:gd name="connsiteX85" fmla="*/ 916877 w 1211103"/>
                <a:gd name="connsiteY85" fmla="*/ 423196 h 961263"/>
                <a:gd name="connsiteX86" fmla="*/ 916686 w 1211103"/>
                <a:gd name="connsiteY86" fmla="*/ 419100 h 961263"/>
                <a:gd name="connsiteX87" fmla="*/ 921830 w 1211103"/>
                <a:gd name="connsiteY87" fmla="*/ 417767 h 961263"/>
                <a:gd name="connsiteX88" fmla="*/ 935069 w 1211103"/>
                <a:gd name="connsiteY88" fmla="*/ 422720 h 961263"/>
                <a:gd name="connsiteX89" fmla="*/ 946404 w 1211103"/>
                <a:gd name="connsiteY89" fmla="*/ 422053 h 961263"/>
                <a:gd name="connsiteX90" fmla="*/ 950690 w 1211103"/>
                <a:gd name="connsiteY90" fmla="*/ 416433 h 961263"/>
                <a:gd name="connsiteX91" fmla="*/ 987076 w 1211103"/>
                <a:gd name="connsiteY91" fmla="*/ 393287 h 961263"/>
                <a:gd name="connsiteX92" fmla="*/ 990410 w 1211103"/>
                <a:gd name="connsiteY92" fmla="*/ 387191 h 961263"/>
                <a:gd name="connsiteX93" fmla="*/ 995934 w 1211103"/>
                <a:gd name="connsiteY93" fmla="*/ 382715 h 961263"/>
                <a:gd name="connsiteX94" fmla="*/ 999649 w 1211103"/>
                <a:gd name="connsiteY94" fmla="*/ 376428 h 961263"/>
                <a:gd name="connsiteX95" fmla="*/ 1012507 w 1211103"/>
                <a:gd name="connsiteY95" fmla="*/ 371570 h 961263"/>
                <a:gd name="connsiteX96" fmla="*/ 1015460 w 1211103"/>
                <a:gd name="connsiteY96" fmla="*/ 364998 h 961263"/>
                <a:gd name="connsiteX97" fmla="*/ 1018889 w 1211103"/>
                <a:gd name="connsiteY97" fmla="*/ 360426 h 961263"/>
                <a:gd name="connsiteX98" fmla="*/ 1025747 w 1211103"/>
                <a:gd name="connsiteY98" fmla="*/ 358997 h 961263"/>
                <a:gd name="connsiteX99" fmla="*/ 1028986 w 1211103"/>
                <a:gd name="connsiteY99" fmla="*/ 356426 h 961263"/>
                <a:gd name="connsiteX100" fmla="*/ 1028700 w 1211103"/>
                <a:gd name="connsiteY100" fmla="*/ 353854 h 961263"/>
                <a:gd name="connsiteX101" fmla="*/ 1026224 w 1211103"/>
                <a:gd name="connsiteY101" fmla="*/ 351282 h 961263"/>
                <a:gd name="connsiteX102" fmla="*/ 1020699 w 1211103"/>
                <a:gd name="connsiteY102" fmla="*/ 349949 h 961263"/>
                <a:gd name="connsiteX103" fmla="*/ 1015746 w 1211103"/>
                <a:gd name="connsiteY103" fmla="*/ 350615 h 961263"/>
                <a:gd name="connsiteX104" fmla="*/ 1013365 w 1211103"/>
                <a:gd name="connsiteY104" fmla="*/ 348901 h 961263"/>
                <a:gd name="connsiteX105" fmla="*/ 1013079 w 1211103"/>
                <a:gd name="connsiteY105" fmla="*/ 347663 h 961263"/>
                <a:gd name="connsiteX106" fmla="*/ 1014794 w 1211103"/>
                <a:gd name="connsiteY106" fmla="*/ 345853 h 961263"/>
                <a:gd name="connsiteX107" fmla="*/ 1014794 w 1211103"/>
                <a:gd name="connsiteY107" fmla="*/ 341376 h 961263"/>
                <a:gd name="connsiteX108" fmla="*/ 1012793 w 1211103"/>
                <a:gd name="connsiteY108" fmla="*/ 333470 h 961263"/>
                <a:gd name="connsiteX109" fmla="*/ 1003459 w 1211103"/>
                <a:gd name="connsiteY109" fmla="*/ 318992 h 961263"/>
                <a:gd name="connsiteX110" fmla="*/ 996506 w 1211103"/>
                <a:gd name="connsiteY110" fmla="*/ 314039 h 961263"/>
                <a:gd name="connsiteX111" fmla="*/ 988695 w 1211103"/>
                <a:gd name="connsiteY111" fmla="*/ 312801 h 961263"/>
                <a:gd name="connsiteX112" fmla="*/ 968693 w 1211103"/>
                <a:gd name="connsiteY112" fmla="*/ 318230 h 961263"/>
                <a:gd name="connsiteX113" fmla="*/ 962120 w 1211103"/>
                <a:gd name="connsiteY113" fmla="*/ 318707 h 961263"/>
                <a:gd name="connsiteX114" fmla="*/ 953833 w 1211103"/>
                <a:gd name="connsiteY114" fmla="*/ 310420 h 961263"/>
                <a:gd name="connsiteX115" fmla="*/ 948023 w 1211103"/>
                <a:gd name="connsiteY115" fmla="*/ 298895 h 961263"/>
                <a:gd name="connsiteX116" fmla="*/ 948595 w 1211103"/>
                <a:gd name="connsiteY116" fmla="*/ 268605 h 961263"/>
                <a:gd name="connsiteX117" fmla="*/ 969264 w 1211103"/>
                <a:gd name="connsiteY117" fmla="*/ 277844 h 961263"/>
                <a:gd name="connsiteX118" fmla="*/ 981647 w 1211103"/>
                <a:gd name="connsiteY118" fmla="*/ 265938 h 961263"/>
                <a:gd name="connsiteX119" fmla="*/ 991457 w 1211103"/>
                <a:gd name="connsiteY119" fmla="*/ 260033 h 961263"/>
                <a:gd name="connsiteX120" fmla="*/ 994791 w 1211103"/>
                <a:gd name="connsiteY120" fmla="*/ 260509 h 961263"/>
                <a:gd name="connsiteX121" fmla="*/ 996982 w 1211103"/>
                <a:gd name="connsiteY121" fmla="*/ 260318 h 961263"/>
                <a:gd name="connsiteX122" fmla="*/ 1002220 w 1211103"/>
                <a:gd name="connsiteY122" fmla="*/ 258794 h 961263"/>
                <a:gd name="connsiteX123" fmla="*/ 1004126 w 1211103"/>
                <a:gd name="connsiteY123" fmla="*/ 259366 h 961263"/>
                <a:gd name="connsiteX124" fmla="*/ 1005554 w 1211103"/>
                <a:gd name="connsiteY124" fmla="*/ 261652 h 961263"/>
                <a:gd name="connsiteX125" fmla="*/ 1007650 w 1211103"/>
                <a:gd name="connsiteY125" fmla="*/ 264605 h 961263"/>
                <a:gd name="connsiteX126" fmla="*/ 1011269 w 1211103"/>
                <a:gd name="connsiteY126" fmla="*/ 267748 h 961263"/>
                <a:gd name="connsiteX127" fmla="*/ 1018794 w 1211103"/>
                <a:gd name="connsiteY127" fmla="*/ 269177 h 961263"/>
                <a:gd name="connsiteX128" fmla="*/ 1021175 w 1211103"/>
                <a:gd name="connsiteY128" fmla="*/ 267367 h 961263"/>
                <a:gd name="connsiteX129" fmla="*/ 1027748 w 1211103"/>
                <a:gd name="connsiteY129" fmla="*/ 264890 h 961263"/>
                <a:gd name="connsiteX130" fmla="*/ 1027176 w 1211103"/>
                <a:gd name="connsiteY130" fmla="*/ 261747 h 961263"/>
                <a:gd name="connsiteX131" fmla="*/ 1024319 w 1211103"/>
                <a:gd name="connsiteY131" fmla="*/ 258413 h 961263"/>
                <a:gd name="connsiteX132" fmla="*/ 1019365 w 1211103"/>
                <a:gd name="connsiteY132" fmla="*/ 251555 h 961263"/>
                <a:gd name="connsiteX133" fmla="*/ 1018985 w 1211103"/>
                <a:gd name="connsiteY133" fmla="*/ 248412 h 961263"/>
                <a:gd name="connsiteX134" fmla="*/ 1020890 w 1211103"/>
                <a:gd name="connsiteY134" fmla="*/ 246602 h 961263"/>
                <a:gd name="connsiteX135" fmla="*/ 1031272 w 1211103"/>
                <a:gd name="connsiteY135" fmla="*/ 247936 h 961263"/>
                <a:gd name="connsiteX136" fmla="*/ 1027938 w 1211103"/>
                <a:gd name="connsiteY136" fmla="*/ 232315 h 961263"/>
                <a:gd name="connsiteX137" fmla="*/ 1030795 w 1211103"/>
                <a:gd name="connsiteY137" fmla="*/ 222314 h 961263"/>
                <a:gd name="connsiteX138" fmla="*/ 1026795 w 1211103"/>
                <a:gd name="connsiteY138" fmla="*/ 216027 h 961263"/>
                <a:gd name="connsiteX139" fmla="*/ 1024223 w 1211103"/>
                <a:gd name="connsiteY139" fmla="*/ 209455 h 961263"/>
                <a:gd name="connsiteX140" fmla="*/ 1024414 w 1211103"/>
                <a:gd name="connsiteY140" fmla="*/ 203168 h 961263"/>
                <a:gd name="connsiteX141" fmla="*/ 1026033 w 1211103"/>
                <a:gd name="connsiteY141" fmla="*/ 198311 h 961263"/>
                <a:gd name="connsiteX142" fmla="*/ 1028700 w 1211103"/>
                <a:gd name="connsiteY142" fmla="*/ 193929 h 961263"/>
                <a:gd name="connsiteX143" fmla="*/ 1030129 w 1211103"/>
                <a:gd name="connsiteY143" fmla="*/ 190976 h 961263"/>
                <a:gd name="connsiteX144" fmla="*/ 1033177 w 1211103"/>
                <a:gd name="connsiteY144" fmla="*/ 187547 h 961263"/>
                <a:gd name="connsiteX145" fmla="*/ 1027271 w 1211103"/>
                <a:gd name="connsiteY145" fmla="*/ 174308 h 961263"/>
                <a:gd name="connsiteX146" fmla="*/ 1024890 w 1211103"/>
                <a:gd name="connsiteY146" fmla="*/ 164783 h 961263"/>
                <a:gd name="connsiteX147" fmla="*/ 1001554 w 1211103"/>
                <a:gd name="connsiteY147" fmla="*/ 143351 h 961263"/>
                <a:gd name="connsiteX148" fmla="*/ 997649 w 1211103"/>
                <a:gd name="connsiteY148" fmla="*/ 139827 h 961263"/>
                <a:gd name="connsiteX149" fmla="*/ 981361 w 1211103"/>
                <a:gd name="connsiteY149" fmla="*/ 134779 h 961263"/>
                <a:gd name="connsiteX150" fmla="*/ 976598 w 1211103"/>
                <a:gd name="connsiteY150" fmla="*/ 140780 h 961263"/>
                <a:gd name="connsiteX151" fmla="*/ 973741 w 1211103"/>
                <a:gd name="connsiteY151" fmla="*/ 128016 h 961263"/>
                <a:gd name="connsiteX152" fmla="*/ 972122 w 1211103"/>
                <a:gd name="connsiteY152" fmla="*/ 127254 h 961263"/>
                <a:gd name="connsiteX153" fmla="*/ 970693 w 1211103"/>
                <a:gd name="connsiteY153" fmla="*/ 126873 h 961263"/>
                <a:gd name="connsiteX154" fmla="*/ 968693 w 1211103"/>
                <a:gd name="connsiteY154" fmla="*/ 128016 h 961263"/>
                <a:gd name="connsiteX155" fmla="*/ 966026 w 1211103"/>
                <a:gd name="connsiteY155" fmla="*/ 128302 h 961263"/>
                <a:gd name="connsiteX156" fmla="*/ 959453 w 1211103"/>
                <a:gd name="connsiteY156" fmla="*/ 125730 h 961263"/>
                <a:gd name="connsiteX157" fmla="*/ 956310 w 1211103"/>
                <a:gd name="connsiteY157" fmla="*/ 122206 h 961263"/>
                <a:gd name="connsiteX158" fmla="*/ 954119 w 1211103"/>
                <a:gd name="connsiteY158" fmla="*/ 118015 h 961263"/>
                <a:gd name="connsiteX159" fmla="*/ 953262 w 1211103"/>
                <a:gd name="connsiteY159" fmla="*/ 109061 h 961263"/>
                <a:gd name="connsiteX160" fmla="*/ 951071 w 1211103"/>
                <a:gd name="connsiteY160" fmla="*/ 98012 h 961263"/>
                <a:gd name="connsiteX161" fmla="*/ 950024 w 1211103"/>
                <a:gd name="connsiteY161" fmla="*/ 88487 h 961263"/>
                <a:gd name="connsiteX162" fmla="*/ 949357 w 1211103"/>
                <a:gd name="connsiteY162" fmla="*/ 79534 h 961263"/>
                <a:gd name="connsiteX163" fmla="*/ 950024 w 1211103"/>
                <a:gd name="connsiteY163" fmla="*/ 75629 h 961263"/>
                <a:gd name="connsiteX164" fmla="*/ 948785 w 1211103"/>
                <a:gd name="connsiteY164" fmla="*/ 72771 h 961263"/>
                <a:gd name="connsiteX165" fmla="*/ 945452 w 1211103"/>
                <a:gd name="connsiteY165" fmla="*/ 69056 h 961263"/>
                <a:gd name="connsiteX166" fmla="*/ 941832 w 1211103"/>
                <a:gd name="connsiteY166" fmla="*/ 67437 h 961263"/>
                <a:gd name="connsiteX167" fmla="*/ 933355 w 1211103"/>
                <a:gd name="connsiteY167" fmla="*/ 66961 h 961263"/>
                <a:gd name="connsiteX168" fmla="*/ 927640 w 1211103"/>
                <a:gd name="connsiteY168" fmla="*/ 8858 h 961263"/>
                <a:gd name="connsiteX169" fmla="*/ 927545 w 1211103"/>
                <a:gd name="connsiteY169" fmla="*/ 7620 h 961263"/>
                <a:gd name="connsiteX170" fmla="*/ 923449 w 1211103"/>
                <a:gd name="connsiteY170" fmla="*/ 11430 h 961263"/>
                <a:gd name="connsiteX171" fmla="*/ 913257 w 1211103"/>
                <a:gd name="connsiteY171" fmla="*/ 9716 h 961263"/>
                <a:gd name="connsiteX172" fmla="*/ 903161 w 1211103"/>
                <a:gd name="connsiteY172" fmla="*/ 3143 h 961263"/>
                <a:gd name="connsiteX173" fmla="*/ 890969 w 1211103"/>
                <a:gd name="connsiteY173" fmla="*/ 0 h 961263"/>
                <a:gd name="connsiteX174" fmla="*/ 885253 w 1211103"/>
                <a:gd name="connsiteY174" fmla="*/ 7620 h 961263"/>
                <a:gd name="connsiteX175" fmla="*/ 878110 w 1211103"/>
                <a:gd name="connsiteY175" fmla="*/ 27908 h 961263"/>
                <a:gd name="connsiteX176" fmla="*/ 872014 w 1211103"/>
                <a:gd name="connsiteY176" fmla="*/ 32766 h 961263"/>
                <a:gd name="connsiteX177" fmla="*/ 848392 w 1211103"/>
                <a:gd name="connsiteY177" fmla="*/ 35433 h 961263"/>
                <a:gd name="connsiteX178" fmla="*/ 832199 w 1211103"/>
                <a:gd name="connsiteY178" fmla="*/ 33909 h 961263"/>
                <a:gd name="connsiteX179" fmla="*/ 821055 w 1211103"/>
                <a:gd name="connsiteY179" fmla="*/ 32861 h 961263"/>
                <a:gd name="connsiteX180" fmla="*/ 813245 w 1211103"/>
                <a:gd name="connsiteY180" fmla="*/ 34576 h 961263"/>
                <a:gd name="connsiteX181" fmla="*/ 792766 w 1211103"/>
                <a:gd name="connsiteY181" fmla="*/ 53531 h 961263"/>
                <a:gd name="connsiteX182" fmla="*/ 777335 w 1211103"/>
                <a:gd name="connsiteY182" fmla="*/ 61722 h 961263"/>
                <a:gd name="connsiteX183" fmla="*/ 772478 w 1211103"/>
                <a:gd name="connsiteY183" fmla="*/ 67342 h 961263"/>
                <a:gd name="connsiteX184" fmla="*/ 766096 w 1211103"/>
                <a:gd name="connsiteY184" fmla="*/ 84773 h 961263"/>
                <a:gd name="connsiteX185" fmla="*/ 761714 w 1211103"/>
                <a:gd name="connsiteY185" fmla="*/ 92202 h 961263"/>
                <a:gd name="connsiteX186" fmla="*/ 752665 w 1211103"/>
                <a:gd name="connsiteY186" fmla="*/ 97345 h 961263"/>
                <a:gd name="connsiteX187" fmla="*/ 741521 w 1211103"/>
                <a:gd name="connsiteY187" fmla="*/ 97917 h 961263"/>
                <a:gd name="connsiteX188" fmla="*/ 724567 w 1211103"/>
                <a:gd name="connsiteY188" fmla="*/ 90964 h 961263"/>
                <a:gd name="connsiteX189" fmla="*/ 720661 w 1211103"/>
                <a:gd name="connsiteY189" fmla="*/ 98869 h 961263"/>
                <a:gd name="connsiteX190" fmla="*/ 717804 w 1211103"/>
                <a:gd name="connsiteY190" fmla="*/ 107728 h 961263"/>
                <a:gd name="connsiteX191" fmla="*/ 716756 w 1211103"/>
                <a:gd name="connsiteY191" fmla="*/ 116967 h 961263"/>
                <a:gd name="connsiteX192" fmla="*/ 717804 w 1211103"/>
                <a:gd name="connsiteY192" fmla="*/ 134303 h 961263"/>
                <a:gd name="connsiteX193" fmla="*/ 721995 w 1211103"/>
                <a:gd name="connsiteY193" fmla="*/ 168593 h 961263"/>
                <a:gd name="connsiteX194" fmla="*/ 721995 w 1211103"/>
                <a:gd name="connsiteY194" fmla="*/ 181832 h 961263"/>
                <a:gd name="connsiteX195" fmla="*/ 727520 w 1211103"/>
                <a:gd name="connsiteY195" fmla="*/ 195548 h 961263"/>
                <a:gd name="connsiteX196" fmla="*/ 744665 w 1211103"/>
                <a:gd name="connsiteY196" fmla="*/ 224314 h 961263"/>
                <a:gd name="connsiteX197" fmla="*/ 746760 w 1211103"/>
                <a:gd name="connsiteY197" fmla="*/ 234029 h 961263"/>
                <a:gd name="connsiteX198" fmla="*/ 751332 w 1211103"/>
                <a:gd name="connsiteY198" fmla="*/ 276797 h 961263"/>
                <a:gd name="connsiteX199" fmla="*/ 746665 w 1211103"/>
                <a:gd name="connsiteY199" fmla="*/ 303562 h 961263"/>
                <a:gd name="connsiteX200" fmla="*/ 745045 w 1211103"/>
                <a:gd name="connsiteY200" fmla="*/ 322612 h 961263"/>
                <a:gd name="connsiteX201" fmla="*/ 747332 w 1211103"/>
                <a:gd name="connsiteY201" fmla="*/ 331280 h 961263"/>
                <a:gd name="connsiteX202" fmla="*/ 751427 w 1211103"/>
                <a:gd name="connsiteY202" fmla="*/ 338423 h 961263"/>
                <a:gd name="connsiteX203" fmla="*/ 753332 w 1211103"/>
                <a:gd name="connsiteY203" fmla="*/ 354425 h 961263"/>
                <a:gd name="connsiteX204" fmla="*/ 753999 w 1211103"/>
                <a:gd name="connsiteY204" fmla="*/ 381286 h 961263"/>
                <a:gd name="connsiteX205" fmla="*/ 759143 w 1211103"/>
                <a:gd name="connsiteY205" fmla="*/ 431483 h 961263"/>
                <a:gd name="connsiteX206" fmla="*/ 763048 w 1211103"/>
                <a:gd name="connsiteY206" fmla="*/ 469011 h 961263"/>
                <a:gd name="connsiteX207" fmla="*/ 763238 w 1211103"/>
                <a:gd name="connsiteY207" fmla="*/ 471583 h 961263"/>
                <a:gd name="connsiteX208" fmla="*/ 764572 w 1211103"/>
                <a:gd name="connsiteY208" fmla="*/ 505016 h 961263"/>
                <a:gd name="connsiteX209" fmla="*/ 761333 w 1211103"/>
                <a:gd name="connsiteY209" fmla="*/ 533876 h 961263"/>
                <a:gd name="connsiteX210" fmla="*/ 753047 w 1211103"/>
                <a:gd name="connsiteY210" fmla="*/ 553974 h 961263"/>
                <a:gd name="connsiteX211" fmla="*/ 734187 w 1211103"/>
                <a:gd name="connsiteY211" fmla="*/ 575786 h 961263"/>
                <a:gd name="connsiteX212" fmla="*/ 727139 w 1211103"/>
                <a:gd name="connsiteY212" fmla="*/ 584073 h 961263"/>
                <a:gd name="connsiteX213" fmla="*/ 717804 w 1211103"/>
                <a:gd name="connsiteY213" fmla="*/ 590836 h 961263"/>
                <a:gd name="connsiteX214" fmla="*/ 713899 w 1211103"/>
                <a:gd name="connsiteY214" fmla="*/ 595979 h 961263"/>
                <a:gd name="connsiteX215" fmla="*/ 713803 w 1211103"/>
                <a:gd name="connsiteY215" fmla="*/ 603599 h 961263"/>
                <a:gd name="connsiteX216" fmla="*/ 707136 w 1211103"/>
                <a:gd name="connsiteY216" fmla="*/ 606266 h 961263"/>
                <a:gd name="connsiteX217" fmla="*/ 698278 w 1211103"/>
                <a:gd name="connsiteY217" fmla="*/ 611886 h 961263"/>
                <a:gd name="connsiteX218" fmla="*/ 690753 w 1211103"/>
                <a:gd name="connsiteY218" fmla="*/ 620173 h 961263"/>
                <a:gd name="connsiteX219" fmla="*/ 687419 w 1211103"/>
                <a:gd name="connsiteY219" fmla="*/ 630460 h 961263"/>
                <a:gd name="connsiteX220" fmla="*/ 649415 w 1211103"/>
                <a:gd name="connsiteY220" fmla="*/ 655511 h 961263"/>
                <a:gd name="connsiteX221" fmla="*/ 634365 w 1211103"/>
                <a:gd name="connsiteY221" fmla="*/ 665417 h 961263"/>
                <a:gd name="connsiteX222" fmla="*/ 619220 w 1211103"/>
                <a:gd name="connsiteY222" fmla="*/ 669703 h 961263"/>
                <a:gd name="connsiteX223" fmla="*/ 613982 w 1211103"/>
                <a:gd name="connsiteY223" fmla="*/ 676751 h 961263"/>
                <a:gd name="connsiteX224" fmla="*/ 609029 w 1211103"/>
                <a:gd name="connsiteY224" fmla="*/ 686372 h 961263"/>
                <a:gd name="connsiteX225" fmla="*/ 601980 w 1211103"/>
                <a:gd name="connsiteY225" fmla="*/ 696659 h 961263"/>
                <a:gd name="connsiteX226" fmla="*/ 587026 w 1211103"/>
                <a:gd name="connsiteY226" fmla="*/ 709517 h 961263"/>
                <a:gd name="connsiteX227" fmla="*/ 576929 w 1211103"/>
                <a:gd name="connsiteY227" fmla="*/ 714470 h 961263"/>
                <a:gd name="connsiteX228" fmla="*/ 553212 w 1211103"/>
                <a:gd name="connsiteY228" fmla="*/ 726091 h 961263"/>
                <a:gd name="connsiteX229" fmla="*/ 486632 w 1211103"/>
                <a:gd name="connsiteY229" fmla="*/ 742379 h 961263"/>
                <a:gd name="connsiteX230" fmla="*/ 462058 w 1211103"/>
                <a:gd name="connsiteY230" fmla="*/ 739807 h 961263"/>
                <a:gd name="connsiteX231" fmla="*/ 443865 w 1211103"/>
                <a:gd name="connsiteY231" fmla="*/ 733997 h 961263"/>
                <a:gd name="connsiteX232" fmla="*/ 441293 w 1211103"/>
                <a:gd name="connsiteY232" fmla="*/ 731806 h 961263"/>
                <a:gd name="connsiteX233" fmla="*/ 437769 w 1211103"/>
                <a:gd name="connsiteY233" fmla="*/ 728853 h 961263"/>
                <a:gd name="connsiteX234" fmla="*/ 418814 w 1211103"/>
                <a:gd name="connsiteY234" fmla="*/ 700754 h 961263"/>
                <a:gd name="connsiteX235" fmla="*/ 414052 w 1211103"/>
                <a:gd name="connsiteY235" fmla="*/ 696659 h 961263"/>
                <a:gd name="connsiteX236" fmla="*/ 380619 w 1211103"/>
                <a:gd name="connsiteY236" fmla="*/ 690277 h 961263"/>
                <a:gd name="connsiteX237" fmla="*/ 348425 w 1211103"/>
                <a:gd name="connsiteY237" fmla="*/ 677132 h 961263"/>
                <a:gd name="connsiteX238" fmla="*/ 329946 w 1211103"/>
                <a:gd name="connsiteY238" fmla="*/ 655415 h 961263"/>
                <a:gd name="connsiteX239" fmla="*/ 322993 w 1211103"/>
                <a:gd name="connsiteY239" fmla="*/ 652653 h 961263"/>
                <a:gd name="connsiteX240" fmla="*/ 317563 w 1211103"/>
                <a:gd name="connsiteY240" fmla="*/ 648176 h 961263"/>
                <a:gd name="connsiteX241" fmla="*/ 313563 w 1211103"/>
                <a:gd name="connsiteY241" fmla="*/ 637032 h 961263"/>
                <a:gd name="connsiteX242" fmla="*/ 302609 w 1211103"/>
                <a:gd name="connsiteY242" fmla="*/ 570643 h 961263"/>
                <a:gd name="connsiteX243" fmla="*/ 299180 w 1211103"/>
                <a:gd name="connsiteY243" fmla="*/ 563975 h 961263"/>
                <a:gd name="connsiteX244" fmla="*/ 293370 w 1211103"/>
                <a:gd name="connsiteY244" fmla="*/ 558260 h 961263"/>
                <a:gd name="connsiteX245" fmla="*/ 290036 w 1211103"/>
                <a:gd name="connsiteY245" fmla="*/ 545116 h 961263"/>
                <a:gd name="connsiteX246" fmla="*/ 286988 w 1211103"/>
                <a:gd name="connsiteY246" fmla="*/ 519779 h 961263"/>
                <a:gd name="connsiteX247" fmla="*/ 283940 w 1211103"/>
                <a:gd name="connsiteY247" fmla="*/ 505587 h 961263"/>
                <a:gd name="connsiteX248" fmla="*/ 280035 w 1211103"/>
                <a:gd name="connsiteY248" fmla="*/ 493776 h 961263"/>
                <a:gd name="connsiteX249" fmla="*/ 278321 w 1211103"/>
                <a:gd name="connsiteY249" fmla="*/ 490252 h 961263"/>
                <a:gd name="connsiteX250" fmla="*/ 265843 w 1211103"/>
                <a:gd name="connsiteY250" fmla="*/ 494824 h 961263"/>
                <a:gd name="connsiteX251" fmla="*/ 263081 w 1211103"/>
                <a:gd name="connsiteY251" fmla="*/ 499967 h 961263"/>
                <a:gd name="connsiteX252" fmla="*/ 260604 w 1211103"/>
                <a:gd name="connsiteY252" fmla="*/ 508445 h 961263"/>
                <a:gd name="connsiteX253" fmla="*/ 259937 w 1211103"/>
                <a:gd name="connsiteY253" fmla="*/ 528638 h 961263"/>
                <a:gd name="connsiteX254" fmla="*/ 247269 w 1211103"/>
                <a:gd name="connsiteY254" fmla="*/ 547973 h 961263"/>
                <a:gd name="connsiteX255" fmla="*/ 231553 w 1211103"/>
                <a:gd name="connsiteY255" fmla="*/ 568357 h 961263"/>
                <a:gd name="connsiteX256" fmla="*/ 207264 w 1211103"/>
                <a:gd name="connsiteY256" fmla="*/ 584930 h 961263"/>
                <a:gd name="connsiteX257" fmla="*/ 203263 w 1211103"/>
                <a:gd name="connsiteY257" fmla="*/ 587502 h 961263"/>
                <a:gd name="connsiteX258" fmla="*/ 196120 w 1211103"/>
                <a:gd name="connsiteY258" fmla="*/ 598742 h 961263"/>
                <a:gd name="connsiteX259" fmla="*/ 195263 w 1211103"/>
                <a:gd name="connsiteY259" fmla="*/ 604171 h 961263"/>
                <a:gd name="connsiteX260" fmla="*/ 193167 w 1211103"/>
                <a:gd name="connsiteY260" fmla="*/ 609791 h 961263"/>
                <a:gd name="connsiteX261" fmla="*/ 189071 w 1211103"/>
                <a:gd name="connsiteY261" fmla="*/ 615410 h 961263"/>
                <a:gd name="connsiteX262" fmla="*/ 181451 w 1211103"/>
                <a:gd name="connsiteY262" fmla="*/ 620744 h 961263"/>
                <a:gd name="connsiteX263" fmla="*/ 150304 w 1211103"/>
                <a:gd name="connsiteY263" fmla="*/ 618744 h 961263"/>
                <a:gd name="connsiteX264" fmla="*/ 141256 w 1211103"/>
                <a:gd name="connsiteY264" fmla="*/ 621125 h 961263"/>
                <a:gd name="connsiteX265" fmla="*/ 138875 w 1211103"/>
                <a:gd name="connsiteY265" fmla="*/ 624935 h 961263"/>
                <a:gd name="connsiteX266" fmla="*/ 135446 w 1211103"/>
                <a:gd name="connsiteY266" fmla="*/ 628745 h 961263"/>
                <a:gd name="connsiteX267" fmla="*/ 122873 w 1211103"/>
                <a:gd name="connsiteY267" fmla="*/ 638651 h 961263"/>
                <a:gd name="connsiteX268" fmla="*/ 87344 w 1211103"/>
                <a:gd name="connsiteY268" fmla="*/ 649129 h 961263"/>
                <a:gd name="connsiteX269" fmla="*/ 76390 w 1211103"/>
                <a:gd name="connsiteY269" fmla="*/ 651224 h 961263"/>
                <a:gd name="connsiteX270" fmla="*/ 79438 w 1211103"/>
                <a:gd name="connsiteY270" fmla="*/ 689229 h 961263"/>
                <a:gd name="connsiteX271" fmla="*/ 74200 w 1211103"/>
                <a:gd name="connsiteY271" fmla="*/ 707708 h 961263"/>
                <a:gd name="connsiteX272" fmla="*/ 56864 w 1211103"/>
                <a:gd name="connsiteY272" fmla="*/ 703040 h 961263"/>
                <a:gd name="connsiteX273" fmla="*/ 44482 w 1211103"/>
                <a:gd name="connsiteY273" fmla="*/ 713042 h 961263"/>
                <a:gd name="connsiteX274" fmla="*/ 24479 w 1211103"/>
                <a:gd name="connsiteY274" fmla="*/ 709136 h 961263"/>
                <a:gd name="connsiteX275" fmla="*/ 10573 w 1211103"/>
                <a:gd name="connsiteY275" fmla="*/ 731520 h 961263"/>
                <a:gd name="connsiteX276" fmla="*/ 4096 w 1211103"/>
                <a:gd name="connsiteY276" fmla="*/ 761619 h 961263"/>
                <a:gd name="connsiteX277" fmla="*/ 0 w 1211103"/>
                <a:gd name="connsiteY277" fmla="*/ 762953 h 961263"/>
                <a:gd name="connsiteX278" fmla="*/ 3715 w 1211103"/>
                <a:gd name="connsiteY278" fmla="*/ 778288 h 961263"/>
                <a:gd name="connsiteX279" fmla="*/ 18288 w 1211103"/>
                <a:gd name="connsiteY279" fmla="*/ 776097 h 961263"/>
                <a:gd name="connsiteX280" fmla="*/ 25908 w 1211103"/>
                <a:gd name="connsiteY280" fmla="*/ 778002 h 961263"/>
                <a:gd name="connsiteX281" fmla="*/ 31623 w 1211103"/>
                <a:gd name="connsiteY281" fmla="*/ 781241 h 961263"/>
                <a:gd name="connsiteX282" fmla="*/ 32671 w 1211103"/>
                <a:gd name="connsiteY282" fmla="*/ 784193 h 961263"/>
                <a:gd name="connsiteX283" fmla="*/ 30766 w 1211103"/>
                <a:gd name="connsiteY283" fmla="*/ 786765 h 961263"/>
                <a:gd name="connsiteX284" fmla="*/ 29432 w 1211103"/>
                <a:gd name="connsiteY284" fmla="*/ 790194 h 961263"/>
                <a:gd name="connsiteX285" fmla="*/ 29527 w 1211103"/>
                <a:gd name="connsiteY285" fmla="*/ 801338 h 961263"/>
                <a:gd name="connsiteX286" fmla="*/ 28670 w 1211103"/>
                <a:gd name="connsiteY286" fmla="*/ 806958 h 961263"/>
                <a:gd name="connsiteX287" fmla="*/ 26956 w 1211103"/>
                <a:gd name="connsiteY287" fmla="*/ 810387 h 961263"/>
                <a:gd name="connsiteX288" fmla="*/ 23813 w 1211103"/>
                <a:gd name="connsiteY288" fmla="*/ 813626 h 961263"/>
                <a:gd name="connsiteX289" fmla="*/ 21431 w 1211103"/>
                <a:gd name="connsiteY289" fmla="*/ 816769 h 961263"/>
                <a:gd name="connsiteX290" fmla="*/ 17717 w 1211103"/>
                <a:gd name="connsiteY290" fmla="*/ 824960 h 961263"/>
                <a:gd name="connsiteX291" fmla="*/ 32099 w 1211103"/>
                <a:gd name="connsiteY291" fmla="*/ 832009 h 961263"/>
                <a:gd name="connsiteX292" fmla="*/ 54864 w 1211103"/>
                <a:gd name="connsiteY292" fmla="*/ 835152 h 961263"/>
                <a:gd name="connsiteX293" fmla="*/ 73533 w 1211103"/>
                <a:gd name="connsiteY293" fmla="*/ 844487 h 961263"/>
                <a:gd name="connsiteX294" fmla="*/ 78105 w 1211103"/>
                <a:gd name="connsiteY294" fmla="*/ 850011 h 961263"/>
                <a:gd name="connsiteX295" fmla="*/ 76581 w 1211103"/>
                <a:gd name="connsiteY295" fmla="*/ 855821 h 961263"/>
                <a:gd name="connsiteX296" fmla="*/ 91059 w 1211103"/>
                <a:gd name="connsiteY296" fmla="*/ 854869 h 961263"/>
                <a:gd name="connsiteX297" fmla="*/ 106490 w 1211103"/>
                <a:gd name="connsiteY297" fmla="*/ 860203 h 961263"/>
                <a:gd name="connsiteX298" fmla="*/ 133826 w 1211103"/>
                <a:gd name="connsiteY298" fmla="*/ 858869 h 961263"/>
                <a:gd name="connsiteX299" fmla="*/ 133350 w 1211103"/>
                <a:gd name="connsiteY299" fmla="*/ 863918 h 961263"/>
                <a:gd name="connsiteX300" fmla="*/ 146113 w 1211103"/>
                <a:gd name="connsiteY300" fmla="*/ 881825 h 961263"/>
                <a:gd name="connsiteX301" fmla="*/ 148495 w 1211103"/>
                <a:gd name="connsiteY301" fmla="*/ 908685 h 961263"/>
                <a:gd name="connsiteX302" fmla="*/ 149257 w 1211103"/>
                <a:gd name="connsiteY302" fmla="*/ 914210 h 961263"/>
                <a:gd name="connsiteX303" fmla="*/ 147733 w 1211103"/>
                <a:gd name="connsiteY303" fmla="*/ 918591 h 961263"/>
                <a:gd name="connsiteX304" fmla="*/ 145447 w 1211103"/>
                <a:gd name="connsiteY304" fmla="*/ 920020 h 961263"/>
                <a:gd name="connsiteX305" fmla="*/ 143732 w 1211103"/>
                <a:gd name="connsiteY305" fmla="*/ 921830 h 961263"/>
                <a:gd name="connsiteX306" fmla="*/ 143923 w 1211103"/>
                <a:gd name="connsiteY306" fmla="*/ 924782 h 961263"/>
                <a:gd name="connsiteX307" fmla="*/ 145256 w 1211103"/>
                <a:gd name="connsiteY307" fmla="*/ 926783 h 961263"/>
                <a:gd name="connsiteX308" fmla="*/ 148209 w 1211103"/>
                <a:gd name="connsiteY308" fmla="*/ 934022 h 961263"/>
                <a:gd name="connsiteX309" fmla="*/ 167354 w 1211103"/>
                <a:gd name="connsiteY309" fmla="*/ 926211 h 961263"/>
                <a:gd name="connsiteX310" fmla="*/ 178403 w 1211103"/>
                <a:gd name="connsiteY310" fmla="*/ 924401 h 961263"/>
                <a:gd name="connsiteX311" fmla="*/ 210598 w 1211103"/>
                <a:gd name="connsiteY311" fmla="*/ 925068 h 961263"/>
                <a:gd name="connsiteX312" fmla="*/ 227171 w 1211103"/>
                <a:gd name="connsiteY312" fmla="*/ 936212 h 961263"/>
                <a:gd name="connsiteX313" fmla="*/ 248698 w 1211103"/>
                <a:gd name="connsiteY313" fmla="*/ 939260 h 961263"/>
                <a:gd name="connsiteX314" fmla="*/ 254603 w 1211103"/>
                <a:gd name="connsiteY314" fmla="*/ 938594 h 961263"/>
                <a:gd name="connsiteX315" fmla="*/ 264033 w 1211103"/>
                <a:gd name="connsiteY315" fmla="*/ 933450 h 961263"/>
                <a:gd name="connsiteX316" fmla="*/ 282892 w 1211103"/>
                <a:gd name="connsiteY316" fmla="*/ 938022 h 961263"/>
                <a:gd name="connsiteX317" fmla="*/ 291370 w 1211103"/>
                <a:gd name="connsiteY317" fmla="*/ 929164 h 961263"/>
                <a:gd name="connsiteX318" fmla="*/ 300038 w 1211103"/>
                <a:gd name="connsiteY318" fmla="*/ 924782 h 961263"/>
                <a:gd name="connsiteX319" fmla="*/ 322040 w 1211103"/>
                <a:gd name="connsiteY319" fmla="*/ 925354 h 961263"/>
                <a:gd name="connsiteX320" fmla="*/ 332708 w 1211103"/>
                <a:gd name="connsiteY320" fmla="*/ 921734 h 961263"/>
                <a:gd name="connsiteX321" fmla="*/ 342614 w 1211103"/>
                <a:gd name="connsiteY321" fmla="*/ 897541 h 961263"/>
                <a:gd name="connsiteX322" fmla="*/ 338614 w 1211103"/>
                <a:gd name="connsiteY322" fmla="*/ 886206 h 961263"/>
                <a:gd name="connsiteX323" fmla="*/ 338995 w 1211103"/>
                <a:gd name="connsiteY323" fmla="*/ 880015 h 961263"/>
                <a:gd name="connsiteX324" fmla="*/ 341376 w 1211103"/>
                <a:gd name="connsiteY324" fmla="*/ 874300 h 961263"/>
                <a:gd name="connsiteX325" fmla="*/ 362045 w 1211103"/>
                <a:gd name="connsiteY325" fmla="*/ 861060 h 961263"/>
                <a:gd name="connsiteX326" fmla="*/ 367665 w 1211103"/>
                <a:gd name="connsiteY326" fmla="*/ 865918 h 961263"/>
                <a:gd name="connsiteX327" fmla="*/ 370618 w 1211103"/>
                <a:gd name="connsiteY327" fmla="*/ 867156 h 961263"/>
                <a:gd name="connsiteX328" fmla="*/ 375190 w 1211103"/>
                <a:gd name="connsiteY328" fmla="*/ 867061 h 961263"/>
                <a:gd name="connsiteX329" fmla="*/ 391859 w 1211103"/>
                <a:gd name="connsiteY329" fmla="*/ 862013 h 961263"/>
                <a:gd name="connsiteX330" fmla="*/ 405479 w 1211103"/>
                <a:gd name="connsiteY330" fmla="*/ 850297 h 961263"/>
                <a:gd name="connsiteX331" fmla="*/ 395859 w 1211103"/>
                <a:gd name="connsiteY331" fmla="*/ 801624 h 961263"/>
                <a:gd name="connsiteX332" fmla="*/ 413290 w 1211103"/>
                <a:gd name="connsiteY332" fmla="*/ 794290 h 961263"/>
                <a:gd name="connsiteX333" fmla="*/ 444817 w 1211103"/>
                <a:gd name="connsiteY333" fmla="*/ 796671 h 961263"/>
                <a:gd name="connsiteX334" fmla="*/ 449961 w 1211103"/>
                <a:gd name="connsiteY334" fmla="*/ 798100 h 961263"/>
                <a:gd name="connsiteX335" fmla="*/ 459867 w 1211103"/>
                <a:gd name="connsiteY335" fmla="*/ 798100 h 961263"/>
                <a:gd name="connsiteX336" fmla="*/ 476726 w 1211103"/>
                <a:gd name="connsiteY336" fmla="*/ 808292 h 961263"/>
                <a:gd name="connsiteX337" fmla="*/ 491395 w 1211103"/>
                <a:gd name="connsiteY337" fmla="*/ 824484 h 961263"/>
                <a:gd name="connsiteX338" fmla="*/ 495776 w 1211103"/>
                <a:gd name="connsiteY338" fmla="*/ 836009 h 961263"/>
                <a:gd name="connsiteX339" fmla="*/ 501872 w 1211103"/>
                <a:gd name="connsiteY339" fmla="*/ 846011 h 961263"/>
                <a:gd name="connsiteX340" fmla="*/ 515684 w 1211103"/>
                <a:gd name="connsiteY340" fmla="*/ 861632 h 961263"/>
                <a:gd name="connsiteX341" fmla="*/ 511778 w 1211103"/>
                <a:gd name="connsiteY341" fmla="*/ 881634 h 961263"/>
                <a:gd name="connsiteX342" fmla="*/ 513588 w 1211103"/>
                <a:gd name="connsiteY342" fmla="*/ 884206 h 961263"/>
                <a:gd name="connsiteX343" fmla="*/ 510445 w 1211103"/>
                <a:gd name="connsiteY343" fmla="*/ 901351 h 961263"/>
                <a:gd name="connsiteX344" fmla="*/ 514826 w 1211103"/>
                <a:gd name="connsiteY344" fmla="*/ 905732 h 961263"/>
                <a:gd name="connsiteX345" fmla="*/ 521208 w 1211103"/>
                <a:gd name="connsiteY345" fmla="*/ 909923 h 961263"/>
                <a:gd name="connsiteX346" fmla="*/ 527971 w 1211103"/>
                <a:gd name="connsiteY346" fmla="*/ 911733 h 961263"/>
                <a:gd name="connsiteX347" fmla="*/ 531876 w 1211103"/>
                <a:gd name="connsiteY347" fmla="*/ 909542 h 961263"/>
                <a:gd name="connsiteX348" fmla="*/ 534638 w 1211103"/>
                <a:gd name="connsiteY348" fmla="*/ 907447 h 961263"/>
                <a:gd name="connsiteX349" fmla="*/ 538544 w 1211103"/>
                <a:gd name="connsiteY349" fmla="*/ 905542 h 961263"/>
                <a:gd name="connsiteX350" fmla="*/ 566833 w 1211103"/>
                <a:gd name="connsiteY350" fmla="*/ 900113 h 961263"/>
                <a:gd name="connsiteX351" fmla="*/ 571500 w 1211103"/>
                <a:gd name="connsiteY351" fmla="*/ 900398 h 961263"/>
                <a:gd name="connsiteX352" fmla="*/ 574072 w 1211103"/>
                <a:gd name="connsiteY352" fmla="*/ 902780 h 961263"/>
                <a:gd name="connsiteX353" fmla="*/ 576167 w 1211103"/>
                <a:gd name="connsiteY353" fmla="*/ 908399 h 961263"/>
                <a:gd name="connsiteX354" fmla="*/ 580168 w 1211103"/>
                <a:gd name="connsiteY354" fmla="*/ 910495 h 961263"/>
                <a:gd name="connsiteX355" fmla="*/ 582549 w 1211103"/>
                <a:gd name="connsiteY355" fmla="*/ 912400 h 961263"/>
                <a:gd name="connsiteX356" fmla="*/ 603980 w 1211103"/>
                <a:gd name="connsiteY356" fmla="*/ 911066 h 961263"/>
                <a:gd name="connsiteX357" fmla="*/ 604647 w 1211103"/>
                <a:gd name="connsiteY357" fmla="*/ 917353 h 961263"/>
                <a:gd name="connsiteX358" fmla="*/ 608552 w 1211103"/>
                <a:gd name="connsiteY358" fmla="*/ 925544 h 961263"/>
                <a:gd name="connsiteX359" fmla="*/ 605600 w 1211103"/>
                <a:gd name="connsiteY359" fmla="*/ 935736 h 961263"/>
                <a:gd name="connsiteX360" fmla="*/ 618554 w 1211103"/>
                <a:gd name="connsiteY360" fmla="*/ 940975 h 961263"/>
                <a:gd name="connsiteX361" fmla="*/ 639318 w 1211103"/>
                <a:gd name="connsiteY361" fmla="*/ 945356 h 961263"/>
                <a:gd name="connsiteX362" fmla="*/ 651320 w 1211103"/>
                <a:gd name="connsiteY362" fmla="*/ 952976 h 961263"/>
                <a:gd name="connsiteX363" fmla="*/ 656368 w 1211103"/>
                <a:gd name="connsiteY363" fmla="*/ 955167 h 961263"/>
                <a:gd name="connsiteX364" fmla="*/ 663226 w 1211103"/>
                <a:gd name="connsiteY364" fmla="*/ 955262 h 961263"/>
                <a:gd name="connsiteX365" fmla="*/ 667798 w 1211103"/>
                <a:gd name="connsiteY365" fmla="*/ 953834 h 961263"/>
                <a:gd name="connsiteX366" fmla="*/ 672560 w 1211103"/>
                <a:gd name="connsiteY366" fmla="*/ 947928 h 961263"/>
                <a:gd name="connsiteX367" fmla="*/ 673036 w 1211103"/>
                <a:gd name="connsiteY367" fmla="*/ 943166 h 961263"/>
                <a:gd name="connsiteX368" fmla="*/ 675227 w 1211103"/>
                <a:gd name="connsiteY368" fmla="*/ 939451 h 961263"/>
                <a:gd name="connsiteX369" fmla="*/ 677323 w 1211103"/>
                <a:gd name="connsiteY369" fmla="*/ 937927 h 961263"/>
                <a:gd name="connsiteX370" fmla="*/ 681609 w 1211103"/>
                <a:gd name="connsiteY370" fmla="*/ 938689 h 961263"/>
                <a:gd name="connsiteX371" fmla="*/ 686753 w 1211103"/>
                <a:gd name="connsiteY371" fmla="*/ 937260 h 961263"/>
                <a:gd name="connsiteX372" fmla="*/ 695135 w 1211103"/>
                <a:gd name="connsiteY372" fmla="*/ 933069 h 961263"/>
                <a:gd name="connsiteX373" fmla="*/ 701040 w 1211103"/>
                <a:gd name="connsiteY373" fmla="*/ 930021 h 961263"/>
                <a:gd name="connsiteX374" fmla="*/ 705803 w 1211103"/>
                <a:gd name="connsiteY374" fmla="*/ 931831 h 961263"/>
                <a:gd name="connsiteX375" fmla="*/ 707898 w 1211103"/>
                <a:gd name="connsiteY375" fmla="*/ 939451 h 961263"/>
                <a:gd name="connsiteX376" fmla="*/ 712375 w 1211103"/>
                <a:gd name="connsiteY376" fmla="*/ 944023 h 961263"/>
                <a:gd name="connsiteX377" fmla="*/ 720090 w 1211103"/>
                <a:gd name="connsiteY377" fmla="*/ 950024 h 961263"/>
                <a:gd name="connsiteX378" fmla="*/ 736187 w 1211103"/>
                <a:gd name="connsiteY378" fmla="*/ 958406 h 961263"/>
                <a:gd name="connsiteX379" fmla="*/ 743712 w 1211103"/>
                <a:gd name="connsiteY379" fmla="*/ 959930 h 961263"/>
                <a:gd name="connsiteX380" fmla="*/ 751046 w 1211103"/>
                <a:gd name="connsiteY380" fmla="*/ 961263 h 961263"/>
                <a:gd name="connsiteX381" fmla="*/ 750570 w 1211103"/>
                <a:gd name="connsiteY381" fmla="*/ 956501 h 961263"/>
                <a:gd name="connsiteX382" fmla="*/ 751808 w 1211103"/>
                <a:gd name="connsiteY382" fmla="*/ 955072 h 961263"/>
                <a:gd name="connsiteX383" fmla="*/ 754761 w 1211103"/>
                <a:gd name="connsiteY383" fmla="*/ 953262 h 961263"/>
                <a:gd name="connsiteX384" fmla="*/ 766953 w 1211103"/>
                <a:gd name="connsiteY384" fmla="*/ 950881 h 961263"/>
                <a:gd name="connsiteX385" fmla="*/ 772001 w 1211103"/>
                <a:gd name="connsiteY385" fmla="*/ 948500 h 961263"/>
                <a:gd name="connsiteX386" fmla="*/ 778002 w 1211103"/>
                <a:gd name="connsiteY386" fmla="*/ 943832 h 961263"/>
                <a:gd name="connsiteX387" fmla="*/ 793242 w 1211103"/>
                <a:gd name="connsiteY387" fmla="*/ 929354 h 961263"/>
                <a:gd name="connsiteX388" fmla="*/ 808577 w 1211103"/>
                <a:gd name="connsiteY388" fmla="*/ 922973 h 961263"/>
                <a:gd name="connsiteX389" fmla="*/ 810006 w 1211103"/>
                <a:gd name="connsiteY389" fmla="*/ 895445 h 961263"/>
                <a:gd name="connsiteX390" fmla="*/ 812959 w 1211103"/>
                <a:gd name="connsiteY390" fmla="*/ 890588 h 961263"/>
                <a:gd name="connsiteX391" fmla="*/ 814673 w 1211103"/>
                <a:gd name="connsiteY391" fmla="*/ 882682 h 961263"/>
                <a:gd name="connsiteX392" fmla="*/ 814483 w 1211103"/>
                <a:gd name="connsiteY392" fmla="*/ 877634 h 961263"/>
                <a:gd name="connsiteX393" fmla="*/ 809053 w 1211103"/>
                <a:gd name="connsiteY393" fmla="*/ 864965 h 961263"/>
                <a:gd name="connsiteX394" fmla="*/ 805053 w 1211103"/>
                <a:gd name="connsiteY394" fmla="*/ 849440 h 961263"/>
                <a:gd name="connsiteX395" fmla="*/ 810006 w 1211103"/>
                <a:gd name="connsiteY395" fmla="*/ 851535 h 961263"/>
                <a:gd name="connsiteX396" fmla="*/ 825722 w 1211103"/>
                <a:gd name="connsiteY396" fmla="*/ 849916 h 961263"/>
                <a:gd name="connsiteX397" fmla="*/ 834199 w 1211103"/>
                <a:gd name="connsiteY397" fmla="*/ 852964 h 961263"/>
                <a:gd name="connsiteX398" fmla="*/ 837533 w 1211103"/>
                <a:gd name="connsiteY398" fmla="*/ 857060 h 961263"/>
                <a:gd name="connsiteX399" fmla="*/ 846201 w 1211103"/>
                <a:gd name="connsiteY399" fmla="*/ 872395 h 961263"/>
                <a:gd name="connsiteX400" fmla="*/ 848868 w 1211103"/>
                <a:gd name="connsiteY400" fmla="*/ 873633 h 961263"/>
                <a:gd name="connsiteX401" fmla="*/ 856869 w 1211103"/>
                <a:gd name="connsiteY401" fmla="*/ 880682 h 961263"/>
                <a:gd name="connsiteX402" fmla="*/ 859536 w 1211103"/>
                <a:gd name="connsiteY402" fmla="*/ 884682 h 961263"/>
                <a:gd name="connsiteX403" fmla="*/ 862774 w 1211103"/>
                <a:gd name="connsiteY403" fmla="*/ 887730 h 961263"/>
                <a:gd name="connsiteX404" fmla="*/ 869632 w 1211103"/>
                <a:gd name="connsiteY404" fmla="*/ 889921 h 961263"/>
                <a:gd name="connsiteX405" fmla="*/ 876967 w 1211103"/>
                <a:gd name="connsiteY405" fmla="*/ 892302 h 961263"/>
                <a:gd name="connsiteX406" fmla="*/ 879539 w 1211103"/>
                <a:gd name="connsiteY406" fmla="*/ 894969 h 961263"/>
                <a:gd name="connsiteX407" fmla="*/ 887635 w 1211103"/>
                <a:gd name="connsiteY407" fmla="*/ 906780 h 961263"/>
                <a:gd name="connsiteX408" fmla="*/ 901732 w 1211103"/>
                <a:gd name="connsiteY408" fmla="*/ 891159 h 961263"/>
                <a:gd name="connsiteX409" fmla="*/ 910399 w 1211103"/>
                <a:gd name="connsiteY409" fmla="*/ 875348 h 961263"/>
                <a:gd name="connsiteX410" fmla="*/ 908685 w 1211103"/>
                <a:gd name="connsiteY410" fmla="*/ 861155 h 961263"/>
                <a:gd name="connsiteX411" fmla="*/ 919067 w 1211103"/>
                <a:gd name="connsiteY411" fmla="*/ 856393 h 961263"/>
                <a:gd name="connsiteX412" fmla="*/ 923449 w 1211103"/>
                <a:gd name="connsiteY412" fmla="*/ 837438 h 961263"/>
                <a:gd name="connsiteX413" fmla="*/ 933831 w 1211103"/>
                <a:gd name="connsiteY413" fmla="*/ 842105 h 961263"/>
                <a:gd name="connsiteX414" fmla="*/ 950309 w 1211103"/>
                <a:gd name="connsiteY414" fmla="*/ 851630 h 961263"/>
                <a:gd name="connsiteX415" fmla="*/ 964978 w 1211103"/>
                <a:gd name="connsiteY415" fmla="*/ 861155 h 961263"/>
                <a:gd name="connsiteX416" fmla="*/ 972788 w 1211103"/>
                <a:gd name="connsiteY416" fmla="*/ 854774 h 961263"/>
                <a:gd name="connsiteX417" fmla="*/ 982313 w 1211103"/>
                <a:gd name="connsiteY417" fmla="*/ 862679 h 961263"/>
                <a:gd name="connsiteX418" fmla="*/ 997077 w 1211103"/>
                <a:gd name="connsiteY418" fmla="*/ 865918 h 961263"/>
                <a:gd name="connsiteX419" fmla="*/ 1010983 w 1211103"/>
                <a:gd name="connsiteY419" fmla="*/ 869061 h 961263"/>
                <a:gd name="connsiteX420" fmla="*/ 1017841 w 1211103"/>
                <a:gd name="connsiteY420" fmla="*/ 883253 h 961263"/>
                <a:gd name="connsiteX421" fmla="*/ 1023937 w 1211103"/>
                <a:gd name="connsiteY421" fmla="*/ 894398 h 961263"/>
                <a:gd name="connsiteX422" fmla="*/ 1032701 w 1211103"/>
                <a:gd name="connsiteY422" fmla="*/ 906304 h 961263"/>
                <a:gd name="connsiteX423" fmla="*/ 1052798 w 1211103"/>
                <a:gd name="connsiteY423" fmla="*/ 922306 h 961263"/>
                <a:gd name="connsiteX424" fmla="*/ 1054513 w 1211103"/>
                <a:gd name="connsiteY424" fmla="*/ 926592 h 961263"/>
                <a:gd name="connsiteX425" fmla="*/ 1063371 w 1211103"/>
                <a:gd name="connsiteY425" fmla="*/ 930307 h 961263"/>
                <a:gd name="connsiteX426" fmla="*/ 1072801 w 1211103"/>
                <a:gd name="connsiteY426" fmla="*/ 934212 h 961263"/>
                <a:gd name="connsiteX427" fmla="*/ 1078706 w 1211103"/>
                <a:gd name="connsiteY427" fmla="*/ 928973 h 961263"/>
                <a:gd name="connsiteX428" fmla="*/ 1079564 w 1211103"/>
                <a:gd name="connsiteY428" fmla="*/ 926783 h 961263"/>
                <a:gd name="connsiteX429" fmla="*/ 1103186 w 1211103"/>
                <a:gd name="connsiteY429" fmla="*/ 934879 h 961263"/>
                <a:gd name="connsiteX430" fmla="*/ 1109853 w 1211103"/>
                <a:gd name="connsiteY430" fmla="*/ 923449 h 961263"/>
                <a:gd name="connsiteX431" fmla="*/ 1110234 w 1211103"/>
                <a:gd name="connsiteY431" fmla="*/ 921068 h 961263"/>
                <a:gd name="connsiteX432" fmla="*/ 1110806 w 1211103"/>
                <a:gd name="connsiteY432" fmla="*/ 918972 h 961263"/>
                <a:gd name="connsiteX433" fmla="*/ 1108901 w 1211103"/>
                <a:gd name="connsiteY433" fmla="*/ 916115 h 961263"/>
                <a:gd name="connsiteX434" fmla="*/ 1094899 w 1211103"/>
                <a:gd name="connsiteY434" fmla="*/ 907066 h 961263"/>
                <a:gd name="connsiteX435" fmla="*/ 1099185 w 1211103"/>
                <a:gd name="connsiteY435" fmla="*/ 900589 h 961263"/>
                <a:gd name="connsiteX436" fmla="*/ 1109758 w 1211103"/>
                <a:gd name="connsiteY436" fmla="*/ 893921 h 961263"/>
                <a:gd name="connsiteX437" fmla="*/ 1121664 w 1211103"/>
                <a:gd name="connsiteY437" fmla="*/ 891445 h 961263"/>
                <a:gd name="connsiteX438" fmla="*/ 1133475 w 1211103"/>
                <a:gd name="connsiteY438" fmla="*/ 894779 h 961263"/>
                <a:gd name="connsiteX439" fmla="*/ 1132618 w 1211103"/>
                <a:gd name="connsiteY439" fmla="*/ 890588 h 961263"/>
                <a:gd name="connsiteX440" fmla="*/ 1132427 w 1211103"/>
                <a:gd name="connsiteY440" fmla="*/ 888301 h 961263"/>
                <a:gd name="connsiteX441" fmla="*/ 1136904 w 1211103"/>
                <a:gd name="connsiteY441" fmla="*/ 888016 h 961263"/>
                <a:gd name="connsiteX442" fmla="*/ 1141952 w 1211103"/>
                <a:gd name="connsiteY442" fmla="*/ 890016 h 961263"/>
                <a:gd name="connsiteX443" fmla="*/ 1147096 w 1211103"/>
                <a:gd name="connsiteY443" fmla="*/ 889159 h 961263"/>
                <a:gd name="connsiteX444" fmla="*/ 1165098 w 1211103"/>
                <a:gd name="connsiteY444" fmla="*/ 879253 h 961263"/>
                <a:gd name="connsiteX445" fmla="*/ 1191578 w 1211103"/>
                <a:gd name="connsiteY445" fmla="*/ 852297 h 961263"/>
                <a:gd name="connsiteX446" fmla="*/ 1191958 w 1211103"/>
                <a:gd name="connsiteY446" fmla="*/ 842582 h 961263"/>
                <a:gd name="connsiteX447" fmla="*/ 1191292 w 1211103"/>
                <a:gd name="connsiteY447" fmla="*/ 838105 h 961263"/>
                <a:gd name="connsiteX448" fmla="*/ 1189863 w 1211103"/>
                <a:gd name="connsiteY448" fmla="*/ 831818 h 96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Lst>
              <a:rect l="l" t="t" r="r" b="b"/>
              <a:pathLst>
                <a:path w="1211103" h="961263">
                  <a:moveTo>
                    <a:pt x="1189863" y="831818"/>
                  </a:moveTo>
                  <a:lnTo>
                    <a:pt x="1186339" y="828770"/>
                  </a:lnTo>
                  <a:lnTo>
                    <a:pt x="1183196" y="823341"/>
                  </a:lnTo>
                  <a:lnTo>
                    <a:pt x="1183577" y="821055"/>
                  </a:lnTo>
                  <a:lnTo>
                    <a:pt x="1183100" y="813816"/>
                  </a:lnTo>
                  <a:lnTo>
                    <a:pt x="1211104" y="809054"/>
                  </a:lnTo>
                  <a:lnTo>
                    <a:pt x="1202722" y="801148"/>
                  </a:lnTo>
                  <a:lnTo>
                    <a:pt x="1200245" y="797528"/>
                  </a:lnTo>
                  <a:lnTo>
                    <a:pt x="1197578" y="794576"/>
                  </a:lnTo>
                  <a:lnTo>
                    <a:pt x="1195673" y="791909"/>
                  </a:lnTo>
                  <a:lnTo>
                    <a:pt x="1195769" y="788099"/>
                  </a:lnTo>
                  <a:lnTo>
                    <a:pt x="1196912" y="784765"/>
                  </a:lnTo>
                  <a:lnTo>
                    <a:pt x="1198816" y="780669"/>
                  </a:lnTo>
                  <a:lnTo>
                    <a:pt x="1201960" y="775145"/>
                  </a:lnTo>
                  <a:lnTo>
                    <a:pt x="1201769" y="767144"/>
                  </a:lnTo>
                  <a:lnTo>
                    <a:pt x="1198340" y="759428"/>
                  </a:lnTo>
                  <a:lnTo>
                    <a:pt x="1196054" y="750284"/>
                  </a:lnTo>
                  <a:lnTo>
                    <a:pt x="1192721" y="744379"/>
                  </a:lnTo>
                  <a:lnTo>
                    <a:pt x="1192435" y="738473"/>
                  </a:lnTo>
                  <a:lnTo>
                    <a:pt x="1186625" y="732377"/>
                  </a:lnTo>
                  <a:lnTo>
                    <a:pt x="1184815" y="722948"/>
                  </a:lnTo>
                  <a:lnTo>
                    <a:pt x="1178814" y="726853"/>
                  </a:lnTo>
                  <a:lnTo>
                    <a:pt x="1177290" y="727329"/>
                  </a:lnTo>
                  <a:lnTo>
                    <a:pt x="1168813" y="725043"/>
                  </a:lnTo>
                  <a:lnTo>
                    <a:pt x="1169003" y="731901"/>
                  </a:lnTo>
                  <a:lnTo>
                    <a:pt x="1170051" y="735140"/>
                  </a:lnTo>
                  <a:lnTo>
                    <a:pt x="1171004" y="740759"/>
                  </a:lnTo>
                  <a:lnTo>
                    <a:pt x="1160907" y="755714"/>
                  </a:lnTo>
                  <a:lnTo>
                    <a:pt x="1148906" y="763810"/>
                  </a:lnTo>
                  <a:lnTo>
                    <a:pt x="1139762" y="760857"/>
                  </a:lnTo>
                  <a:lnTo>
                    <a:pt x="1139476" y="756190"/>
                  </a:lnTo>
                  <a:lnTo>
                    <a:pt x="1138904" y="752666"/>
                  </a:lnTo>
                  <a:lnTo>
                    <a:pt x="1137761" y="747903"/>
                  </a:lnTo>
                  <a:lnTo>
                    <a:pt x="1135571" y="742760"/>
                  </a:lnTo>
                  <a:lnTo>
                    <a:pt x="1132808" y="737902"/>
                  </a:lnTo>
                  <a:lnTo>
                    <a:pt x="1128617" y="735140"/>
                  </a:lnTo>
                  <a:lnTo>
                    <a:pt x="1122236" y="735330"/>
                  </a:lnTo>
                  <a:lnTo>
                    <a:pt x="1105376" y="744188"/>
                  </a:lnTo>
                  <a:lnTo>
                    <a:pt x="1101757" y="748665"/>
                  </a:lnTo>
                  <a:lnTo>
                    <a:pt x="1096708" y="752761"/>
                  </a:lnTo>
                  <a:lnTo>
                    <a:pt x="1094804" y="756761"/>
                  </a:lnTo>
                  <a:lnTo>
                    <a:pt x="1091089" y="760000"/>
                  </a:lnTo>
                  <a:lnTo>
                    <a:pt x="1090803" y="762191"/>
                  </a:lnTo>
                  <a:lnTo>
                    <a:pt x="1091470" y="763905"/>
                  </a:lnTo>
                  <a:lnTo>
                    <a:pt x="1092708" y="765524"/>
                  </a:lnTo>
                  <a:lnTo>
                    <a:pt x="1085850" y="765905"/>
                  </a:lnTo>
                  <a:lnTo>
                    <a:pt x="1050322" y="754190"/>
                  </a:lnTo>
                  <a:lnTo>
                    <a:pt x="1048512" y="733330"/>
                  </a:lnTo>
                  <a:lnTo>
                    <a:pt x="1052227" y="726662"/>
                  </a:lnTo>
                  <a:lnTo>
                    <a:pt x="1059942" y="719995"/>
                  </a:lnTo>
                  <a:lnTo>
                    <a:pt x="1060514" y="708755"/>
                  </a:lnTo>
                  <a:lnTo>
                    <a:pt x="1053179" y="695325"/>
                  </a:lnTo>
                  <a:lnTo>
                    <a:pt x="1046512" y="681895"/>
                  </a:lnTo>
                  <a:lnTo>
                    <a:pt x="1060514" y="670655"/>
                  </a:lnTo>
                  <a:lnTo>
                    <a:pt x="1048322" y="654939"/>
                  </a:lnTo>
                  <a:lnTo>
                    <a:pt x="1038606" y="640366"/>
                  </a:lnTo>
                  <a:lnTo>
                    <a:pt x="1048322" y="639223"/>
                  </a:lnTo>
                  <a:lnTo>
                    <a:pt x="1062323" y="634746"/>
                  </a:lnTo>
                  <a:lnTo>
                    <a:pt x="1070896" y="623507"/>
                  </a:lnTo>
                  <a:lnTo>
                    <a:pt x="1077563" y="614553"/>
                  </a:lnTo>
                  <a:lnTo>
                    <a:pt x="1068419" y="602171"/>
                  </a:lnTo>
                  <a:lnTo>
                    <a:pt x="1064228" y="588645"/>
                  </a:lnTo>
                  <a:lnTo>
                    <a:pt x="1061752" y="570643"/>
                  </a:lnTo>
                  <a:lnTo>
                    <a:pt x="1056799" y="556070"/>
                  </a:lnTo>
                  <a:lnTo>
                    <a:pt x="1048893" y="551593"/>
                  </a:lnTo>
                  <a:lnTo>
                    <a:pt x="1035558" y="551593"/>
                  </a:lnTo>
                  <a:lnTo>
                    <a:pt x="1030033" y="541401"/>
                  </a:lnTo>
                  <a:lnTo>
                    <a:pt x="1013555" y="545878"/>
                  </a:lnTo>
                  <a:lnTo>
                    <a:pt x="987361" y="548164"/>
                  </a:lnTo>
                  <a:lnTo>
                    <a:pt x="968693" y="542449"/>
                  </a:lnTo>
                  <a:lnTo>
                    <a:pt x="971264" y="533972"/>
                  </a:lnTo>
                  <a:lnTo>
                    <a:pt x="972217" y="527114"/>
                  </a:lnTo>
                  <a:lnTo>
                    <a:pt x="969740" y="519303"/>
                  </a:lnTo>
                  <a:lnTo>
                    <a:pt x="961739" y="511302"/>
                  </a:lnTo>
                  <a:lnTo>
                    <a:pt x="955072" y="501777"/>
                  </a:lnTo>
                  <a:lnTo>
                    <a:pt x="951452" y="497015"/>
                  </a:lnTo>
                  <a:lnTo>
                    <a:pt x="951643" y="494824"/>
                  </a:lnTo>
                  <a:lnTo>
                    <a:pt x="955929" y="490061"/>
                  </a:lnTo>
                  <a:lnTo>
                    <a:pt x="956977" y="487013"/>
                  </a:lnTo>
                  <a:lnTo>
                    <a:pt x="957072" y="483680"/>
                  </a:lnTo>
                  <a:lnTo>
                    <a:pt x="948404" y="476822"/>
                  </a:lnTo>
                  <a:lnTo>
                    <a:pt x="947547" y="472726"/>
                  </a:lnTo>
                  <a:lnTo>
                    <a:pt x="944404" y="467201"/>
                  </a:lnTo>
                  <a:lnTo>
                    <a:pt x="938022" y="451199"/>
                  </a:lnTo>
                  <a:lnTo>
                    <a:pt x="929164" y="434721"/>
                  </a:lnTo>
                  <a:lnTo>
                    <a:pt x="916877" y="423196"/>
                  </a:lnTo>
                  <a:lnTo>
                    <a:pt x="916686" y="419100"/>
                  </a:lnTo>
                  <a:lnTo>
                    <a:pt x="921830" y="417767"/>
                  </a:lnTo>
                  <a:lnTo>
                    <a:pt x="935069" y="422720"/>
                  </a:lnTo>
                  <a:lnTo>
                    <a:pt x="946404" y="422053"/>
                  </a:lnTo>
                  <a:lnTo>
                    <a:pt x="950690" y="416433"/>
                  </a:lnTo>
                  <a:lnTo>
                    <a:pt x="987076" y="393287"/>
                  </a:lnTo>
                  <a:lnTo>
                    <a:pt x="990410" y="387191"/>
                  </a:lnTo>
                  <a:lnTo>
                    <a:pt x="995934" y="382715"/>
                  </a:lnTo>
                  <a:lnTo>
                    <a:pt x="999649" y="376428"/>
                  </a:lnTo>
                  <a:lnTo>
                    <a:pt x="1012507" y="371570"/>
                  </a:lnTo>
                  <a:lnTo>
                    <a:pt x="1015460" y="364998"/>
                  </a:lnTo>
                  <a:lnTo>
                    <a:pt x="1018889" y="360426"/>
                  </a:lnTo>
                  <a:lnTo>
                    <a:pt x="1025747" y="358997"/>
                  </a:lnTo>
                  <a:lnTo>
                    <a:pt x="1028986" y="356426"/>
                  </a:lnTo>
                  <a:lnTo>
                    <a:pt x="1028700" y="353854"/>
                  </a:lnTo>
                  <a:lnTo>
                    <a:pt x="1026224" y="351282"/>
                  </a:lnTo>
                  <a:lnTo>
                    <a:pt x="1020699" y="349949"/>
                  </a:lnTo>
                  <a:lnTo>
                    <a:pt x="1015746" y="350615"/>
                  </a:lnTo>
                  <a:lnTo>
                    <a:pt x="1013365" y="348901"/>
                  </a:lnTo>
                  <a:lnTo>
                    <a:pt x="1013079" y="347663"/>
                  </a:lnTo>
                  <a:lnTo>
                    <a:pt x="1014794" y="345853"/>
                  </a:lnTo>
                  <a:lnTo>
                    <a:pt x="1014794" y="341376"/>
                  </a:lnTo>
                  <a:lnTo>
                    <a:pt x="1012793" y="333470"/>
                  </a:lnTo>
                  <a:lnTo>
                    <a:pt x="1003459" y="318992"/>
                  </a:lnTo>
                  <a:lnTo>
                    <a:pt x="996506" y="314039"/>
                  </a:lnTo>
                  <a:lnTo>
                    <a:pt x="988695" y="312801"/>
                  </a:lnTo>
                  <a:lnTo>
                    <a:pt x="968693" y="318230"/>
                  </a:lnTo>
                  <a:lnTo>
                    <a:pt x="962120" y="318707"/>
                  </a:lnTo>
                  <a:lnTo>
                    <a:pt x="953833" y="310420"/>
                  </a:lnTo>
                  <a:lnTo>
                    <a:pt x="948023" y="298895"/>
                  </a:lnTo>
                  <a:lnTo>
                    <a:pt x="948595" y="268605"/>
                  </a:lnTo>
                  <a:lnTo>
                    <a:pt x="969264" y="277844"/>
                  </a:lnTo>
                  <a:lnTo>
                    <a:pt x="981647" y="265938"/>
                  </a:lnTo>
                  <a:lnTo>
                    <a:pt x="991457" y="260033"/>
                  </a:lnTo>
                  <a:lnTo>
                    <a:pt x="994791" y="260509"/>
                  </a:lnTo>
                  <a:lnTo>
                    <a:pt x="996982" y="260318"/>
                  </a:lnTo>
                  <a:lnTo>
                    <a:pt x="1002220" y="258794"/>
                  </a:lnTo>
                  <a:lnTo>
                    <a:pt x="1004126" y="259366"/>
                  </a:lnTo>
                  <a:lnTo>
                    <a:pt x="1005554" y="261652"/>
                  </a:lnTo>
                  <a:lnTo>
                    <a:pt x="1007650" y="264605"/>
                  </a:lnTo>
                  <a:lnTo>
                    <a:pt x="1011269" y="267748"/>
                  </a:lnTo>
                  <a:lnTo>
                    <a:pt x="1018794" y="269177"/>
                  </a:lnTo>
                  <a:lnTo>
                    <a:pt x="1021175" y="267367"/>
                  </a:lnTo>
                  <a:lnTo>
                    <a:pt x="1027748" y="264890"/>
                  </a:lnTo>
                  <a:lnTo>
                    <a:pt x="1027176" y="261747"/>
                  </a:lnTo>
                  <a:lnTo>
                    <a:pt x="1024319" y="258413"/>
                  </a:lnTo>
                  <a:lnTo>
                    <a:pt x="1019365" y="251555"/>
                  </a:lnTo>
                  <a:lnTo>
                    <a:pt x="1018985" y="248412"/>
                  </a:lnTo>
                  <a:lnTo>
                    <a:pt x="1020890" y="246602"/>
                  </a:lnTo>
                  <a:lnTo>
                    <a:pt x="1031272" y="247936"/>
                  </a:lnTo>
                  <a:lnTo>
                    <a:pt x="1027938" y="232315"/>
                  </a:lnTo>
                  <a:lnTo>
                    <a:pt x="1030795" y="222314"/>
                  </a:lnTo>
                  <a:lnTo>
                    <a:pt x="1026795" y="216027"/>
                  </a:lnTo>
                  <a:lnTo>
                    <a:pt x="1024223" y="209455"/>
                  </a:lnTo>
                  <a:lnTo>
                    <a:pt x="1024414" y="203168"/>
                  </a:lnTo>
                  <a:lnTo>
                    <a:pt x="1026033" y="198311"/>
                  </a:lnTo>
                  <a:lnTo>
                    <a:pt x="1028700" y="193929"/>
                  </a:lnTo>
                  <a:lnTo>
                    <a:pt x="1030129" y="190976"/>
                  </a:lnTo>
                  <a:lnTo>
                    <a:pt x="1033177" y="187547"/>
                  </a:lnTo>
                  <a:lnTo>
                    <a:pt x="1027271" y="174308"/>
                  </a:lnTo>
                  <a:lnTo>
                    <a:pt x="1024890" y="164783"/>
                  </a:lnTo>
                  <a:lnTo>
                    <a:pt x="1001554" y="143351"/>
                  </a:lnTo>
                  <a:lnTo>
                    <a:pt x="997649" y="139827"/>
                  </a:lnTo>
                  <a:lnTo>
                    <a:pt x="981361" y="134779"/>
                  </a:lnTo>
                  <a:lnTo>
                    <a:pt x="976598" y="140780"/>
                  </a:lnTo>
                  <a:lnTo>
                    <a:pt x="973741" y="128016"/>
                  </a:lnTo>
                  <a:lnTo>
                    <a:pt x="972122" y="127254"/>
                  </a:lnTo>
                  <a:lnTo>
                    <a:pt x="970693" y="126873"/>
                  </a:lnTo>
                  <a:lnTo>
                    <a:pt x="968693" y="128016"/>
                  </a:lnTo>
                  <a:lnTo>
                    <a:pt x="966026" y="128302"/>
                  </a:lnTo>
                  <a:lnTo>
                    <a:pt x="959453" y="125730"/>
                  </a:lnTo>
                  <a:lnTo>
                    <a:pt x="956310" y="122206"/>
                  </a:lnTo>
                  <a:lnTo>
                    <a:pt x="954119" y="118015"/>
                  </a:lnTo>
                  <a:lnTo>
                    <a:pt x="953262" y="109061"/>
                  </a:lnTo>
                  <a:lnTo>
                    <a:pt x="951071" y="98012"/>
                  </a:lnTo>
                  <a:lnTo>
                    <a:pt x="950024" y="88487"/>
                  </a:lnTo>
                  <a:lnTo>
                    <a:pt x="949357" y="79534"/>
                  </a:lnTo>
                  <a:lnTo>
                    <a:pt x="950024" y="75629"/>
                  </a:lnTo>
                  <a:lnTo>
                    <a:pt x="948785" y="72771"/>
                  </a:lnTo>
                  <a:lnTo>
                    <a:pt x="945452" y="69056"/>
                  </a:lnTo>
                  <a:lnTo>
                    <a:pt x="941832" y="67437"/>
                  </a:lnTo>
                  <a:lnTo>
                    <a:pt x="933355" y="66961"/>
                  </a:lnTo>
                  <a:lnTo>
                    <a:pt x="927640" y="8858"/>
                  </a:lnTo>
                  <a:lnTo>
                    <a:pt x="927545" y="7620"/>
                  </a:lnTo>
                  <a:lnTo>
                    <a:pt x="923449" y="11430"/>
                  </a:lnTo>
                  <a:lnTo>
                    <a:pt x="913257" y="9716"/>
                  </a:lnTo>
                  <a:lnTo>
                    <a:pt x="903161" y="3143"/>
                  </a:lnTo>
                  <a:lnTo>
                    <a:pt x="890969" y="0"/>
                  </a:lnTo>
                  <a:lnTo>
                    <a:pt x="885253" y="7620"/>
                  </a:lnTo>
                  <a:lnTo>
                    <a:pt x="878110" y="27908"/>
                  </a:lnTo>
                  <a:lnTo>
                    <a:pt x="872014" y="32766"/>
                  </a:lnTo>
                  <a:lnTo>
                    <a:pt x="848392" y="35433"/>
                  </a:lnTo>
                  <a:lnTo>
                    <a:pt x="832199" y="33909"/>
                  </a:lnTo>
                  <a:lnTo>
                    <a:pt x="821055" y="32861"/>
                  </a:lnTo>
                  <a:lnTo>
                    <a:pt x="813245" y="34576"/>
                  </a:lnTo>
                  <a:lnTo>
                    <a:pt x="792766" y="53531"/>
                  </a:lnTo>
                  <a:lnTo>
                    <a:pt x="777335" y="61722"/>
                  </a:lnTo>
                  <a:lnTo>
                    <a:pt x="772478" y="67342"/>
                  </a:lnTo>
                  <a:lnTo>
                    <a:pt x="766096" y="84773"/>
                  </a:lnTo>
                  <a:lnTo>
                    <a:pt x="761714" y="92202"/>
                  </a:lnTo>
                  <a:lnTo>
                    <a:pt x="752665" y="97345"/>
                  </a:lnTo>
                  <a:lnTo>
                    <a:pt x="741521" y="97917"/>
                  </a:lnTo>
                  <a:lnTo>
                    <a:pt x="724567" y="90964"/>
                  </a:lnTo>
                  <a:lnTo>
                    <a:pt x="720661" y="98869"/>
                  </a:lnTo>
                  <a:lnTo>
                    <a:pt x="717804" y="107728"/>
                  </a:lnTo>
                  <a:lnTo>
                    <a:pt x="716756" y="116967"/>
                  </a:lnTo>
                  <a:lnTo>
                    <a:pt x="717804" y="134303"/>
                  </a:lnTo>
                  <a:lnTo>
                    <a:pt x="721995" y="168593"/>
                  </a:lnTo>
                  <a:lnTo>
                    <a:pt x="721995" y="181832"/>
                  </a:lnTo>
                  <a:lnTo>
                    <a:pt x="727520" y="195548"/>
                  </a:lnTo>
                  <a:lnTo>
                    <a:pt x="744665" y="224314"/>
                  </a:lnTo>
                  <a:lnTo>
                    <a:pt x="746760" y="234029"/>
                  </a:lnTo>
                  <a:lnTo>
                    <a:pt x="751332" y="276797"/>
                  </a:lnTo>
                  <a:lnTo>
                    <a:pt x="746665" y="303562"/>
                  </a:lnTo>
                  <a:lnTo>
                    <a:pt x="745045" y="322612"/>
                  </a:lnTo>
                  <a:lnTo>
                    <a:pt x="747332" y="331280"/>
                  </a:lnTo>
                  <a:lnTo>
                    <a:pt x="751427" y="338423"/>
                  </a:lnTo>
                  <a:lnTo>
                    <a:pt x="753332" y="354425"/>
                  </a:lnTo>
                  <a:lnTo>
                    <a:pt x="753999" y="381286"/>
                  </a:lnTo>
                  <a:lnTo>
                    <a:pt x="759143" y="431483"/>
                  </a:lnTo>
                  <a:lnTo>
                    <a:pt x="763048" y="469011"/>
                  </a:lnTo>
                  <a:lnTo>
                    <a:pt x="763238" y="471583"/>
                  </a:lnTo>
                  <a:lnTo>
                    <a:pt x="764572" y="505016"/>
                  </a:lnTo>
                  <a:lnTo>
                    <a:pt x="761333" y="533876"/>
                  </a:lnTo>
                  <a:lnTo>
                    <a:pt x="753047" y="553974"/>
                  </a:lnTo>
                  <a:lnTo>
                    <a:pt x="734187" y="575786"/>
                  </a:lnTo>
                  <a:lnTo>
                    <a:pt x="727139" y="584073"/>
                  </a:lnTo>
                  <a:lnTo>
                    <a:pt x="717804" y="590836"/>
                  </a:lnTo>
                  <a:lnTo>
                    <a:pt x="713899" y="595979"/>
                  </a:lnTo>
                  <a:lnTo>
                    <a:pt x="713803" y="603599"/>
                  </a:lnTo>
                  <a:lnTo>
                    <a:pt x="707136" y="606266"/>
                  </a:lnTo>
                  <a:lnTo>
                    <a:pt x="698278" y="611886"/>
                  </a:lnTo>
                  <a:lnTo>
                    <a:pt x="690753" y="620173"/>
                  </a:lnTo>
                  <a:lnTo>
                    <a:pt x="687419" y="630460"/>
                  </a:lnTo>
                  <a:lnTo>
                    <a:pt x="649415" y="655511"/>
                  </a:lnTo>
                  <a:lnTo>
                    <a:pt x="634365" y="665417"/>
                  </a:lnTo>
                  <a:lnTo>
                    <a:pt x="619220" y="669703"/>
                  </a:lnTo>
                  <a:lnTo>
                    <a:pt x="613982" y="676751"/>
                  </a:lnTo>
                  <a:lnTo>
                    <a:pt x="609029" y="686372"/>
                  </a:lnTo>
                  <a:lnTo>
                    <a:pt x="601980" y="696659"/>
                  </a:lnTo>
                  <a:lnTo>
                    <a:pt x="587026" y="709517"/>
                  </a:lnTo>
                  <a:lnTo>
                    <a:pt x="576929" y="714470"/>
                  </a:lnTo>
                  <a:lnTo>
                    <a:pt x="553212" y="726091"/>
                  </a:lnTo>
                  <a:lnTo>
                    <a:pt x="486632" y="742379"/>
                  </a:lnTo>
                  <a:lnTo>
                    <a:pt x="462058" y="739807"/>
                  </a:lnTo>
                  <a:lnTo>
                    <a:pt x="443865" y="733997"/>
                  </a:lnTo>
                  <a:lnTo>
                    <a:pt x="441293" y="731806"/>
                  </a:lnTo>
                  <a:lnTo>
                    <a:pt x="437769" y="728853"/>
                  </a:lnTo>
                  <a:lnTo>
                    <a:pt x="418814" y="700754"/>
                  </a:lnTo>
                  <a:lnTo>
                    <a:pt x="414052" y="696659"/>
                  </a:lnTo>
                  <a:lnTo>
                    <a:pt x="380619" y="690277"/>
                  </a:lnTo>
                  <a:lnTo>
                    <a:pt x="348425" y="677132"/>
                  </a:lnTo>
                  <a:lnTo>
                    <a:pt x="329946" y="655415"/>
                  </a:lnTo>
                  <a:lnTo>
                    <a:pt x="322993" y="652653"/>
                  </a:lnTo>
                  <a:lnTo>
                    <a:pt x="317563" y="648176"/>
                  </a:lnTo>
                  <a:lnTo>
                    <a:pt x="313563" y="637032"/>
                  </a:lnTo>
                  <a:lnTo>
                    <a:pt x="302609" y="570643"/>
                  </a:lnTo>
                  <a:lnTo>
                    <a:pt x="299180" y="563975"/>
                  </a:lnTo>
                  <a:lnTo>
                    <a:pt x="293370" y="558260"/>
                  </a:lnTo>
                  <a:lnTo>
                    <a:pt x="290036" y="545116"/>
                  </a:lnTo>
                  <a:lnTo>
                    <a:pt x="286988" y="519779"/>
                  </a:lnTo>
                  <a:lnTo>
                    <a:pt x="283940" y="505587"/>
                  </a:lnTo>
                  <a:lnTo>
                    <a:pt x="280035" y="493776"/>
                  </a:lnTo>
                  <a:lnTo>
                    <a:pt x="278321" y="490252"/>
                  </a:lnTo>
                  <a:lnTo>
                    <a:pt x="265843" y="494824"/>
                  </a:lnTo>
                  <a:lnTo>
                    <a:pt x="263081" y="499967"/>
                  </a:lnTo>
                  <a:lnTo>
                    <a:pt x="260604" y="508445"/>
                  </a:lnTo>
                  <a:lnTo>
                    <a:pt x="259937" y="528638"/>
                  </a:lnTo>
                  <a:lnTo>
                    <a:pt x="247269" y="547973"/>
                  </a:lnTo>
                  <a:lnTo>
                    <a:pt x="231553" y="568357"/>
                  </a:lnTo>
                  <a:lnTo>
                    <a:pt x="207264" y="584930"/>
                  </a:lnTo>
                  <a:lnTo>
                    <a:pt x="203263" y="587502"/>
                  </a:lnTo>
                  <a:lnTo>
                    <a:pt x="196120" y="598742"/>
                  </a:lnTo>
                  <a:lnTo>
                    <a:pt x="195263" y="604171"/>
                  </a:lnTo>
                  <a:lnTo>
                    <a:pt x="193167" y="609791"/>
                  </a:lnTo>
                  <a:lnTo>
                    <a:pt x="189071" y="615410"/>
                  </a:lnTo>
                  <a:lnTo>
                    <a:pt x="181451" y="620744"/>
                  </a:lnTo>
                  <a:lnTo>
                    <a:pt x="150304" y="618744"/>
                  </a:lnTo>
                  <a:lnTo>
                    <a:pt x="141256" y="621125"/>
                  </a:lnTo>
                  <a:lnTo>
                    <a:pt x="138875" y="624935"/>
                  </a:lnTo>
                  <a:lnTo>
                    <a:pt x="135446" y="628745"/>
                  </a:lnTo>
                  <a:lnTo>
                    <a:pt x="122873" y="638651"/>
                  </a:lnTo>
                  <a:lnTo>
                    <a:pt x="87344" y="649129"/>
                  </a:lnTo>
                  <a:lnTo>
                    <a:pt x="76390" y="651224"/>
                  </a:lnTo>
                  <a:lnTo>
                    <a:pt x="79438" y="689229"/>
                  </a:lnTo>
                  <a:lnTo>
                    <a:pt x="74200" y="707708"/>
                  </a:lnTo>
                  <a:lnTo>
                    <a:pt x="56864" y="703040"/>
                  </a:lnTo>
                  <a:lnTo>
                    <a:pt x="44482" y="713042"/>
                  </a:lnTo>
                  <a:lnTo>
                    <a:pt x="24479" y="709136"/>
                  </a:lnTo>
                  <a:lnTo>
                    <a:pt x="10573" y="731520"/>
                  </a:lnTo>
                  <a:lnTo>
                    <a:pt x="4096" y="761619"/>
                  </a:lnTo>
                  <a:lnTo>
                    <a:pt x="0" y="762953"/>
                  </a:lnTo>
                  <a:lnTo>
                    <a:pt x="3715" y="778288"/>
                  </a:lnTo>
                  <a:lnTo>
                    <a:pt x="18288" y="776097"/>
                  </a:lnTo>
                  <a:lnTo>
                    <a:pt x="25908" y="778002"/>
                  </a:lnTo>
                  <a:lnTo>
                    <a:pt x="31623" y="781241"/>
                  </a:lnTo>
                  <a:lnTo>
                    <a:pt x="32671" y="784193"/>
                  </a:lnTo>
                  <a:lnTo>
                    <a:pt x="30766" y="786765"/>
                  </a:lnTo>
                  <a:lnTo>
                    <a:pt x="29432" y="790194"/>
                  </a:lnTo>
                  <a:lnTo>
                    <a:pt x="29527" y="801338"/>
                  </a:lnTo>
                  <a:lnTo>
                    <a:pt x="28670" y="806958"/>
                  </a:lnTo>
                  <a:lnTo>
                    <a:pt x="26956" y="810387"/>
                  </a:lnTo>
                  <a:lnTo>
                    <a:pt x="23813" y="813626"/>
                  </a:lnTo>
                  <a:lnTo>
                    <a:pt x="21431" y="816769"/>
                  </a:lnTo>
                  <a:lnTo>
                    <a:pt x="17717" y="824960"/>
                  </a:lnTo>
                  <a:lnTo>
                    <a:pt x="32099" y="832009"/>
                  </a:lnTo>
                  <a:lnTo>
                    <a:pt x="54864" y="835152"/>
                  </a:lnTo>
                  <a:lnTo>
                    <a:pt x="73533" y="844487"/>
                  </a:lnTo>
                  <a:lnTo>
                    <a:pt x="78105" y="850011"/>
                  </a:lnTo>
                  <a:lnTo>
                    <a:pt x="76581" y="855821"/>
                  </a:lnTo>
                  <a:lnTo>
                    <a:pt x="91059" y="854869"/>
                  </a:lnTo>
                  <a:lnTo>
                    <a:pt x="106490" y="860203"/>
                  </a:lnTo>
                  <a:lnTo>
                    <a:pt x="133826" y="858869"/>
                  </a:lnTo>
                  <a:lnTo>
                    <a:pt x="133350" y="863918"/>
                  </a:lnTo>
                  <a:lnTo>
                    <a:pt x="146113" y="881825"/>
                  </a:lnTo>
                  <a:lnTo>
                    <a:pt x="148495" y="908685"/>
                  </a:lnTo>
                  <a:lnTo>
                    <a:pt x="149257" y="914210"/>
                  </a:lnTo>
                  <a:lnTo>
                    <a:pt x="147733" y="918591"/>
                  </a:lnTo>
                  <a:lnTo>
                    <a:pt x="145447" y="920020"/>
                  </a:lnTo>
                  <a:lnTo>
                    <a:pt x="143732" y="921830"/>
                  </a:lnTo>
                  <a:lnTo>
                    <a:pt x="143923" y="924782"/>
                  </a:lnTo>
                  <a:lnTo>
                    <a:pt x="145256" y="926783"/>
                  </a:lnTo>
                  <a:lnTo>
                    <a:pt x="148209" y="934022"/>
                  </a:lnTo>
                  <a:lnTo>
                    <a:pt x="167354" y="926211"/>
                  </a:lnTo>
                  <a:lnTo>
                    <a:pt x="178403" y="924401"/>
                  </a:lnTo>
                  <a:lnTo>
                    <a:pt x="210598" y="925068"/>
                  </a:lnTo>
                  <a:lnTo>
                    <a:pt x="227171" y="936212"/>
                  </a:lnTo>
                  <a:lnTo>
                    <a:pt x="248698" y="939260"/>
                  </a:lnTo>
                  <a:lnTo>
                    <a:pt x="254603" y="938594"/>
                  </a:lnTo>
                  <a:lnTo>
                    <a:pt x="264033" y="933450"/>
                  </a:lnTo>
                  <a:lnTo>
                    <a:pt x="282892" y="938022"/>
                  </a:lnTo>
                  <a:lnTo>
                    <a:pt x="291370" y="929164"/>
                  </a:lnTo>
                  <a:lnTo>
                    <a:pt x="300038" y="924782"/>
                  </a:lnTo>
                  <a:lnTo>
                    <a:pt x="322040" y="925354"/>
                  </a:lnTo>
                  <a:lnTo>
                    <a:pt x="332708" y="921734"/>
                  </a:lnTo>
                  <a:lnTo>
                    <a:pt x="342614" y="897541"/>
                  </a:lnTo>
                  <a:lnTo>
                    <a:pt x="338614" y="886206"/>
                  </a:lnTo>
                  <a:lnTo>
                    <a:pt x="338995" y="880015"/>
                  </a:lnTo>
                  <a:lnTo>
                    <a:pt x="341376" y="874300"/>
                  </a:lnTo>
                  <a:lnTo>
                    <a:pt x="362045" y="861060"/>
                  </a:lnTo>
                  <a:lnTo>
                    <a:pt x="367665" y="865918"/>
                  </a:lnTo>
                  <a:lnTo>
                    <a:pt x="370618" y="867156"/>
                  </a:lnTo>
                  <a:lnTo>
                    <a:pt x="375190" y="867061"/>
                  </a:lnTo>
                  <a:lnTo>
                    <a:pt x="391859" y="862013"/>
                  </a:lnTo>
                  <a:lnTo>
                    <a:pt x="405479" y="850297"/>
                  </a:lnTo>
                  <a:lnTo>
                    <a:pt x="395859" y="801624"/>
                  </a:lnTo>
                  <a:lnTo>
                    <a:pt x="413290" y="794290"/>
                  </a:lnTo>
                  <a:lnTo>
                    <a:pt x="444817" y="796671"/>
                  </a:lnTo>
                  <a:lnTo>
                    <a:pt x="449961" y="798100"/>
                  </a:lnTo>
                  <a:lnTo>
                    <a:pt x="459867" y="798100"/>
                  </a:lnTo>
                  <a:lnTo>
                    <a:pt x="476726" y="808292"/>
                  </a:lnTo>
                  <a:lnTo>
                    <a:pt x="491395" y="824484"/>
                  </a:lnTo>
                  <a:lnTo>
                    <a:pt x="495776" y="836009"/>
                  </a:lnTo>
                  <a:lnTo>
                    <a:pt x="501872" y="846011"/>
                  </a:lnTo>
                  <a:lnTo>
                    <a:pt x="515684" y="861632"/>
                  </a:lnTo>
                  <a:lnTo>
                    <a:pt x="511778" y="881634"/>
                  </a:lnTo>
                  <a:lnTo>
                    <a:pt x="513588" y="884206"/>
                  </a:lnTo>
                  <a:lnTo>
                    <a:pt x="510445" y="901351"/>
                  </a:lnTo>
                  <a:lnTo>
                    <a:pt x="514826" y="905732"/>
                  </a:lnTo>
                  <a:lnTo>
                    <a:pt x="521208" y="909923"/>
                  </a:lnTo>
                  <a:lnTo>
                    <a:pt x="527971" y="911733"/>
                  </a:lnTo>
                  <a:lnTo>
                    <a:pt x="531876" y="909542"/>
                  </a:lnTo>
                  <a:lnTo>
                    <a:pt x="534638" y="907447"/>
                  </a:lnTo>
                  <a:lnTo>
                    <a:pt x="538544" y="905542"/>
                  </a:lnTo>
                  <a:lnTo>
                    <a:pt x="566833" y="900113"/>
                  </a:lnTo>
                  <a:lnTo>
                    <a:pt x="571500" y="900398"/>
                  </a:lnTo>
                  <a:lnTo>
                    <a:pt x="574072" y="902780"/>
                  </a:lnTo>
                  <a:lnTo>
                    <a:pt x="576167" y="908399"/>
                  </a:lnTo>
                  <a:lnTo>
                    <a:pt x="580168" y="910495"/>
                  </a:lnTo>
                  <a:lnTo>
                    <a:pt x="582549" y="912400"/>
                  </a:lnTo>
                  <a:lnTo>
                    <a:pt x="603980" y="911066"/>
                  </a:lnTo>
                  <a:lnTo>
                    <a:pt x="604647" y="917353"/>
                  </a:lnTo>
                  <a:lnTo>
                    <a:pt x="608552" y="925544"/>
                  </a:lnTo>
                  <a:lnTo>
                    <a:pt x="605600" y="935736"/>
                  </a:lnTo>
                  <a:lnTo>
                    <a:pt x="618554" y="940975"/>
                  </a:lnTo>
                  <a:lnTo>
                    <a:pt x="639318" y="945356"/>
                  </a:lnTo>
                  <a:lnTo>
                    <a:pt x="651320" y="952976"/>
                  </a:lnTo>
                  <a:lnTo>
                    <a:pt x="656368" y="955167"/>
                  </a:lnTo>
                  <a:lnTo>
                    <a:pt x="663226" y="955262"/>
                  </a:lnTo>
                  <a:lnTo>
                    <a:pt x="667798" y="953834"/>
                  </a:lnTo>
                  <a:lnTo>
                    <a:pt x="672560" y="947928"/>
                  </a:lnTo>
                  <a:lnTo>
                    <a:pt x="673036" y="943166"/>
                  </a:lnTo>
                  <a:lnTo>
                    <a:pt x="675227" y="939451"/>
                  </a:lnTo>
                  <a:lnTo>
                    <a:pt x="677323" y="937927"/>
                  </a:lnTo>
                  <a:lnTo>
                    <a:pt x="681609" y="938689"/>
                  </a:lnTo>
                  <a:lnTo>
                    <a:pt x="686753" y="937260"/>
                  </a:lnTo>
                  <a:lnTo>
                    <a:pt x="695135" y="933069"/>
                  </a:lnTo>
                  <a:lnTo>
                    <a:pt x="701040" y="930021"/>
                  </a:lnTo>
                  <a:lnTo>
                    <a:pt x="705803" y="931831"/>
                  </a:lnTo>
                  <a:lnTo>
                    <a:pt x="707898" y="939451"/>
                  </a:lnTo>
                  <a:lnTo>
                    <a:pt x="712375" y="944023"/>
                  </a:lnTo>
                  <a:lnTo>
                    <a:pt x="720090" y="950024"/>
                  </a:lnTo>
                  <a:lnTo>
                    <a:pt x="736187" y="958406"/>
                  </a:lnTo>
                  <a:lnTo>
                    <a:pt x="743712" y="959930"/>
                  </a:lnTo>
                  <a:lnTo>
                    <a:pt x="751046" y="961263"/>
                  </a:lnTo>
                  <a:lnTo>
                    <a:pt x="750570" y="956501"/>
                  </a:lnTo>
                  <a:lnTo>
                    <a:pt x="751808" y="955072"/>
                  </a:lnTo>
                  <a:lnTo>
                    <a:pt x="754761" y="953262"/>
                  </a:lnTo>
                  <a:lnTo>
                    <a:pt x="766953" y="950881"/>
                  </a:lnTo>
                  <a:lnTo>
                    <a:pt x="772001" y="948500"/>
                  </a:lnTo>
                  <a:lnTo>
                    <a:pt x="778002" y="943832"/>
                  </a:lnTo>
                  <a:lnTo>
                    <a:pt x="793242" y="929354"/>
                  </a:lnTo>
                  <a:lnTo>
                    <a:pt x="808577" y="922973"/>
                  </a:lnTo>
                  <a:lnTo>
                    <a:pt x="810006" y="895445"/>
                  </a:lnTo>
                  <a:lnTo>
                    <a:pt x="812959" y="890588"/>
                  </a:lnTo>
                  <a:lnTo>
                    <a:pt x="814673" y="882682"/>
                  </a:lnTo>
                  <a:lnTo>
                    <a:pt x="814483" y="877634"/>
                  </a:lnTo>
                  <a:lnTo>
                    <a:pt x="809053" y="864965"/>
                  </a:lnTo>
                  <a:lnTo>
                    <a:pt x="805053" y="849440"/>
                  </a:lnTo>
                  <a:lnTo>
                    <a:pt x="810006" y="851535"/>
                  </a:lnTo>
                  <a:lnTo>
                    <a:pt x="825722" y="849916"/>
                  </a:lnTo>
                  <a:lnTo>
                    <a:pt x="834199" y="852964"/>
                  </a:lnTo>
                  <a:lnTo>
                    <a:pt x="837533" y="857060"/>
                  </a:lnTo>
                  <a:lnTo>
                    <a:pt x="846201" y="872395"/>
                  </a:lnTo>
                  <a:lnTo>
                    <a:pt x="848868" y="873633"/>
                  </a:lnTo>
                  <a:lnTo>
                    <a:pt x="856869" y="880682"/>
                  </a:lnTo>
                  <a:lnTo>
                    <a:pt x="859536" y="884682"/>
                  </a:lnTo>
                  <a:lnTo>
                    <a:pt x="862774" y="887730"/>
                  </a:lnTo>
                  <a:lnTo>
                    <a:pt x="869632" y="889921"/>
                  </a:lnTo>
                  <a:lnTo>
                    <a:pt x="876967" y="892302"/>
                  </a:lnTo>
                  <a:lnTo>
                    <a:pt x="879539" y="894969"/>
                  </a:lnTo>
                  <a:lnTo>
                    <a:pt x="887635" y="906780"/>
                  </a:lnTo>
                  <a:lnTo>
                    <a:pt x="901732" y="891159"/>
                  </a:lnTo>
                  <a:lnTo>
                    <a:pt x="910399" y="875348"/>
                  </a:lnTo>
                  <a:lnTo>
                    <a:pt x="908685" y="861155"/>
                  </a:lnTo>
                  <a:lnTo>
                    <a:pt x="919067" y="856393"/>
                  </a:lnTo>
                  <a:lnTo>
                    <a:pt x="923449" y="837438"/>
                  </a:lnTo>
                  <a:lnTo>
                    <a:pt x="933831" y="842105"/>
                  </a:lnTo>
                  <a:lnTo>
                    <a:pt x="950309" y="851630"/>
                  </a:lnTo>
                  <a:lnTo>
                    <a:pt x="964978" y="861155"/>
                  </a:lnTo>
                  <a:lnTo>
                    <a:pt x="972788" y="854774"/>
                  </a:lnTo>
                  <a:lnTo>
                    <a:pt x="982313" y="862679"/>
                  </a:lnTo>
                  <a:lnTo>
                    <a:pt x="997077" y="865918"/>
                  </a:lnTo>
                  <a:lnTo>
                    <a:pt x="1010983" y="869061"/>
                  </a:lnTo>
                  <a:lnTo>
                    <a:pt x="1017841" y="883253"/>
                  </a:lnTo>
                  <a:lnTo>
                    <a:pt x="1023937" y="894398"/>
                  </a:lnTo>
                  <a:lnTo>
                    <a:pt x="1032701" y="906304"/>
                  </a:lnTo>
                  <a:lnTo>
                    <a:pt x="1052798" y="922306"/>
                  </a:lnTo>
                  <a:lnTo>
                    <a:pt x="1054513" y="926592"/>
                  </a:lnTo>
                  <a:lnTo>
                    <a:pt x="1063371" y="930307"/>
                  </a:lnTo>
                  <a:lnTo>
                    <a:pt x="1072801" y="934212"/>
                  </a:lnTo>
                  <a:lnTo>
                    <a:pt x="1078706" y="928973"/>
                  </a:lnTo>
                  <a:lnTo>
                    <a:pt x="1079564" y="926783"/>
                  </a:lnTo>
                  <a:lnTo>
                    <a:pt x="1103186" y="934879"/>
                  </a:lnTo>
                  <a:lnTo>
                    <a:pt x="1109853" y="923449"/>
                  </a:lnTo>
                  <a:lnTo>
                    <a:pt x="1110234" y="921068"/>
                  </a:lnTo>
                  <a:lnTo>
                    <a:pt x="1110806" y="918972"/>
                  </a:lnTo>
                  <a:lnTo>
                    <a:pt x="1108901" y="916115"/>
                  </a:lnTo>
                  <a:lnTo>
                    <a:pt x="1094899" y="907066"/>
                  </a:lnTo>
                  <a:lnTo>
                    <a:pt x="1099185" y="900589"/>
                  </a:lnTo>
                  <a:lnTo>
                    <a:pt x="1109758" y="893921"/>
                  </a:lnTo>
                  <a:lnTo>
                    <a:pt x="1121664" y="891445"/>
                  </a:lnTo>
                  <a:lnTo>
                    <a:pt x="1133475" y="894779"/>
                  </a:lnTo>
                  <a:lnTo>
                    <a:pt x="1132618" y="890588"/>
                  </a:lnTo>
                  <a:lnTo>
                    <a:pt x="1132427" y="888301"/>
                  </a:lnTo>
                  <a:lnTo>
                    <a:pt x="1136904" y="888016"/>
                  </a:lnTo>
                  <a:lnTo>
                    <a:pt x="1141952" y="890016"/>
                  </a:lnTo>
                  <a:lnTo>
                    <a:pt x="1147096" y="889159"/>
                  </a:lnTo>
                  <a:lnTo>
                    <a:pt x="1165098" y="879253"/>
                  </a:lnTo>
                  <a:lnTo>
                    <a:pt x="1191578" y="852297"/>
                  </a:lnTo>
                  <a:lnTo>
                    <a:pt x="1191958" y="842582"/>
                  </a:lnTo>
                  <a:lnTo>
                    <a:pt x="1191292" y="838105"/>
                  </a:lnTo>
                  <a:lnTo>
                    <a:pt x="1189863" y="831818"/>
                  </a:lnTo>
                  <a:close/>
                </a:path>
              </a:pathLst>
            </a:custGeom>
            <a:grpFill/>
            <a:ln w="9525" cap="sq">
              <a:noFill/>
              <a:prstDash val="solid"/>
              <a:bevel/>
            </a:ln>
          </p:spPr>
          <p:txBody>
            <a:bodyPr rtlCol="0" anchor="ctr"/>
            <a:lstStyle/>
            <a:p>
              <a:endParaRPr lang="cs-CZ"/>
            </a:p>
          </p:txBody>
        </p:sp>
        <p:sp>
          <p:nvSpPr>
            <p:cNvPr id="153" name="Freeform: Shape 152">
              <a:extLst>
                <a:ext uri="{FF2B5EF4-FFF2-40B4-BE49-F238E27FC236}">
                  <a16:creationId xmlns:a16="http://schemas.microsoft.com/office/drawing/2014/main" id="{A1CB76E4-646A-AE49-2F17-7CD04B9E49CE}"/>
                </a:ext>
              </a:extLst>
            </p:cNvPr>
            <p:cNvSpPr/>
            <p:nvPr/>
          </p:nvSpPr>
          <p:spPr>
            <a:xfrm>
              <a:off x="8633505" y="7098409"/>
              <a:ext cx="1592960" cy="602361"/>
            </a:xfrm>
            <a:custGeom>
              <a:avLst/>
              <a:gdLst>
                <a:gd name="connsiteX0" fmla="*/ 1591437 w 1592960"/>
                <a:gd name="connsiteY0" fmla="*/ 198215 h 602361"/>
                <a:gd name="connsiteX1" fmla="*/ 1588008 w 1592960"/>
                <a:gd name="connsiteY1" fmla="*/ 194024 h 602361"/>
                <a:gd name="connsiteX2" fmla="*/ 1587056 w 1592960"/>
                <a:gd name="connsiteY2" fmla="*/ 186119 h 602361"/>
                <a:gd name="connsiteX3" fmla="*/ 1588484 w 1592960"/>
                <a:gd name="connsiteY3" fmla="*/ 177355 h 602361"/>
                <a:gd name="connsiteX4" fmla="*/ 1587437 w 1592960"/>
                <a:gd name="connsiteY4" fmla="*/ 169640 h 602361"/>
                <a:gd name="connsiteX5" fmla="*/ 1587151 w 1592960"/>
                <a:gd name="connsiteY5" fmla="*/ 164116 h 602361"/>
                <a:gd name="connsiteX6" fmla="*/ 1584770 w 1592960"/>
                <a:gd name="connsiteY6" fmla="*/ 154305 h 602361"/>
                <a:gd name="connsiteX7" fmla="*/ 1585246 w 1592960"/>
                <a:gd name="connsiteY7" fmla="*/ 151829 h 602361"/>
                <a:gd name="connsiteX8" fmla="*/ 1574102 w 1592960"/>
                <a:gd name="connsiteY8" fmla="*/ 140875 h 602361"/>
                <a:gd name="connsiteX9" fmla="*/ 1561338 w 1592960"/>
                <a:gd name="connsiteY9" fmla="*/ 133064 h 602361"/>
                <a:gd name="connsiteX10" fmla="*/ 1560100 w 1592960"/>
                <a:gd name="connsiteY10" fmla="*/ 122015 h 602361"/>
                <a:gd name="connsiteX11" fmla="*/ 1550289 w 1592960"/>
                <a:gd name="connsiteY11" fmla="*/ 123063 h 602361"/>
                <a:gd name="connsiteX12" fmla="*/ 1536954 w 1592960"/>
                <a:gd name="connsiteY12" fmla="*/ 126397 h 602361"/>
                <a:gd name="connsiteX13" fmla="*/ 1528382 w 1592960"/>
                <a:gd name="connsiteY13" fmla="*/ 135255 h 602361"/>
                <a:gd name="connsiteX14" fmla="*/ 1521047 w 1592960"/>
                <a:gd name="connsiteY14" fmla="*/ 145256 h 602361"/>
                <a:gd name="connsiteX15" fmla="*/ 1508855 w 1592960"/>
                <a:gd name="connsiteY15" fmla="*/ 144209 h 602361"/>
                <a:gd name="connsiteX16" fmla="*/ 1493044 w 1592960"/>
                <a:gd name="connsiteY16" fmla="*/ 154210 h 602361"/>
                <a:gd name="connsiteX17" fmla="*/ 1435703 w 1592960"/>
                <a:gd name="connsiteY17" fmla="*/ 154210 h 602361"/>
                <a:gd name="connsiteX18" fmla="*/ 1430655 w 1592960"/>
                <a:gd name="connsiteY18" fmla="*/ 183737 h 602361"/>
                <a:gd name="connsiteX19" fmla="*/ 1421035 w 1592960"/>
                <a:gd name="connsiteY19" fmla="*/ 202121 h 602361"/>
                <a:gd name="connsiteX20" fmla="*/ 1417891 w 1592960"/>
                <a:gd name="connsiteY20" fmla="*/ 206502 h 602361"/>
                <a:gd name="connsiteX21" fmla="*/ 1397889 w 1592960"/>
                <a:gd name="connsiteY21" fmla="*/ 218599 h 602361"/>
                <a:gd name="connsiteX22" fmla="*/ 1395127 w 1592960"/>
                <a:gd name="connsiteY22" fmla="*/ 205073 h 602361"/>
                <a:gd name="connsiteX23" fmla="*/ 1393984 w 1592960"/>
                <a:gd name="connsiteY23" fmla="*/ 201454 h 602361"/>
                <a:gd name="connsiteX24" fmla="*/ 1386459 w 1592960"/>
                <a:gd name="connsiteY24" fmla="*/ 197453 h 602361"/>
                <a:gd name="connsiteX25" fmla="*/ 1371886 w 1592960"/>
                <a:gd name="connsiteY25" fmla="*/ 202216 h 602361"/>
                <a:gd name="connsiteX26" fmla="*/ 1361599 w 1592960"/>
                <a:gd name="connsiteY26" fmla="*/ 190024 h 602361"/>
                <a:gd name="connsiteX27" fmla="*/ 1364171 w 1592960"/>
                <a:gd name="connsiteY27" fmla="*/ 184213 h 602361"/>
                <a:gd name="connsiteX28" fmla="*/ 1358837 w 1592960"/>
                <a:gd name="connsiteY28" fmla="*/ 179261 h 602361"/>
                <a:gd name="connsiteX29" fmla="*/ 1350645 w 1592960"/>
                <a:gd name="connsiteY29" fmla="*/ 177355 h 602361"/>
                <a:gd name="connsiteX30" fmla="*/ 1345311 w 1592960"/>
                <a:gd name="connsiteY30" fmla="*/ 173736 h 602361"/>
                <a:gd name="connsiteX31" fmla="*/ 1335405 w 1592960"/>
                <a:gd name="connsiteY31" fmla="*/ 171069 h 602361"/>
                <a:gd name="connsiteX32" fmla="*/ 1320356 w 1592960"/>
                <a:gd name="connsiteY32" fmla="*/ 178117 h 602361"/>
                <a:gd name="connsiteX33" fmla="*/ 1307021 w 1592960"/>
                <a:gd name="connsiteY33" fmla="*/ 188023 h 602361"/>
                <a:gd name="connsiteX34" fmla="*/ 1299972 w 1592960"/>
                <a:gd name="connsiteY34" fmla="*/ 190500 h 602361"/>
                <a:gd name="connsiteX35" fmla="*/ 1293304 w 1592960"/>
                <a:gd name="connsiteY35" fmla="*/ 188500 h 602361"/>
                <a:gd name="connsiteX36" fmla="*/ 1285208 w 1592960"/>
                <a:gd name="connsiteY36" fmla="*/ 181070 h 602361"/>
                <a:gd name="connsiteX37" fmla="*/ 1278065 w 1592960"/>
                <a:gd name="connsiteY37" fmla="*/ 162687 h 602361"/>
                <a:gd name="connsiteX38" fmla="*/ 1257967 w 1592960"/>
                <a:gd name="connsiteY38" fmla="*/ 182404 h 602361"/>
                <a:gd name="connsiteX39" fmla="*/ 1257110 w 1592960"/>
                <a:gd name="connsiteY39" fmla="*/ 173927 h 602361"/>
                <a:gd name="connsiteX40" fmla="*/ 1255300 w 1592960"/>
                <a:gd name="connsiteY40" fmla="*/ 170783 h 602361"/>
                <a:gd name="connsiteX41" fmla="*/ 1251871 w 1592960"/>
                <a:gd name="connsiteY41" fmla="*/ 167450 h 602361"/>
                <a:gd name="connsiteX42" fmla="*/ 1250823 w 1592960"/>
                <a:gd name="connsiteY42" fmla="*/ 163354 h 602361"/>
                <a:gd name="connsiteX43" fmla="*/ 1251585 w 1592960"/>
                <a:gd name="connsiteY43" fmla="*/ 160401 h 602361"/>
                <a:gd name="connsiteX44" fmla="*/ 1255966 w 1592960"/>
                <a:gd name="connsiteY44" fmla="*/ 158591 h 602361"/>
                <a:gd name="connsiteX45" fmla="*/ 1258443 w 1592960"/>
                <a:gd name="connsiteY45" fmla="*/ 155448 h 602361"/>
                <a:gd name="connsiteX46" fmla="*/ 1259396 w 1592960"/>
                <a:gd name="connsiteY46" fmla="*/ 151448 h 602361"/>
                <a:gd name="connsiteX47" fmla="*/ 1248156 w 1592960"/>
                <a:gd name="connsiteY47" fmla="*/ 140303 h 602361"/>
                <a:gd name="connsiteX48" fmla="*/ 1219962 w 1592960"/>
                <a:gd name="connsiteY48" fmla="*/ 129635 h 602361"/>
                <a:gd name="connsiteX49" fmla="*/ 1216533 w 1592960"/>
                <a:gd name="connsiteY49" fmla="*/ 109442 h 602361"/>
                <a:gd name="connsiteX50" fmla="*/ 1217009 w 1592960"/>
                <a:gd name="connsiteY50" fmla="*/ 103346 h 602361"/>
                <a:gd name="connsiteX51" fmla="*/ 1221105 w 1592960"/>
                <a:gd name="connsiteY51" fmla="*/ 98203 h 602361"/>
                <a:gd name="connsiteX52" fmla="*/ 1223582 w 1592960"/>
                <a:gd name="connsiteY52" fmla="*/ 92583 h 602361"/>
                <a:gd name="connsiteX53" fmla="*/ 1226344 w 1592960"/>
                <a:gd name="connsiteY53" fmla="*/ 88487 h 602361"/>
                <a:gd name="connsiteX54" fmla="*/ 1223200 w 1592960"/>
                <a:gd name="connsiteY54" fmla="*/ 74962 h 602361"/>
                <a:gd name="connsiteX55" fmla="*/ 1217295 w 1592960"/>
                <a:gd name="connsiteY55" fmla="*/ 66675 h 602361"/>
                <a:gd name="connsiteX56" fmla="*/ 1211199 w 1592960"/>
                <a:gd name="connsiteY56" fmla="*/ 66104 h 602361"/>
                <a:gd name="connsiteX57" fmla="*/ 1209008 w 1592960"/>
                <a:gd name="connsiteY57" fmla="*/ 64008 h 602361"/>
                <a:gd name="connsiteX58" fmla="*/ 1205389 w 1592960"/>
                <a:gd name="connsiteY58" fmla="*/ 58960 h 602361"/>
                <a:gd name="connsiteX59" fmla="*/ 1201007 w 1592960"/>
                <a:gd name="connsiteY59" fmla="*/ 54007 h 602361"/>
                <a:gd name="connsiteX60" fmla="*/ 1193102 w 1592960"/>
                <a:gd name="connsiteY60" fmla="*/ 47244 h 602361"/>
                <a:gd name="connsiteX61" fmla="*/ 1185672 w 1592960"/>
                <a:gd name="connsiteY61" fmla="*/ 48863 h 602361"/>
                <a:gd name="connsiteX62" fmla="*/ 1183100 w 1592960"/>
                <a:gd name="connsiteY62" fmla="*/ 54292 h 602361"/>
                <a:gd name="connsiteX63" fmla="*/ 1186434 w 1592960"/>
                <a:gd name="connsiteY63" fmla="*/ 56864 h 602361"/>
                <a:gd name="connsiteX64" fmla="*/ 1186625 w 1592960"/>
                <a:gd name="connsiteY64" fmla="*/ 61055 h 602361"/>
                <a:gd name="connsiteX65" fmla="*/ 1185672 w 1592960"/>
                <a:gd name="connsiteY65" fmla="*/ 66580 h 602361"/>
                <a:gd name="connsiteX66" fmla="*/ 1180910 w 1592960"/>
                <a:gd name="connsiteY66" fmla="*/ 74962 h 602361"/>
                <a:gd name="connsiteX67" fmla="*/ 1179386 w 1592960"/>
                <a:gd name="connsiteY67" fmla="*/ 79915 h 602361"/>
                <a:gd name="connsiteX68" fmla="*/ 1164527 w 1592960"/>
                <a:gd name="connsiteY68" fmla="*/ 88297 h 602361"/>
                <a:gd name="connsiteX69" fmla="*/ 1155478 w 1592960"/>
                <a:gd name="connsiteY69" fmla="*/ 75152 h 602361"/>
                <a:gd name="connsiteX70" fmla="*/ 1144905 w 1592960"/>
                <a:gd name="connsiteY70" fmla="*/ 72961 h 602361"/>
                <a:gd name="connsiteX71" fmla="*/ 1130713 w 1592960"/>
                <a:gd name="connsiteY71" fmla="*/ 65627 h 602361"/>
                <a:gd name="connsiteX72" fmla="*/ 1113758 w 1592960"/>
                <a:gd name="connsiteY72" fmla="*/ 65532 h 602361"/>
                <a:gd name="connsiteX73" fmla="*/ 1091851 w 1592960"/>
                <a:gd name="connsiteY73" fmla="*/ 58007 h 602361"/>
                <a:gd name="connsiteX74" fmla="*/ 1065371 w 1592960"/>
                <a:gd name="connsiteY74" fmla="*/ 84963 h 602361"/>
                <a:gd name="connsiteX75" fmla="*/ 1047369 w 1592960"/>
                <a:gd name="connsiteY75" fmla="*/ 94869 h 602361"/>
                <a:gd name="connsiteX76" fmla="*/ 1042225 w 1592960"/>
                <a:gd name="connsiteY76" fmla="*/ 95726 h 602361"/>
                <a:gd name="connsiteX77" fmla="*/ 1037177 w 1592960"/>
                <a:gd name="connsiteY77" fmla="*/ 93726 h 602361"/>
                <a:gd name="connsiteX78" fmla="*/ 1032700 w 1592960"/>
                <a:gd name="connsiteY78" fmla="*/ 94012 h 602361"/>
                <a:gd name="connsiteX79" fmla="*/ 1032891 w 1592960"/>
                <a:gd name="connsiteY79" fmla="*/ 96298 h 602361"/>
                <a:gd name="connsiteX80" fmla="*/ 1033748 w 1592960"/>
                <a:gd name="connsiteY80" fmla="*/ 100489 h 602361"/>
                <a:gd name="connsiteX81" fmla="*/ 1021937 w 1592960"/>
                <a:gd name="connsiteY81" fmla="*/ 97155 h 602361"/>
                <a:gd name="connsiteX82" fmla="*/ 1010031 w 1592960"/>
                <a:gd name="connsiteY82" fmla="*/ 99631 h 602361"/>
                <a:gd name="connsiteX83" fmla="*/ 999458 w 1592960"/>
                <a:gd name="connsiteY83" fmla="*/ 106299 h 602361"/>
                <a:gd name="connsiteX84" fmla="*/ 995172 w 1592960"/>
                <a:gd name="connsiteY84" fmla="*/ 112776 h 602361"/>
                <a:gd name="connsiteX85" fmla="*/ 1009174 w 1592960"/>
                <a:gd name="connsiteY85" fmla="*/ 121825 h 602361"/>
                <a:gd name="connsiteX86" fmla="*/ 1011079 w 1592960"/>
                <a:gd name="connsiteY86" fmla="*/ 124682 h 602361"/>
                <a:gd name="connsiteX87" fmla="*/ 1010507 w 1592960"/>
                <a:gd name="connsiteY87" fmla="*/ 126778 h 602361"/>
                <a:gd name="connsiteX88" fmla="*/ 1010126 w 1592960"/>
                <a:gd name="connsiteY88" fmla="*/ 129159 h 602361"/>
                <a:gd name="connsiteX89" fmla="*/ 1003459 w 1592960"/>
                <a:gd name="connsiteY89" fmla="*/ 140589 h 602361"/>
                <a:gd name="connsiteX90" fmla="*/ 979837 w 1592960"/>
                <a:gd name="connsiteY90" fmla="*/ 132493 h 602361"/>
                <a:gd name="connsiteX91" fmla="*/ 978979 w 1592960"/>
                <a:gd name="connsiteY91" fmla="*/ 134684 h 602361"/>
                <a:gd name="connsiteX92" fmla="*/ 973074 w 1592960"/>
                <a:gd name="connsiteY92" fmla="*/ 139922 h 602361"/>
                <a:gd name="connsiteX93" fmla="*/ 963644 w 1592960"/>
                <a:gd name="connsiteY93" fmla="*/ 136017 h 602361"/>
                <a:gd name="connsiteX94" fmla="*/ 954786 w 1592960"/>
                <a:gd name="connsiteY94" fmla="*/ 132302 h 602361"/>
                <a:gd name="connsiteX95" fmla="*/ 953072 w 1592960"/>
                <a:gd name="connsiteY95" fmla="*/ 128016 h 602361"/>
                <a:gd name="connsiteX96" fmla="*/ 932974 w 1592960"/>
                <a:gd name="connsiteY96" fmla="*/ 112014 h 602361"/>
                <a:gd name="connsiteX97" fmla="*/ 924211 w 1592960"/>
                <a:gd name="connsiteY97" fmla="*/ 100108 h 602361"/>
                <a:gd name="connsiteX98" fmla="*/ 918115 w 1592960"/>
                <a:gd name="connsiteY98" fmla="*/ 88963 h 602361"/>
                <a:gd name="connsiteX99" fmla="*/ 911257 w 1592960"/>
                <a:gd name="connsiteY99" fmla="*/ 74771 h 602361"/>
                <a:gd name="connsiteX100" fmla="*/ 897350 w 1592960"/>
                <a:gd name="connsiteY100" fmla="*/ 71628 h 602361"/>
                <a:gd name="connsiteX101" fmla="*/ 882586 w 1592960"/>
                <a:gd name="connsiteY101" fmla="*/ 68390 h 602361"/>
                <a:gd name="connsiteX102" fmla="*/ 873061 w 1592960"/>
                <a:gd name="connsiteY102" fmla="*/ 60484 h 602361"/>
                <a:gd name="connsiteX103" fmla="*/ 865251 w 1592960"/>
                <a:gd name="connsiteY103" fmla="*/ 66865 h 602361"/>
                <a:gd name="connsiteX104" fmla="*/ 850582 w 1592960"/>
                <a:gd name="connsiteY104" fmla="*/ 57340 h 602361"/>
                <a:gd name="connsiteX105" fmla="*/ 834104 w 1592960"/>
                <a:gd name="connsiteY105" fmla="*/ 47815 h 602361"/>
                <a:gd name="connsiteX106" fmla="*/ 823722 w 1592960"/>
                <a:gd name="connsiteY106" fmla="*/ 43148 h 602361"/>
                <a:gd name="connsiteX107" fmla="*/ 819340 w 1592960"/>
                <a:gd name="connsiteY107" fmla="*/ 62103 h 602361"/>
                <a:gd name="connsiteX108" fmla="*/ 808958 w 1592960"/>
                <a:gd name="connsiteY108" fmla="*/ 66865 h 602361"/>
                <a:gd name="connsiteX109" fmla="*/ 810673 w 1592960"/>
                <a:gd name="connsiteY109" fmla="*/ 81058 h 602361"/>
                <a:gd name="connsiteX110" fmla="*/ 802005 w 1592960"/>
                <a:gd name="connsiteY110" fmla="*/ 96869 h 602361"/>
                <a:gd name="connsiteX111" fmla="*/ 787908 w 1592960"/>
                <a:gd name="connsiteY111" fmla="*/ 112490 h 602361"/>
                <a:gd name="connsiteX112" fmla="*/ 779812 w 1592960"/>
                <a:gd name="connsiteY112" fmla="*/ 100679 h 602361"/>
                <a:gd name="connsiteX113" fmla="*/ 777240 w 1592960"/>
                <a:gd name="connsiteY113" fmla="*/ 98012 h 602361"/>
                <a:gd name="connsiteX114" fmla="*/ 769906 w 1592960"/>
                <a:gd name="connsiteY114" fmla="*/ 95631 h 602361"/>
                <a:gd name="connsiteX115" fmla="*/ 763048 w 1592960"/>
                <a:gd name="connsiteY115" fmla="*/ 93440 h 602361"/>
                <a:gd name="connsiteX116" fmla="*/ 759809 w 1592960"/>
                <a:gd name="connsiteY116" fmla="*/ 90392 h 602361"/>
                <a:gd name="connsiteX117" fmla="*/ 757142 w 1592960"/>
                <a:gd name="connsiteY117" fmla="*/ 86392 h 602361"/>
                <a:gd name="connsiteX118" fmla="*/ 749141 w 1592960"/>
                <a:gd name="connsiteY118" fmla="*/ 79343 h 602361"/>
                <a:gd name="connsiteX119" fmla="*/ 746474 w 1592960"/>
                <a:gd name="connsiteY119" fmla="*/ 78105 h 602361"/>
                <a:gd name="connsiteX120" fmla="*/ 737807 w 1592960"/>
                <a:gd name="connsiteY120" fmla="*/ 62770 h 602361"/>
                <a:gd name="connsiteX121" fmla="*/ 734473 w 1592960"/>
                <a:gd name="connsiteY121" fmla="*/ 58674 h 602361"/>
                <a:gd name="connsiteX122" fmla="*/ 725995 w 1592960"/>
                <a:gd name="connsiteY122" fmla="*/ 55626 h 602361"/>
                <a:gd name="connsiteX123" fmla="*/ 710279 w 1592960"/>
                <a:gd name="connsiteY123" fmla="*/ 57245 h 602361"/>
                <a:gd name="connsiteX124" fmla="*/ 705326 w 1592960"/>
                <a:gd name="connsiteY124" fmla="*/ 55150 h 602361"/>
                <a:gd name="connsiteX125" fmla="*/ 709327 w 1592960"/>
                <a:gd name="connsiteY125" fmla="*/ 70675 h 602361"/>
                <a:gd name="connsiteX126" fmla="*/ 714756 w 1592960"/>
                <a:gd name="connsiteY126" fmla="*/ 83344 h 602361"/>
                <a:gd name="connsiteX127" fmla="*/ 714947 w 1592960"/>
                <a:gd name="connsiteY127" fmla="*/ 88392 h 602361"/>
                <a:gd name="connsiteX128" fmla="*/ 713232 w 1592960"/>
                <a:gd name="connsiteY128" fmla="*/ 96298 h 602361"/>
                <a:gd name="connsiteX129" fmla="*/ 710279 w 1592960"/>
                <a:gd name="connsiteY129" fmla="*/ 101155 h 602361"/>
                <a:gd name="connsiteX130" fmla="*/ 708850 w 1592960"/>
                <a:gd name="connsiteY130" fmla="*/ 128683 h 602361"/>
                <a:gd name="connsiteX131" fmla="*/ 693515 w 1592960"/>
                <a:gd name="connsiteY131" fmla="*/ 135065 h 602361"/>
                <a:gd name="connsiteX132" fmla="*/ 678275 w 1592960"/>
                <a:gd name="connsiteY132" fmla="*/ 149542 h 602361"/>
                <a:gd name="connsiteX133" fmla="*/ 672274 w 1592960"/>
                <a:gd name="connsiteY133" fmla="*/ 154210 h 602361"/>
                <a:gd name="connsiteX134" fmla="*/ 667226 w 1592960"/>
                <a:gd name="connsiteY134" fmla="*/ 156591 h 602361"/>
                <a:gd name="connsiteX135" fmla="*/ 655034 w 1592960"/>
                <a:gd name="connsiteY135" fmla="*/ 158972 h 602361"/>
                <a:gd name="connsiteX136" fmla="*/ 652082 w 1592960"/>
                <a:gd name="connsiteY136" fmla="*/ 160782 h 602361"/>
                <a:gd name="connsiteX137" fmla="*/ 650843 w 1592960"/>
                <a:gd name="connsiteY137" fmla="*/ 162211 h 602361"/>
                <a:gd name="connsiteX138" fmla="*/ 651320 w 1592960"/>
                <a:gd name="connsiteY138" fmla="*/ 166973 h 602361"/>
                <a:gd name="connsiteX139" fmla="*/ 643985 w 1592960"/>
                <a:gd name="connsiteY139" fmla="*/ 165640 h 602361"/>
                <a:gd name="connsiteX140" fmla="*/ 636461 w 1592960"/>
                <a:gd name="connsiteY140" fmla="*/ 164116 h 602361"/>
                <a:gd name="connsiteX141" fmla="*/ 620363 w 1592960"/>
                <a:gd name="connsiteY141" fmla="*/ 155734 h 602361"/>
                <a:gd name="connsiteX142" fmla="*/ 612648 w 1592960"/>
                <a:gd name="connsiteY142" fmla="*/ 149733 h 602361"/>
                <a:gd name="connsiteX143" fmla="*/ 608171 w 1592960"/>
                <a:gd name="connsiteY143" fmla="*/ 145161 h 602361"/>
                <a:gd name="connsiteX144" fmla="*/ 606076 w 1592960"/>
                <a:gd name="connsiteY144" fmla="*/ 137541 h 602361"/>
                <a:gd name="connsiteX145" fmla="*/ 601313 w 1592960"/>
                <a:gd name="connsiteY145" fmla="*/ 135731 h 602361"/>
                <a:gd name="connsiteX146" fmla="*/ 595408 w 1592960"/>
                <a:gd name="connsiteY146" fmla="*/ 138779 h 602361"/>
                <a:gd name="connsiteX147" fmla="*/ 587026 w 1592960"/>
                <a:gd name="connsiteY147" fmla="*/ 142970 h 602361"/>
                <a:gd name="connsiteX148" fmla="*/ 581882 w 1592960"/>
                <a:gd name="connsiteY148" fmla="*/ 144399 h 602361"/>
                <a:gd name="connsiteX149" fmla="*/ 577596 w 1592960"/>
                <a:gd name="connsiteY149" fmla="*/ 143637 h 602361"/>
                <a:gd name="connsiteX150" fmla="*/ 575500 w 1592960"/>
                <a:gd name="connsiteY150" fmla="*/ 145161 h 602361"/>
                <a:gd name="connsiteX151" fmla="*/ 573310 w 1592960"/>
                <a:gd name="connsiteY151" fmla="*/ 148876 h 602361"/>
                <a:gd name="connsiteX152" fmla="*/ 572833 w 1592960"/>
                <a:gd name="connsiteY152" fmla="*/ 153638 h 602361"/>
                <a:gd name="connsiteX153" fmla="*/ 568071 w 1592960"/>
                <a:gd name="connsiteY153" fmla="*/ 159544 h 602361"/>
                <a:gd name="connsiteX154" fmla="*/ 563499 w 1592960"/>
                <a:gd name="connsiteY154" fmla="*/ 160973 h 602361"/>
                <a:gd name="connsiteX155" fmla="*/ 556641 w 1592960"/>
                <a:gd name="connsiteY155" fmla="*/ 160877 h 602361"/>
                <a:gd name="connsiteX156" fmla="*/ 551593 w 1592960"/>
                <a:gd name="connsiteY156" fmla="*/ 158686 h 602361"/>
                <a:gd name="connsiteX157" fmla="*/ 539591 w 1592960"/>
                <a:gd name="connsiteY157" fmla="*/ 151067 h 602361"/>
                <a:gd name="connsiteX158" fmla="*/ 518827 w 1592960"/>
                <a:gd name="connsiteY158" fmla="*/ 146685 h 602361"/>
                <a:gd name="connsiteX159" fmla="*/ 505873 w 1592960"/>
                <a:gd name="connsiteY159" fmla="*/ 141446 h 602361"/>
                <a:gd name="connsiteX160" fmla="*/ 508825 w 1592960"/>
                <a:gd name="connsiteY160" fmla="*/ 131254 h 602361"/>
                <a:gd name="connsiteX161" fmla="*/ 504920 w 1592960"/>
                <a:gd name="connsiteY161" fmla="*/ 123063 h 602361"/>
                <a:gd name="connsiteX162" fmla="*/ 504253 w 1592960"/>
                <a:gd name="connsiteY162" fmla="*/ 116777 h 602361"/>
                <a:gd name="connsiteX163" fmla="*/ 482822 w 1592960"/>
                <a:gd name="connsiteY163" fmla="*/ 118110 h 602361"/>
                <a:gd name="connsiteX164" fmla="*/ 480441 w 1592960"/>
                <a:gd name="connsiteY164" fmla="*/ 116205 h 602361"/>
                <a:gd name="connsiteX165" fmla="*/ 476440 w 1592960"/>
                <a:gd name="connsiteY165" fmla="*/ 114109 h 602361"/>
                <a:gd name="connsiteX166" fmla="*/ 474345 w 1592960"/>
                <a:gd name="connsiteY166" fmla="*/ 108490 h 602361"/>
                <a:gd name="connsiteX167" fmla="*/ 471773 w 1592960"/>
                <a:gd name="connsiteY167" fmla="*/ 106108 h 602361"/>
                <a:gd name="connsiteX168" fmla="*/ 467106 w 1592960"/>
                <a:gd name="connsiteY168" fmla="*/ 105823 h 602361"/>
                <a:gd name="connsiteX169" fmla="*/ 438817 w 1592960"/>
                <a:gd name="connsiteY169" fmla="*/ 111252 h 602361"/>
                <a:gd name="connsiteX170" fmla="*/ 434911 w 1592960"/>
                <a:gd name="connsiteY170" fmla="*/ 113157 h 602361"/>
                <a:gd name="connsiteX171" fmla="*/ 432149 w 1592960"/>
                <a:gd name="connsiteY171" fmla="*/ 115252 h 602361"/>
                <a:gd name="connsiteX172" fmla="*/ 428244 w 1592960"/>
                <a:gd name="connsiteY172" fmla="*/ 117443 h 602361"/>
                <a:gd name="connsiteX173" fmla="*/ 421481 w 1592960"/>
                <a:gd name="connsiteY173" fmla="*/ 115633 h 602361"/>
                <a:gd name="connsiteX174" fmla="*/ 415099 w 1592960"/>
                <a:gd name="connsiteY174" fmla="*/ 111442 h 602361"/>
                <a:gd name="connsiteX175" fmla="*/ 410718 w 1592960"/>
                <a:gd name="connsiteY175" fmla="*/ 107061 h 602361"/>
                <a:gd name="connsiteX176" fmla="*/ 413861 w 1592960"/>
                <a:gd name="connsiteY176" fmla="*/ 89916 h 602361"/>
                <a:gd name="connsiteX177" fmla="*/ 412051 w 1592960"/>
                <a:gd name="connsiteY177" fmla="*/ 87344 h 602361"/>
                <a:gd name="connsiteX178" fmla="*/ 415957 w 1592960"/>
                <a:gd name="connsiteY178" fmla="*/ 67342 h 602361"/>
                <a:gd name="connsiteX179" fmla="*/ 402146 w 1592960"/>
                <a:gd name="connsiteY179" fmla="*/ 51721 h 602361"/>
                <a:gd name="connsiteX180" fmla="*/ 396049 w 1592960"/>
                <a:gd name="connsiteY180" fmla="*/ 41719 h 602361"/>
                <a:gd name="connsiteX181" fmla="*/ 391668 w 1592960"/>
                <a:gd name="connsiteY181" fmla="*/ 30194 h 602361"/>
                <a:gd name="connsiteX182" fmla="*/ 376999 w 1592960"/>
                <a:gd name="connsiteY182" fmla="*/ 14002 h 602361"/>
                <a:gd name="connsiteX183" fmla="*/ 360140 w 1592960"/>
                <a:gd name="connsiteY183" fmla="*/ 3810 h 602361"/>
                <a:gd name="connsiteX184" fmla="*/ 350234 w 1592960"/>
                <a:gd name="connsiteY184" fmla="*/ 3810 h 602361"/>
                <a:gd name="connsiteX185" fmla="*/ 345091 w 1592960"/>
                <a:gd name="connsiteY185" fmla="*/ 2381 h 602361"/>
                <a:gd name="connsiteX186" fmla="*/ 313563 w 1592960"/>
                <a:gd name="connsiteY186" fmla="*/ 0 h 602361"/>
                <a:gd name="connsiteX187" fmla="*/ 296132 w 1592960"/>
                <a:gd name="connsiteY187" fmla="*/ 7334 h 602361"/>
                <a:gd name="connsiteX188" fmla="*/ 305753 w 1592960"/>
                <a:gd name="connsiteY188" fmla="*/ 56007 h 602361"/>
                <a:gd name="connsiteX189" fmla="*/ 292132 w 1592960"/>
                <a:gd name="connsiteY189" fmla="*/ 67723 h 602361"/>
                <a:gd name="connsiteX190" fmla="*/ 275463 w 1592960"/>
                <a:gd name="connsiteY190" fmla="*/ 72771 h 602361"/>
                <a:gd name="connsiteX191" fmla="*/ 270891 w 1592960"/>
                <a:gd name="connsiteY191" fmla="*/ 72866 h 602361"/>
                <a:gd name="connsiteX192" fmla="*/ 267938 w 1592960"/>
                <a:gd name="connsiteY192" fmla="*/ 71628 h 602361"/>
                <a:gd name="connsiteX193" fmla="*/ 262319 w 1592960"/>
                <a:gd name="connsiteY193" fmla="*/ 66770 h 602361"/>
                <a:gd name="connsiteX194" fmla="*/ 241649 w 1592960"/>
                <a:gd name="connsiteY194" fmla="*/ 80010 h 602361"/>
                <a:gd name="connsiteX195" fmla="*/ 239268 w 1592960"/>
                <a:gd name="connsiteY195" fmla="*/ 85725 h 602361"/>
                <a:gd name="connsiteX196" fmla="*/ 238887 w 1592960"/>
                <a:gd name="connsiteY196" fmla="*/ 91916 h 602361"/>
                <a:gd name="connsiteX197" fmla="*/ 242888 w 1592960"/>
                <a:gd name="connsiteY197" fmla="*/ 103251 h 602361"/>
                <a:gd name="connsiteX198" fmla="*/ 232981 w 1592960"/>
                <a:gd name="connsiteY198" fmla="*/ 127444 h 602361"/>
                <a:gd name="connsiteX199" fmla="*/ 222313 w 1592960"/>
                <a:gd name="connsiteY199" fmla="*/ 131064 h 602361"/>
                <a:gd name="connsiteX200" fmla="*/ 200311 w 1592960"/>
                <a:gd name="connsiteY200" fmla="*/ 130492 h 602361"/>
                <a:gd name="connsiteX201" fmla="*/ 191643 w 1592960"/>
                <a:gd name="connsiteY201" fmla="*/ 134874 h 602361"/>
                <a:gd name="connsiteX202" fmla="*/ 183166 w 1592960"/>
                <a:gd name="connsiteY202" fmla="*/ 143732 h 602361"/>
                <a:gd name="connsiteX203" fmla="*/ 164306 w 1592960"/>
                <a:gd name="connsiteY203" fmla="*/ 139160 h 602361"/>
                <a:gd name="connsiteX204" fmla="*/ 154876 w 1592960"/>
                <a:gd name="connsiteY204" fmla="*/ 144304 h 602361"/>
                <a:gd name="connsiteX205" fmla="*/ 148971 w 1592960"/>
                <a:gd name="connsiteY205" fmla="*/ 144971 h 602361"/>
                <a:gd name="connsiteX206" fmla="*/ 127444 w 1592960"/>
                <a:gd name="connsiteY206" fmla="*/ 141923 h 602361"/>
                <a:gd name="connsiteX207" fmla="*/ 110871 w 1592960"/>
                <a:gd name="connsiteY207" fmla="*/ 130778 h 602361"/>
                <a:gd name="connsiteX208" fmla="*/ 78676 w 1592960"/>
                <a:gd name="connsiteY208" fmla="*/ 130111 h 602361"/>
                <a:gd name="connsiteX209" fmla="*/ 67627 w 1592960"/>
                <a:gd name="connsiteY209" fmla="*/ 131921 h 602361"/>
                <a:gd name="connsiteX210" fmla="*/ 48482 w 1592960"/>
                <a:gd name="connsiteY210" fmla="*/ 139732 h 602361"/>
                <a:gd name="connsiteX211" fmla="*/ 38481 w 1592960"/>
                <a:gd name="connsiteY211" fmla="*/ 141161 h 602361"/>
                <a:gd name="connsiteX212" fmla="*/ 40386 w 1592960"/>
                <a:gd name="connsiteY212" fmla="*/ 153734 h 602361"/>
                <a:gd name="connsiteX213" fmla="*/ 49530 w 1592960"/>
                <a:gd name="connsiteY213" fmla="*/ 158496 h 602361"/>
                <a:gd name="connsiteX214" fmla="*/ 53149 w 1592960"/>
                <a:gd name="connsiteY214" fmla="*/ 167830 h 602361"/>
                <a:gd name="connsiteX215" fmla="*/ 61436 w 1592960"/>
                <a:gd name="connsiteY215" fmla="*/ 177832 h 602361"/>
                <a:gd name="connsiteX216" fmla="*/ 59531 w 1592960"/>
                <a:gd name="connsiteY216" fmla="*/ 187357 h 602361"/>
                <a:gd name="connsiteX217" fmla="*/ 54292 w 1592960"/>
                <a:gd name="connsiteY217" fmla="*/ 197072 h 602361"/>
                <a:gd name="connsiteX218" fmla="*/ 49816 w 1592960"/>
                <a:gd name="connsiteY218" fmla="*/ 201740 h 602361"/>
                <a:gd name="connsiteX219" fmla="*/ 45053 w 1592960"/>
                <a:gd name="connsiteY219" fmla="*/ 204025 h 602361"/>
                <a:gd name="connsiteX220" fmla="*/ 35719 w 1592960"/>
                <a:gd name="connsiteY220" fmla="*/ 204025 h 602361"/>
                <a:gd name="connsiteX221" fmla="*/ 30956 w 1592960"/>
                <a:gd name="connsiteY221" fmla="*/ 204883 h 602361"/>
                <a:gd name="connsiteX222" fmla="*/ 29432 w 1592960"/>
                <a:gd name="connsiteY222" fmla="*/ 208217 h 602361"/>
                <a:gd name="connsiteX223" fmla="*/ 29337 w 1592960"/>
                <a:gd name="connsiteY223" fmla="*/ 211550 h 602361"/>
                <a:gd name="connsiteX224" fmla="*/ 29432 w 1592960"/>
                <a:gd name="connsiteY224" fmla="*/ 214979 h 602361"/>
                <a:gd name="connsiteX225" fmla="*/ 30099 w 1592960"/>
                <a:gd name="connsiteY225" fmla="*/ 217837 h 602361"/>
                <a:gd name="connsiteX226" fmla="*/ 32290 w 1592960"/>
                <a:gd name="connsiteY226" fmla="*/ 219265 h 602361"/>
                <a:gd name="connsiteX227" fmla="*/ 33909 w 1592960"/>
                <a:gd name="connsiteY227" fmla="*/ 222409 h 602361"/>
                <a:gd name="connsiteX228" fmla="*/ 35242 w 1592960"/>
                <a:gd name="connsiteY228" fmla="*/ 224028 h 602361"/>
                <a:gd name="connsiteX229" fmla="*/ 37624 w 1592960"/>
                <a:gd name="connsiteY229" fmla="*/ 231553 h 602361"/>
                <a:gd name="connsiteX230" fmla="*/ 28003 w 1592960"/>
                <a:gd name="connsiteY230" fmla="*/ 232219 h 602361"/>
                <a:gd name="connsiteX231" fmla="*/ 20955 w 1592960"/>
                <a:gd name="connsiteY231" fmla="*/ 236029 h 602361"/>
                <a:gd name="connsiteX232" fmla="*/ 13430 w 1592960"/>
                <a:gd name="connsiteY232" fmla="*/ 233553 h 602361"/>
                <a:gd name="connsiteX233" fmla="*/ 12001 w 1592960"/>
                <a:gd name="connsiteY233" fmla="*/ 233744 h 602361"/>
                <a:gd name="connsiteX234" fmla="*/ 4191 w 1592960"/>
                <a:gd name="connsiteY234" fmla="*/ 233648 h 602361"/>
                <a:gd name="connsiteX235" fmla="*/ 0 w 1592960"/>
                <a:gd name="connsiteY235" fmla="*/ 284512 h 602361"/>
                <a:gd name="connsiteX236" fmla="*/ 15526 w 1592960"/>
                <a:gd name="connsiteY236" fmla="*/ 297180 h 602361"/>
                <a:gd name="connsiteX237" fmla="*/ 16954 w 1592960"/>
                <a:gd name="connsiteY237" fmla="*/ 302323 h 602361"/>
                <a:gd name="connsiteX238" fmla="*/ 18193 w 1592960"/>
                <a:gd name="connsiteY238" fmla="*/ 311086 h 602361"/>
                <a:gd name="connsiteX239" fmla="*/ 16097 w 1592960"/>
                <a:gd name="connsiteY239" fmla="*/ 315563 h 602361"/>
                <a:gd name="connsiteX240" fmla="*/ 13716 w 1592960"/>
                <a:gd name="connsiteY240" fmla="*/ 319469 h 602361"/>
                <a:gd name="connsiteX241" fmla="*/ 9811 w 1592960"/>
                <a:gd name="connsiteY241" fmla="*/ 332994 h 602361"/>
                <a:gd name="connsiteX242" fmla="*/ 25717 w 1592960"/>
                <a:gd name="connsiteY242" fmla="*/ 334899 h 602361"/>
                <a:gd name="connsiteX243" fmla="*/ 32956 w 1592960"/>
                <a:gd name="connsiteY243" fmla="*/ 337280 h 602361"/>
                <a:gd name="connsiteX244" fmla="*/ 46863 w 1592960"/>
                <a:gd name="connsiteY244" fmla="*/ 348425 h 602361"/>
                <a:gd name="connsiteX245" fmla="*/ 61150 w 1592960"/>
                <a:gd name="connsiteY245" fmla="*/ 352234 h 602361"/>
                <a:gd name="connsiteX246" fmla="*/ 61627 w 1592960"/>
                <a:gd name="connsiteY246" fmla="*/ 352330 h 602361"/>
                <a:gd name="connsiteX247" fmla="*/ 73057 w 1592960"/>
                <a:gd name="connsiteY247" fmla="*/ 344329 h 602361"/>
                <a:gd name="connsiteX248" fmla="*/ 86868 w 1592960"/>
                <a:gd name="connsiteY248" fmla="*/ 341757 h 602361"/>
                <a:gd name="connsiteX249" fmla="*/ 99536 w 1592960"/>
                <a:gd name="connsiteY249" fmla="*/ 348901 h 602361"/>
                <a:gd name="connsiteX250" fmla="*/ 108966 w 1592960"/>
                <a:gd name="connsiteY250" fmla="*/ 369189 h 602361"/>
                <a:gd name="connsiteX251" fmla="*/ 122777 w 1592960"/>
                <a:gd name="connsiteY251" fmla="*/ 403860 h 602361"/>
                <a:gd name="connsiteX252" fmla="*/ 140494 w 1592960"/>
                <a:gd name="connsiteY252" fmla="*/ 417671 h 602361"/>
                <a:gd name="connsiteX253" fmla="*/ 160115 w 1592960"/>
                <a:gd name="connsiteY253" fmla="*/ 412909 h 602361"/>
                <a:gd name="connsiteX254" fmla="*/ 179642 w 1592960"/>
                <a:gd name="connsiteY254" fmla="*/ 391763 h 602361"/>
                <a:gd name="connsiteX255" fmla="*/ 176308 w 1592960"/>
                <a:gd name="connsiteY255" fmla="*/ 384524 h 602361"/>
                <a:gd name="connsiteX256" fmla="*/ 183451 w 1592960"/>
                <a:gd name="connsiteY256" fmla="*/ 379857 h 602361"/>
                <a:gd name="connsiteX257" fmla="*/ 228600 w 1592960"/>
                <a:gd name="connsiteY257" fmla="*/ 369284 h 602361"/>
                <a:gd name="connsiteX258" fmla="*/ 237268 w 1592960"/>
                <a:gd name="connsiteY258" fmla="*/ 370999 h 602361"/>
                <a:gd name="connsiteX259" fmla="*/ 263461 w 1592960"/>
                <a:gd name="connsiteY259" fmla="*/ 382238 h 602361"/>
                <a:gd name="connsiteX260" fmla="*/ 303752 w 1592960"/>
                <a:gd name="connsiteY260" fmla="*/ 399383 h 602361"/>
                <a:gd name="connsiteX261" fmla="*/ 317754 w 1592960"/>
                <a:gd name="connsiteY261" fmla="*/ 400431 h 602361"/>
                <a:gd name="connsiteX262" fmla="*/ 341186 w 1592960"/>
                <a:gd name="connsiteY262" fmla="*/ 386429 h 602361"/>
                <a:gd name="connsiteX263" fmla="*/ 353759 w 1592960"/>
                <a:gd name="connsiteY263" fmla="*/ 382810 h 602361"/>
                <a:gd name="connsiteX264" fmla="*/ 380809 w 1592960"/>
                <a:gd name="connsiteY264" fmla="*/ 384143 h 602361"/>
                <a:gd name="connsiteX265" fmla="*/ 391478 w 1592960"/>
                <a:gd name="connsiteY265" fmla="*/ 382334 h 602361"/>
                <a:gd name="connsiteX266" fmla="*/ 394716 w 1592960"/>
                <a:gd name="connsiteY266" fmla="*/ 383572 h 602361"/>
                <a:gd name="connsiteX267" fmla="*/ 397955 w 1592960"/>
                <a:gd name="connsiteY267" fmla="*/ 388430 h 602361"/>
                <a:gd name="connsiteX268" fmla="*/ 398526 w 1592960"/>
                <a:gd name="connsiteY268" fmla="*/ 393573 h 602361"/>
                <a:gd name="connsiteX269" fmla="*/ 398050 w 1592960"/>
                <a:gd name="connsiteY269" fmla="*/ 398050 h 602361"/>
                <a:gd name="connsiteX270" fmla="*/ 398526 w 1592960"/>
                <a:gd name="connsiteY270" fmla="*/ 400336 h 602361"/>
                <a:gd name="connsiteX271" fmla="*/ 410718 w 1592960"/>
                <a:gd name="connsiteY271" fmla="*/ 402336 h 602361"/>
                <a:gd name="connsiteX272" fmla="*/ 437483 w 1592960"/>
                <a:gd name="connsiteY272" fmla="*/ 396050 h 602361"/>
                <a:gd name="connsiteX273" fmla="*/ 450437 w 1592960"/>
                <a:gd name="connsiteY273" fmla="*/ 396430 h 602361"/>
                <a:gd name="connsiteX274" fmla="*/ 455486 w 1592960"/>
                <a:gd name="connsiteY274" fmla="*/ 398050 h 602361"/>
                <a:gd name="connsiteX275" fmla="*/ 498348 w 1592960"/>
                <a:gd name="connsiteY275" fmla="*/ 411861 h 602361"/>
                <a:gd name="connsiteX276" fmla="*/ 534924 w 1592960"/>
                <a:gd name="connsiteY276" fmla="*/ 440722 h 602361"/>
                <a:gd name="connsiteX277" fmla="*/ 547973 w 1592960"/>
                <a:gd name="connsiteY277" fmla="*/ 448151 h 602361"/>
                <a:gd name="connsiteX278" fmla="*/ 559784 w 1592960"/>
                <a:gd name="connsiteY278" fmla="*/ 450437 h 602361"/>
                <a:gd name="connsiteX279" fmla="*/ 560356 w 1592960"/>
                <a:gd name="connsiteY279" fmla="*/ 450342 h 602361"/>
                <a:gd name="connsiteX280" fmla="*/ 570643 w 1592960"/>
                <a:gd name="connsiteY280" fmla="*/ 448437 h 602361"/>
                <a:gd name="connsiteX281" fmla="*/ 617696 w 1592960"/>
                <a:gd name="connsiteY281" fmla="*/ 423672 h 602361"/>
                <a:gd name="connsiteX282" fmla="*/ 629698 w 1592960"/>
                <a:gd name="connsiteY282" fmla="*/ 421576 h 602361"/>
                <a:gd name="connsiteX283" fmla="*/ 642271 w 1592960"/>
                <a:gd name="connsiteY283" fmla="*/ 426530 h 602361"/>
                <a:gd name="connsiteX284" fmla="*/ 667036 w 1592960"/>
                <a:gd name="connsiteY284" fmla="*/ 444722 h 602361"/>
                <a:gd name="connsiteX285" fmla="*/ 679799 w 1592960"/>
                <a:gd name="connsiteY285" fmla="*/ 448246 h 602361"/>
                <a:gd name="connsiteX286" fmla="*/ 693039 w 1592960"/>
                <a:gd name="connsiteY286" fmla="*/ 442436 h 602361"/>
                <a:gd name="connsiteX287" fmla="*/ 715518 w 1592960"/>
                <a:gd name="connsiteY287" fmla="*/ 429292 h 602361"/>
                <a:gd name="connsiteX288" fmla="*/ 722852 w 1592960"/>
                <a:gd name="connsiteY288" fmla="*/ 421576 h 602361"/>
                <a:gd name="connsiteX289" fmla="*/ 728662 w 1592960"/>
                <a:gd name="connsiteY289" fmla="*/ 413671 h 602361"/>
                <a:gd name="connsiteX290" fmla="*/ 754570 w 1592960"/>
                <a:gd name="connsiteY290" fmla="*/ 378428 h 602361"/>
                <a:gd name="connsiteX291" fmla="*/ 769906 w 1592960"/>
                <a:gd name="connsiteY291" fmla="*/ 366331 h 602361"/>
                <a:gd name="connsiteX292" fmla="*/ 784098 w 1592960"/>
                <a:gd name="connsiteY292" fmla="*/ 359950 h 602361"/>
                <a:gd name="connsiteX293" fmla="*/ 819340 w 1592960"/>
                <a:gd name="connsiteY293" fmla="*/ 344234 h 602361"/>
                <a:gd name="connsiteX294" fmla="*/ 823246 w 1592960"/>
                <a:gd name="connsiteY294" fmla="*/ 344138 h 602361"/>
                <a:gd name="connsiteX295" fmla="*/ 831818 w 1592960"/>
                <a:gd name="connsiteY295" fmla="*/ 347567 h 602361"/>
                <a:gd name="connsiteX296" fmla="*/ 835057 w 1592960"/>
                <a:gd name="connsiteY296" fmla="*/ 346805 h 602361"/>
                <a:gd name="connsiteX297" fmla="*/ 837438 w 1592960"/>
                <a:gd name="connsiteY297" fmla="*/ 340709 h 602361"/>
                <a:gd name="connsiteX298" fmla="*/ 837914 w 1592960"/>
                <a:gd name="connsiteY298" fmla="*/ 332899 h 602361"/>
                <a:gd name="connsiteX299" fmla="*/ 839438 w 1592960"/>
                <a:gd name="connsiteY299" fmla="*/ 325374 h 602361"/>
                <a:gd name="connsiteX300" fmla="*/ 844772 w 1592960"/>
                <a:gd name="connsiteY300" fmla="*/ 320326 h 602361"/>
                <a:gd name="connsiteX301" fmla="*/ 853059 w 1592960"/>
                <a:gd name="connsiteY301" fmla="*/ 322993 h 602361"/>
                <a:gd name="connsiteX302" fmla="*/ 860012 w 1592960"/>
                <a:gd name="connsiteY302" fmla="*/ 334804 h 602361"/>
                <a:gd name="connsiteX303" fmla="*/ 870204 w 1592960"/>
                <a:gd name="connsiteY303" fmla="*/ 364426 h 602361"/>
                <a:gd name="connsiteX304" fmla="*/ 880300 w 1592960"/>
                <a:gd name="connsiteY304" fmla="*/ 407003 h 602361"/>
                <a:gd name="connsiteX305" fmla="*/ 884587 w 1592960"/>
                <a:gd name="connsiteY305" fmla="*/ 420053 h 602361"/>
                <a:gd name="connsiteX306" fmla="*/ 888492 w 1592960"/>
                <a:gd name="connsiteY306" fmla="*/ 427196 h 602361"/>
                <a:gd name="connsiteX307" fmla="*/ 901446 w 1592960"/>
                <a:gd name="connsiteY307" fmla="*/ 441674 h 602361"/>
                <a:gd name="connsiteX308" fmla="*/ 905256 w 1592960"/>
                <a:gd name="connsiteY308" fmla="*/ 448532 h 602361"/>
                <a:gd name="connsiteX309" fmla="*/ 912209 w 1592960"/>
                <a:gd name="connsiteY309" fmla="*/ 471011 h 602361"/>
                <a:gd name="connsiteX310" fmla="*/ 923544 w 1592960"/>
                <a:gd name="connsiteY310" fmla="*/ 492157 h 602361"/>
                <a:gd name="connsiteX311" fmla="*/ 937546 w 1592960"/>
                <a:gd name="connsiteY311" fmla="*/ 502539 h 602361"/>
                <a:gd name="connsiteX312" fmla="*/ 1030986 w 1592960"/>
                <a:gd name="connsiteY312" fmla="*/ 518731 h 602361"/>
                <a:gd name="connsiteX313" fmla="*/ 1072134 w 1592960"/>
                <a:gd name="connsiteY313" fmla="*/ 525875 h 602361"/>
                <a:gd name="connsiteX314" fmla="*/ 1098614 w 1592960"/>
                <a:gd name="connsiteY314" fmla="*/ 521017 h 602361"/>
                <a:gd name="connsiteX315" fmla="*/ 1118140 w 1592960"/>
                <a:gd name="connsiteY315" fmla="*/ 530447 h 602361"/>
                <a:gd name="connsiteX316" fmla="*/ 1124807 w 1592960"/>
                <a:gd name="connsiteY316" fmla="*/ 531876 h 602361"/>
                <a:gd name="connsiteX317" fmla="*/ 1148048 w 1592960"/>
                <a:gd name="connsiteY317" fmla="*/ 529971 h 602361"/>
                <a:gd name="connsiteX318" fmla="*/ 1152811 w 1592960"/>
                <a:gd name="connsiteY318" fmla="*/ 532067 h 602361"/>
                <a:gd name="connsiteX319" fmla="*/ 1155668 w 1592960"/>
                <a:gd name="connsiteY319" fmla="*/ 538163 h 602361"/>
                <a:gd name="connsiteX320" fmla="*/ 1162907 w 1592960"/>
                <a:gd name="connsiteY320" fmla="*/ 561689 h 602361"/>
                <a:gd name="connsiteX321" fmla="*/ 1166241 w 1592960"/>
                <a:gd name="connsiteY321" fmla="*/ 569024 h 602361"/>
                <a:gd name="connsiteX322" fmla="*/ 1171004 w 1592960"/>
                <a:gd name="connsiteY322" fmla="*/ 573786 h 602361"/>
                <a:gd name="connsiteX323" fmla="*/ 1193387 w 1592960"/>
                <a:gd name="connsiteY323" fmla="*/ 589407 h 602361"/>
                <a:gd name="connsiteX324" fmla="*/ 1204817 w 1592960"/>
                <a:gd name="connsiteY324" fmla="*/ 602361 h 602361"/>
                <a:gd name="connsiteX325" fmla="*/ 1204912 w 1592960"/>
                <a:gd name="connsiteY325" fmla="*/ 602266 h 602361"/>
                <a:gd name="connsiteX326" fmla="*/ 1210723 w 1592960"/>
                <a:gd name="connsiteY326" fmla="*/ 596741 h 602361"/>
                <a:gd name="connsiteX327" fmla="*/ 1221200 w 1592960"/>
                <a:gd name="connsiteY327" fmla="*/ 589788 h 602361"/>
                <a:gd name="connsiteX328" fmla="*/ 1223962 w 1592960"/>
                <a:gd name="connsiteY328" fmla="*/ 584645 h 602361"/>
                <a:gd name="connsiteX329" fmla="*/ 1225582 w 1592960"/>
                <a:gd name="connsiteY329" fmla="*/ 578072 h 602361"/>
                <a:gd name="connsiteX330" fmla="*/ 1229868 w 1592960"/>
                <a:gd name="connsiteY330" fmla="*/ 573214 h 602361"/>
                <a:gd name="connsiteX331" fmla="*/ 1227487 w 1592960"/>
                <a:gd name="connsiteY331" fmla="*/ 568452 h 602361"/>
                <a:gd name="connsiteX332" fmla="*/ 1226344 w 1592960"/>
                <a:gd name="connsiteY332" fmla="*/ 565309 h 602361"/>
                <a:gd name="connsiteX333" fmla="*/ 1221391 w 1592960"/>
                <a:gd name="connsiteY333" fmla="*/ 557593 h 602361"/>
                <a:gd name="connsiteX334" fmla="*/ 1220057 w 1592960"/>
                <a:gd name="connsiteY334" fmla="*/ 553879 h 602361"/>
                <a:gd name="connsiteX335" fmla="*/ 1218724 w 1592960"/>
                <a:gd name="connsiteY335" fmla="*/ 544639 h 602361"/>
                <a:gd name="connsiteX336" fmla="*/ 1251680 w 1592960"/>
                <a:gd name="connsiteY336" fmla="*/ 574453 h 602361"/>
                <a:gd name="connsiteX337" fmla="*/ 1255681 w 1592960"/>
                <a:gd name="connsiteY337" fmla="*/ 581025 h 602361"/>
                <a:gd name="connsiteX338" fmla="*/ 1261777 w 1592960"/>
                <a:gd name="connsiteY338" fmla="*/ 587216 h 602361"/>
                <a:gd name="connsiteX339" fmla="*/ 1266730 w 1592960"/>
                <a:gd name="connsiteY339" fmla="*/ 586454 h 602361"/>
                <a:gd name="connsiteX340" fmla="*/ 1277493 w 1592960"/>
                <a:gd name="connsiteY340" fmla="*/ 577405 h 602361"/>
                <a:gd name="connsiteX341" fmla="*/ 1280350 w 1592960"/>
                <a:gd name="connsiteY341" fmla="*/ 574167 h 602361"/>
                <a:gd name="connsiteX342" fmla="*/ 1287399 w 1592960"/>
                <a:gd name="connsiteY342" fmla="*/ 569405 h 602361"/>
                <a:gd name="connsiteX343" fmla="*/ 1294352 w 1592960"/>
                <a:gd name="connsiteY343" fmla="*/ 574929 h 602361"/>
                <a:gd name="connsiteX344" fmla="*/ 1298829 w 1592960"/>
                <a:gd name="connsiteY344" fmla="*/ 582454 h 602361"/>
                <a:gd name="connsiteX345" fmla="*/ 1302449 w 1592960"/>
                <a:gd name="connsiteY345" fmla="*/ 584073 h 602361"/>
                <a:gd name="connsiteX346" fmla="*/ 1307402 w 1592960"/>
                <a:gd name="connsiteY346" fmla="*/ 583121 h 602361"/>
                <a:gd name="connsiteX347" fmla="*/ 1315307 w 1592960"/>
                <a:gd name="connsiteY347" fmla="*/ 575310 h 602361"/>
                <a:gd name="connsiteX348" fmla="*/ 1320451 w 1592960"/>
                <a:gd name="connsiteY348" fmla="*/ 567785 h 602361"/>
                <a:gd name="connsiteX349" fmla="*/ 1322451 w 1592960"/>
                <a:gd name="connsiteY349" fmla="*/ 563404 h 602361"/>
                <a:gd name="connsiteX350" fmla="*/ 1326737 w 1592960"/>
                <a:gd name="connsiteY350" fmla="*/ 559499 h 602361"/>
                <a:gd name="connsiteX351" fmla="*/ 1331404 w 1592960"/>
                <a:gd name="connsiteY351" fmla="*/ 560070 h 602361"/>
                <a:gd name="connsiteX352" fmla="*/ 1334738 w 1592960"/>
                <a:gd name="connsiteY352" fmla="*/ 561689 h 602361"/>
                <a:gd name="connsiteX353" fmla="*/ 1343787 w 1592960"/>
                <a:gd name="connsiteY353" fmla="*/ 554164 h 602361"/>
                <a:gd name="connsiteX354" fmla="*/ 1343978 w 1592960"/>
                <a:gd name="connsiteY354" fmla="*/ 547783 h 602361"/>
                <a:gd name="connsiteX355" fmla="*/ 1343311 w 1592960"/>
                <a:gd name="connsiteY355" fmla="*/ 545878 h 602361"/>
                <a:gd name="connsiteX356" fmla="*/ 1338548 w 1592960"/>
                <a:gd name="connsiteY356" fmla="*/ 538829 h 602361"/>
                <a:gd name="connsiteX357" fmla="*/ 1364552 w 1592960"/>
                <a:gd name="connsiteY357" fmla="*/ 516160 h 602361"/>
                <a:gd name="connsiteX358" fmla="*/ 1369981 w 1592960"/>
                <a:gd name="connsiteY358" fmla="*/ 514445 h 602361"/>
                <a:gd name="connsiteX359" fmla="*/ 1379220 w 1592960"/>
                <a:gd name="connsiteY359" fmla="*/ 513683 h 602361"/>
                <a:gd name="connsiteX360" fmla="*/ 1384554 w 1592960"/>
                <a:gd name="connsiteY360" fmla="*/ 517208 h 602361"/>
                <a:gd name="connsiteX361" fmla="*/ 1394365 w 1592960"/>
                <a:gd name="connsiteY361" fmla="*/ 519398 h 602361"/>
                <a:gd name="connsiteX362" fmla="*/ 1403223 w 1592960"/>
                <a:gd name="connsiteY362" fmla="*/ 523208 h 602361"/>
                <a:gd name="connsiteX363" fmla="*/ 1406366 w 1592960"/>
                <a:gd name="connsiteY363" fmla="*/ 525399 h 602361"/>
                <a:gd name="connsiteX364" fmla="*/ 1408081 w 1592960"/>
                <a:gd name="connsiteY364" fmla="*/ 528447 h 602361"/>
                <a:gd name="connsiteX365" fmla="*/ 1409319 w 1592960"/>
                <a:gd name="connsiteY365" fmla="*/ 531590 h 602361"/>
                <a:gd name="connsiteX366" fmla="*/ 1408462 w 1592960"/>
                <a:gd name="connsiteY366" fmla="*/ 536067 h 602361"/>
                <a:gd name="connsiteX367" fmla="*/ 1407128 w 1592960"/>
                <a:gd name="connsiteY367" fmla="*/ 539115 h 602361"/>
                <a:gd name="connsiteX368" fmla="*/ 1407604 w 1592960"/>
                <a:gd name="connsiteY368" fmla="*/ 544639 h 602361"/>
                <a:gd name="connsiteX369" fmla="*/ 1418844 w 1592960"/>
                <a:gd name="connsiteY369" fmla="*/ 565118 h 602361"/>
                <a:gd name="connsiteX370" fmla="*/ 1417796 w 1592960"/>
                <a:gd name="connsiteY370" fmla="*/ 555022 h 602361"/>
                <a:gd name="connsiteX371" fmla="*/ 1417129 w 1592960"/>
                <a:gd name="connsiteY371" fmla="*/ 536638 h 602361"/>
                <a:gd name="connsiteX372" fmla="*/ 1415510 w 1592960"/>
                <a:gd name="connsiteY372" fmla="*/ 525971 h 602361"/>
                <a:gd name="connsiteX373" fmla="*/ 1412272 w 1592960"/>
                <a:gd name="connsiteY373" fmla="*/ 516826 h 602361"/>
                <a:gd name="connsiteX374" fmla="*/ 1401604 w 1592960"/>
                <a:gd name="connsiteY374" fmla="*/ 502349 h 602361"/>
                <a:gd name="connsiteX375" fmla="*/ 1387316 w 1592960"/>
                <a:gd name="connsiteY375" fmla="*/ 483108 h 602361"/>
                <a:gd name="connsiteX376" fmla="*/ 1381506 w 1592960"/>
                <a:gd name="connsiteY376" fmla="*/ 479108 h 602361"/>
                <a:gd name="connsiteX377" fmla="*/ 1377601 w 1592960"/>
                <a:gd name="connsiteY377" fmla="*/ 478441 h 602361"/>
                <a:gd name="connsiteX378" fmla="*/ 1369886 w 1592960"/>
                <a:gd name="connsiteY378" fmla="*/ 475488 h 602361"/>
                <a:gd name="connsiteX379" fmla="*/ 1365504 w 1592960"/>
                <a:gd name="connsiteY379" fmla="*/ 474726 h 602361"/>
                <a:gd name="connsiteX380" fmla="*/ 1359789 w 1592960"/>
                <a:gd name="connsiteY380" fmla="*/ 472440 h 602361"/>
                <a:gd name="connsiteX381" fmla="*/ 1358075 w 1592960"/>
                <a:gd name="connsiteY381" fmla="*/ 466344 h 602361"/>
                <a:gd name="connsiteX382" fmla="*/ 1358837 w 1592960"/>
                <a:gd name="connsiteY382" fmla="*/ 450437 h 602361"/>
                <a:gd name="connsiteX383" fmla="*/ 1359313 w 1592960"/>
                <a:gd name="connsiteY383" fmla="*/ 446818 h 602361"/>
                <a:gd name="connsiteX384" fmla="*/ 1360456 w 1592960"/>
                <a:gd name="connsiteY384" fmla="*/ 442436 h 602361"/>
                <a:gd name="connsiteX385" fmla="*/ 1361408 w 1592960"/>
                <a:gd name="connsiteY385" fmla="*/ 437483 h 602361"/>
                <a:gd name="connsiteX386" fmla="*/ 1361504 w 1592960"/>
                <a:gd name="connsiteY386" fmla="*/ 431673 h 602361"/>
                <a:gd name="connsiteX387" fmla="*/ 1360837 w 1592960"/>
                <a:gd name="connsiteY387" fmla="*/ 432245 h 602361"/>
                <a:gd name="connsiteX388" fmla="*/ 1359122 w 1592960"/>
                <a:gd name="connsiteY388" fmla="*/ 430816 h 602361"/>
                <a:gd name="connsiteX389" fmla="*/ 1357217 w 1592960"/>
                <a:gd name="connsiteY389" fmla="*/ 428625 h 602361"/>
                <a:gd name="connsiteX390" fmla="*/ 1356170 w 1592960"/>
                <a:gd name="connsiteY390" fmla="*/ 426910 h 602361"/>
                <a:gd name="connsiteX391" fmla="*/ 1355789 w 1592960"/>
                <a:gd name="connsiteY391" fmla="*/ 423291 h 602361"/>
                <a:gd name="connsiteX392" fmla="*/ 1356170 w 1592960"/>
                <a:gd name="connsiteY392" fmla="*/ 409670 h 602361"/>
                <a:gd name="connsiteX393" fmla="*/ 1354931 w 1592960"/>
                <a:gd name="connsiteY393" fmla="*/ 405955 h 602361"/>
                <a:gd name="connsiteX394" fmla="*/ 1349407 w 1592960"/>
                <a:gd name="connsiteY394" fmla="*/ 394430 h 602361"/>
                <a:gd name="connsiteX395" fmla="*/ 1348169 w 1592960"/>
                <a:gd name="connsiteY395" fmla="*/ 390716 h 602361"/>
                <a:gd name="connsiteX396" fmla="*/ 1347883 w 1592960"/>
                <a:gd name="connsiteY396" fmla="*/ 376047 h 602361"/>
                <a:gd name="connsiteX397" fmla="*/ 1347025 w 1592960"/>
                <a:gd name="connsiteY397" fmla="*/ 369760 h 602361"/>
                <a:gd name="connsiteX398" fmla="*/ 1345597 w 1592960"/>
                <a:gd name="connsiteY398" fmla="*/ 364141 h 602361"/>
                <a:gd name="connsiteX399" fmla="*/ 1340739 w 1592960"/>
                <a:gd name="connsiteY399" fmla="*/ 357854 h 602361"/>
                <a:gd name="connsiteX400" fmla="*/ 1326833 w 1592960"/>
                <a:gd name="connsiteY400" fmla="*/ 346138 h 602361"/>
                <a:gd name="connsiteX401" fmla="*/ 1318927 w 1592960"/>
                <a:gd name="connsiteY401" fmla="*/ 345757 h 602361"/>
                <a:gd name="connsiteX402" fmla="*/ 1344168 w 1592960"/>
                <a:gd name="connsiteY402" fmla="*/ 329660 h 602361"/>
                <a:gd name="connsiteX403" fmla="*/ 1358932 w 1592960"/>
                <a:gd name="connsiteY403" fmla="*/ 309563 h 602361"/>
                <a:gd name="connsiteX404" fmla="*/ 1362075 w 1592960"/>
                <a:gd name="connsiteY404" fmla="*/ 298799 h 602361"/>
                <a:gd name="connsiteX405" fmla="*/ 1375124 w 1592960"/>
                <a:gd name="connsiteY405" fmla="*/ 280702 h 602361"/>
                <a:gd name="connsiteX406" fmla="*/ 1384554 w 1592960"/>
                <a:gd name="connsiteY406" fmla="*/ 271367 h 602361"/>
                <a:gd name="connsiteX407" fmla="*/ 1397508 w 1592960"/>
                <a:gd name="connsiteY407" fmla="*/ 267176 h 602361"/>
                <a:gd name="connsiteX408" fmla="*/ 1404842 w 1592960"/>
                <a:gd name="connsiteY408" fmla="*/ 268796 h 602361"/>
                <a:gd name="connsiteX409" fmla="*/ 1407319 w 1592960"/>
                <a:gd name="connsiteY409" fmla="*/ 271367 h 602361"/>
                <a:gd name="connsiteX410" fmla="*/ 1409319 w 1592960"/>
                <a:gd name="connsiteY410" fmla="*/ 274987 h 602361"/>
                <a:gd name="connsiteX411" fmla="*/ 1410272 w 1592960"/>
                <a:gd name="connsiteY411" fmla="*/ 281083 h 602361"/>
                <a:gd name="connsiteX412" fmla="*/ 1421892 w 1592960"/>
                <a:gd name="connsiteY412" fmla="*/ 297752 h 602361"/>
                <a:gd name="connsiteX413" fmla="*/ 1425607 w 1592960"/>
                <a:gd name="connsiteY413" fmla="*/ 314515 h 602361"/>
                <a:gd name="connsiteX414" fmla="*/ 1444943 w 1592960"/>
                <a:gd name="connsiteY414" fmla="*/ 304324 h 602361"/>
                <a:gd name="connsiteX415" fmla="*/ 1454087 w 1592960"/>
                <a:gd name="connsiteY415" fmla="*/ 296799 h 602361"/>
                <a:gd name="connsiteX416" fmla="*/ 1457992 w 1592960"/>
                <a:gd name="connsiteY416" fmla="*/ 292036 h 602361"/>
                <a:gd name="connsiteX417" fmla="*/ 1462754 w 1592960"/>
                <a:gd name="connsiteY417" fmla="*/ 287655 h 602361"/>
                <a:gd name="connsiteX418" fmla="*/ 1469422 w 1592960"/>
                <a:gd name="connsiteY418" fmla="*/ 284036 h 602361"/>
                <a:gd name="connsiteX419" fmla="*/ 1478756 w 1592960"/>
                <a:gd name="connsiteY419" fmla="*/ 282702 h 602361"/>
                <a:gd name="connsiteX420" fmla="*/ 1490472 w 1592960"/>
                <a:gd name="connsiteY420" fmla="*/ 284321 h 602361"/>
                <a:gd name="connsiteX421" fmla="*/ 1494949 w 1592960"/>
                <a:gd name="connsiteY421" fmla="*/ 287084 h 602361"/>
                <a:gd name="connsiteX422" fmla="*/ 1502283 w 1592960"/>
                <a:gd name="connsiteY422" fmla="*/ 289560 h 602361"/>
                <a:gd name="connsiteX423" fmla="*/ 1516666 w 1592960"/>
                <a:gd name="connsiteY423" fmla="*/ 287750 h 602361"/>
                <a:gd name="connsiteX424" fmla="*/ 1516856 w 1592960"/>
                <a:gd name="connsiteY424" fmla="*/ 283655 h 602361"/>
                <a:gd name="connsiteX425" fmla="*/ 1517047 w 1592960"/>
                <a:gd name="connsiteY425" fmla="*/ 282988 h 602361"/>
                <a:gd name="connsiteX426" fmla="*/ 1515428 w 1592960"/>
                <a:gd name="connsiteY426" fmla="*/ 282226 h 602361"/>
                <a:gd name="connsiteX427" fmla="*/ 1515618 w 1592960"/>
                <a:gd name="connsiteY427" fmla="*/ 278702 h 602361"/>
                <a:gd name="connsiteX428" fmla="*/ 1516190 w 1592960"/>
                <a:gd name="connsiteY428" fmla="*/ 275177 h 602361"/>
                <a:gd name="connsiteX429" fmla="*/ 1528858 w 1592960"/>
                <a:gd name="connsiteY429" fmla="*/ 248984 h 602361"/>
                <a:gd name="connsiteX430" fmla="*/ 1559528 w 1592960"/>
                <a:gd name="connsiteY430" fmla="*/ 247269 h 602361"/>
                <a:gd name="connsiteX431" fmla="*/ 1565720 w 1592960"/>
                <a:gd name="connsiteY431" fmla="*/ 249365 h 602361"/>
                <a:gd name="connsiteX432" fmla="*/ 1574006 w 1592960"/>
                <a:gd name="connsiteY432" fmla="*/ 238315 h 602361"/>
                <a:gd name="connsiteX433" fmla="*/ 1568387 w 1592960"/>
                <a:gd name="connsiteY433" fmla="*/ 224504 h 602361"/>
                <a:gd name="connsiteX434" fmla="*/ 1571244 w 1592960"/>
                <a:gd name="connsiteY434" fmla="*/ 218218 h 602361"/>
                <a:gd name="connsiteX435" fmla="*/ 1576387 w 1592960"/>
                <a:gd name="connsiteY435" fmla="*/ 212122 h 602361"/>
                <a:gd name="connsiteX436" fmla="*/ 1591628 w 1592960"/>
                <a:gd name="connsiteY436" fmla="*/ 204216 h 602361"/>
                <a:gd name="connsiteX437" fmla="*/ 1592961 w 1592960"/>
                <a:gd name="connsiteY437" fmla="*/ 201930 h 602361"/>
                <a:gd name="connsiteX438" fmla="*/ 1591437 w 1592960"/>
                <a:gd name="connsiteY438" fmla="*/ 198215 h 602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Lst>
              <a:rect l="l" t="t" r="r" b="b"/>
              <a:pathLst>
                <a:path w="1592960" h="602361">
                  <a:moveTo>
                    <a:pt x="1591437" y="198215"/>
                  </a:moveTo>
                  <a:lnTo>
                    <a:pt x="1588008" y="194024"/>
                  </a:lnTo>
                  <a:lnTo>
                    <a:pt x="1587056" y="186119"/>
                  </a:lnTo>
                  <a:lnTo>
                    <a:pt x="1588484" y="177355"/>
                  </a:lnTo>
                  <a:lnTo>
                    <a:pt x="1587437" y="169640"/>
                  </a:lnTo>
                  <a:lnTo>
                    <a:pt x="1587151" y="164116"/>
                  </a:lnTo>
                  <a:lnTo>
                    <a:pt x="1584770" y="154305"/>
                  </a:lnTo>
                  <a:lnTo>
                    <a:pt x="1585246" y="151829"/>
                  </a:lnTo>
                  <a:lnTo>
                    <a:pt x="1574102" y="140875"/>
                  </a:lnTo>
                  <a:lnTo>
                    <a:pt x="1561338" y="133064"/>
                  </a:lnTo>
                  <a:lnTo>
                    <a:pt x="1560100" y="122015"/>
                  </a:lnTo>
                  <a:lnTo>
                    <a:pt x="1550289" y="123063"/>
                  </a:lnTo>
                  <a:lnTo>
                    <a:pt x="1536954" y="126397"/>
                  </a:lnTo>
                  <a:lnTo>
                    <a:pt x="1528382" y="135255"/>
                  </a:lnTo>
                  <a:lnTo>
                    <a:pt x="1521047" y="145256"/>
                  </a:lnTo>
                  <a:lnTo>
                    <a:pt x="1508855" y="144209"/>
                  </a:lnTo>
                  <a:lnTo>
                    <a:pt x="1493044" y="154210"/>
                  </a:lnTo>
                  <a:lnTo>
                    <a:pt x="1435703" y="154210"/>
                  </a:lnTo>
                  <a:lnTo>
                    <a:pt x="1430655" y="183737"/>
                  </a:lnTo>
                  <a:lnTo>
                    <a:pt x="1421035" y="202121"/>
                  </a:lnTo>
                  <a:lnTo>
                    <a:pt x="1417891" y="206502"/>
                  </a:lnTo>
                  <a:lnTo>
                    <a:pt x="1397889" y="218599"/>
                  </a:lnTo>
                  <a:lnTo>
                    <a:pt x="1395127" y="205073"/>
                  </a:lnTo>
                  <a:lnTo>
                    <a:pt x="1393984" y="201454"/>
                  </a:lnTo>
                  <a:lnTo>
                    <a:pt x="1386459" y="197453"/>
                  </a:lnTo>
                  <a:lnTo>
                    <a:pt x="1371886" y="202216"/>
                  </a:lnTo>
                  <a:lnTo>
                    <a:pt x="1361599" y="190024"/>
                  </a:lnTo>
                  <a:lnTo>
                    <a:pt x="1364171" y="184213"/>
                  </a:lnTo>
                  <a:lnTo>
                    <a:pt x="1358837" y="179261"/>
                  </a:lnTo>
                  <a:lnTo>
                    <a:pt x="1350645" y="177355"/>
                  </a:lnTo>
                  <a:lnTo>
                    <a:pt x="1345311" y="173736"/>
                  </a:lnTo>
                  <a:lnTo>
                    <a:pt x="1335405" y="171069"/>
                  </a:lnTo>
                  <a:lnTo>
                    <a:pt x="1320356" y="178117"/>
                  </a:lnTo>
                  <a:lnTo>
                    <a:pt x="1307021" y="188023"/>
                  </a:lnTo>
                  <a:lnTo>
                    <a:pt x="1299972" y="190500"/>
                  </a:lnTo>
                  <a:lnTo>
                    <a:pt x="1293304" y="188500"/>
                  </a:lnTo>
                  <a:lnTo>
                    <a:pt x="1285208" y="181070"/>
                  </a:lnTo>
                  <a:lnTo>
                    <a:pt x="1278065" y="162687"/>
                  </a:lnTo>
                  <a:lnTo>
                    <a:pt x="1257967" y="182404"/>
                  </a:lnTo>
                  <a:lnTo>
                    <a:pt x="1257110" y="173927"/>
                  </a:lnTo>
                  <a:lnTo>
                    <a:pt x="1255300" y="170783"/>
                  </a:lnTo>
                  <a:lnTo>
                    <a:pt x="1251871" y="167450"/>
                  </a:lnTo>
                  <a:lnTo>
                    <a:pt x="1250823" y="163354"/>
                  </a:lnTo>
                  <a:lnTo>
                    <a:pt x="1251585" y="160401"/>
                  </a:lnTo>
                  <a:lnTo>
                    <a:pt x="1255966" y="158591"/>
                  </a:lnTo>
                  <a:lnTo>
                    <a:pt x="1258443" y="155448"/>
                  </a:lnTo>
                  <a:lnTo>
                    <a:pt x="1259396" y="151448"/>
                  </a:lnTo>
                  <a:lnTo>
                    <a:pt x="1248156" y="140303"/>
                  </a:lnTo>
                  <a:lnTo>
                    <a:pt x="1219962" y="129635"/>
                  </a:lnTo>
                  <a:lnTo>
                    <a:pt x="1216533" y="109442"/>
                  </a:lnTo>
                  <a:lnTo>
                    <a:pt x="1217009" y="103346"/>
                  </a:lnTo>
                  <a:lnTo>
                    <a:pt x="1221105" y="98203"/>
                  </a:lnTo>
                  <a:lnTo>
                    <a:pt x="1223582" y="92583"/>
                  </a:lnTo>
                  <a:lnTo>
                    <a:pt x="1226344" y="88487"/>
                  </a:lnTo>
                  <a:lnTo>
                    <a:pt x="1223200" y="74962"/>
                  </a:lnTo>
                  <a:lnTo>
                    <a:pt x="1217295" y="66675"/>
                  </a:lnTo>
                  <a:lnTo>
                    <a:pt x="1211199" y="66104"/>
                  </a:lnTo>
                  <a:lnTo>
                    <a:pt x="1209008" y="64008"/>
                  </a:lnTo>
                  <a:lnTo>
                    <a:pt x="1205389" y="58960"/>
                  </a:lnTo>
                  <a:lnTo>
                    <a:pt x="1201007" y="54007"/>
                  </a:lnTo>
                  <a:lnTo>
                    <a:pt x="1193102" y="47244"/>
                  </a:lnTo>
                  <a:lnTo>
                    <a:pt x="1185672" y="48863"/>
                  </a:lnTo>
                  <a:lnTo>
                    <a:pt x="1183100" y="54292"/>
                  </a:lnTo>
                  <a:lnTo>
                    <a:pt x="1186434" y="56864"/>
                  </a:lnTo>
                  <a:lnTo>
                    <a:pt x="1186625" y="61055"/>
                  </a:lnTo>
                  <a:lnTo>
                    <a:pt x="1185672" y="66580"/>
                  </a:lnTo>
                  <a:lnTo>
                    <a:pt x="1180910" y="74962"/>
                  </a:lnTo>
                  <a:lnTo>
                    <a:pt x="1179386" y="79915"/>
                  </a:lnTo>
                  <a:lnTo>
                    <a:pt x="1164527" y="88297"/>
                  </a:lnTo>
                  <a:lnTo>
                    <a:pt x="1155478" y="75152"/>
                  </a:lnTo>
                  <a:lnTo>
                    <a:pt x="1144905" y="72961"/>
                  </a:lnTo>
                  <a:lnTo>
                    <a:pt x="1130713" y="65627"/>
                  </a:lnTo>
                  <a:lnTo>
                    <a:pt x="1113758" y="65532"/>
                  </a:lnTo>
                  <a:lnTo>
                    <a:pt x="1091851" y="58007"/>
                  </a:lnTo>
                  <a:lnTo>
                    <a:pt x="1065371" y="84963"/>
                  </a:lnTo>
                  <a:lnTo>
                    <a:pt x="1047369" y="94869"/>
                  </a:lnTo>
                  <a:lnTo>
                    <a:pt x="1042225" y="95726"/>
                  </a:lnTo>
                  <a:lnTo>
                    <a:pt x="1037177" y="93726"/>
                  </a:lnTo>
                  <a:lnTo>
                    <a:pt x="1032700" y="94012"/>
                  </a:lnTo>
                  <a:lnTo>
                    <a:pt x="1032891" y="96298"/>
                  </a:lnTo>
                  <a:lnTo>
                    <a:pt x="1033748" y="100489"/>
                  </a:lnTo>
                  <a:lnTo>
                    <a:pt x="1021937" y="97155"/>
                  </a:lnTo>
                  <a:lnTo>
                    <a:pt x="1010031" y="99631"/>
                  </a:lnTo>
                  <a:lnTo>
                    <a:pt x="999458" y="106299"/>
                  </a:lnTo>
                  <a:lnTo>
                    <a:pt x="995172" y="112776"/>
                  </a:lnTo>
                  <a:lnTo>
                    <a:pt x="1009174" y="121825"/>
                  </a:lnTo>
                  <a:lnTo>
                    <a:pt x="1011079" y="124682"/>
                  </a:lnTo>
                  <a:lnTo>
                    <a:pt x="1010507" y="126778"/>
                  </a:lnTo>
                  <a:lnTo>
                    <a:pt x="1010126" y="129159"/>
                  </a:lnTo>
                  <a:lnTo>
                    <a:pt x="1003459" y="140589"/>
                  </a:lnTo>
                  <a:lnTo>
                    <a:pt x="979837" y="132493"/>
                  </a:lnTo>
                  <a:lnTo>
                    <a:pt x="978979" y="134684"/>
                  </a:lnTo>
                  <a:lnTo>
                    <a:pt x="973074" y="139922"/>
                  </a:lnTo>
                  <a:lnTo>
                    <a:pt x="963644" y="136017"/>
                  </a:lnTo>
                  <a:lnTo>
                    <a:pt x="954786" y="132302"/>
                  </a:lnTo>
                  <a:lnTo>
                    <a:pt x="953072" y="128016"/>
                  </a:lnTo>
                  <a:lnTo>
                    <a:pt x="932974" y="112014"/>
                  </a:lnTo>
                  <a:lnTo>
                    <a:pt x="924211" y="100108"/>
                  </a:lnTo>
                  <a:lnTo>
                    <a:pt x="918115" y="88963"/>
                  </a:lnTo>
                  <a:lnTo>
                    <a:pt x="911257" y="74771"/>
                  </a:lnTo>
                  <a:lnTo>
                    <a:pt x="897350" y="71628"/>
                  </a:lnTo>
                  <a:lnTo>
                    <a:pt x="882586" y="68390"/>
                  </a:lnTo>
                  <a:lnTo>
                    <a:pt x="873061" y="60484"/>
                  </a:lnTo>
                  <a:lnTo>
                    <a:pt x="865251" y="66865"/>
                  </a:lnTo>
                  <a:lnTo>
                    <a:pt x="850582" y="57340"/>
                  </a:lnTo>
                  <a:lnTo>
                    <a:pt x="834104" y="47815"/>
                  </a:lnTo>
                  <a:lnTo>
                    <a:pt x="823722" y="43148"/>
                  </a:lnTo>
                  <a:lnTo>
                    <a:pt x="819340" y="62103"/>
                  </a:lnTo>
                  <a:lnTo>
                    <a:pt x="808958" y="66865"/>
                  </a:lnTo>
                  <a:lnTo>
                    <a:pt x="810673" y="81058"/>
                  </a:lnTo>
                  <a:lnTo>
                    <a:pt x="802005" y="96869"/>
                  </a:lnTo>
                  <a:lnTo>
                    <a:pt x="787908" y="112490"/>
                  </a:lnTo>
                  <a:lnTo>
                    <a:pt x="779812" y="100679"/>
                  </a:lnTo>
                  <a:lnTo>
                    <a:pt x="777240" y="98012"/>
                  </a:lnTo>
                  <a:lnTo>
                    <a:pt x="769906" y="95631"/>
                  </a:lnTo>
                  <a:lnTo>
                    <a:pt x="763048" y="93440"/>
                  </a:lnTo>
                  <a:lnTo>
                    <a:pt x="759809" y="90392"/>
                  </a:lnTo>
                  <a:lnTo>
                    <a:pt x="757142" y="86392"/>
                  </a:lnTo>
                  <a:lnTo>
                    <a:pt x="749141" y="79343"/>
                  </a:lnTo>
                  <a:lnTo>
                    <a:pt x="746474" y="78105"/>
                  </a:lnTo>
                  <a:lnTo>
                    <a:pt x="737807" y="62770"/>
                  </a:lnTo>
                  <a:lnTo>
                    <a:pt x="734473" y="58674"/>
                  </a:lnTo>
                  <a:lnTo>
                    <a:pt x="725995" y="55626"/>
                  </a:lnTo>
                  <a:lnTo>
                    <a:pt x="710279" y="57245"/>
                  </a:lnTo>
                  <a:lnTo>
                    <a:pt x="705326" y="55150"/>
                  </a:lnTo>
                  <a:lnTo>
                    <a:pt x="709327" y="70675"/>
                  </a:lnTo>
                  <a:lnTo>
                    <a:pt x="714756" y="83344"/>
                  </a:lnTo>
                  <a:lnTo>
                    <a:pt x="714947" y="88392"/>
                  </a:lnTo>
                  <a:lnTo>
                    <a:pt x="713232" y="96298"/>
                  </a:lnTo>
                  <a:lnTo>
                    <a:pt x="710279" y="101155"/>
                  </a:lnTo>
                  <a:lnTo>
                    <a:pt x="708850" y="128683"/>
                  </a:lnTo>
                  <a:lnTo>
                    <a:pt x="693515" y="135065"/>
                  </a:lnTo>
                  <a:lnTo>
                    <a:pt x="678275" y="149542"/>
                  </a:lnTo>
                  <a:lnTo>
                    <a:pt x="672274" y="154210"/>
                  </a:lnTo>
                  <a:lnTo>
                    <a:pt x="667226" y="156591"/>
                  </a:lnTo>
                  <a:lnTo>
                    <a:pt x="655034" y="158972"/>
                  </a:lnTo>
                  <a:lnTo>
                    <a:pt x="652082" y="160782"/>
                  </a:lnTo>
                  <a:lnTo>
                    <a:pt x="650843" y="162211"/>
                  </a:lnTo>
                  <a:lnTo>
                    <a:pt x="651320" y="166973"/>
                  </a:lnTo>
                  <a:lnTo>
                    <a:pt x="643985" y="165640"/>
                  </a:lnTo>
                  <a:lnTo>
                    <a:pt x="636461" y="164116"/>
                  </a:lnTo>
                  <a:lnTo>
                    <a:pt x="620363" y="155734"/>
                  </a:lnTo>
                  <a:lnTo>
                    <a:pt x="612648" y="149733"/>
                  </a:lnTo>
                  <a:lnTo>
                    <a:pt x="608171" y="145161"/>
                  </a:lnTo>
                  <a:lnTo>
                    <a:pt x="606076" y="137541"/>
                  </a:lnTo>
                  <a:lnTo>
                    <a:pt x="601313" y="135731"/>
                  </a:lnTo>
                  <a:lnTo>
                    <a:pt x="595408" y="138779"/>
                  </a:lnTo>
                  <a:lnTo>
                    <a:pt x="587026" y="142970"/>
                  </a:lnTo>
                  <a:lnTo>
                    <a:pt x="581882" y="144399"/>
                  </a:lnTo>
                  <a:lnTo>
                    <a:pt x="577596" y="143637"/>
                  </a:lnTo>
                  <a:lnTo>
                    <a:pt x="575500" y="145161"/>
                  </a:lnTo>
                  <a:lnTo>
                    <a:pt x="573310" y="148876"/>
                  </a:lnTo>
                  <a:lnTo>
                    <a:pt x="572833" y="153638"/>
                  </a:lnTo>
                  <a:lnTo>
                    <a:pt x="568071" y="159544"/>
                  </a:lnTo>
                  <a:lnTo>
                    <a:pt x="563499" y="160973"/>
                  </a:lnTo>
                  <a:lnTo>
                    <a:pt x="556641" y="160877"/>
                  </a:lnTo>
                  <a:lnTo>
                    <a:pt x="551593" y="158686"/>
                  </a:lnTo>
                  <a:lnTo>
                    <a:pt x="539591" y="151067"/>
                  </a:lnTo>
                  <a:lnTo>
                    <a:pt x="518827" y="146685"/>
                  </a:lnTo>
                  <a:lnTo>
                    <a:pt x="505873" y="141446"/>
                  </a:lnTo>
                  <a:lnTo>
                    <a:pt x="508825" y="131254"/>
                  </a:lnTo>
                  <a:lnTo>
                    <a:pt x="504920" y="123063"/>
                  </a:lnTo>
                  <a:lnTo>
                    <a:pt x="504253" y="116777"/>
                  </a:lnTo>
                  <a:lnTo>
                    <a:pt x="482822" y="118110"/>
                  </a:lnTo>
                  <a:lnTo>
                    <a:pt x="480441" y="116205"/>
                  </a:lnTo>
                  <a:lnTo>
                    <a:pt x="476440" y="114109"/>
                  </a:lnTo>
                  <a:lnTo>
                    <a:pt x="474345" y="108490"/>
                  </a:lnTo>
                  <a:lnTo>
                    <a:pt x="471773" y="106108"/>
                  </a:lnTo>
                  <a:lnTo>
                    <a:pt x="467106" y="105823"/>
                  </a:lnTo>
                  <a:lnTo>
                    <a:pt x="438817" y="111252"/>
                  </a:lnTo>
                  <a:lnTo>
                    <a:pt x="434911" y="113157"/>
                  </a:lnTo>
                  <a:lnTo>
                    <a:pt x="432149" y="115252"/>
                  </a:lnTo>
                  <a:lnTo>
                    <a:pt x="428244" y="117443"/>
                  </a:lnTo>
                  <a:lnTo>
                    <a:pt x="421481" y="115633"/>
                  </a:lnTo>
                  <a:lnTo>
                    <a:pt x="415099" y="111442"/>
                  </a:lnTo>
                  <a:lnTo>
                    <a:pt x="410718" y="107061"/>
                  </a:lnTo>
                  <a:lnTo>
                    <a:pt x="413861" y="89916"/>
                  </a:lnTo>
                  <a:lnTo>
                    <a:pt x="412051" y="87344"/>
                  </a:lnTo>
                  <a:lnTo>
                    <a:pt x="415957" y="67342"/>
                  </a:lnTo>
                  <a:lnTo>
                    <a:pt x="402146" y="51721"/>
                  </a:lnTo>
                  <a:lnTo>
                    <a:pt x="396049" y="41719"/>
                  </a:lnTo>
                  <a:lnTo>
                    <a:pt x="391668" y="30194"/>
                  </a:lnTo>
                  <a:lnTo>
                    <a:pt x="376999" y="14002"/>
                  </a:lnTo>
                  <a:lnTo>
                    <a:pt x="360140" y="3810"/>
                  </a:lnTo>
                  <a:lnTo>
                    <a:pt x="350234" y="3810"/>
                  </a:lnTo>
                  <a:lnTo>
                    <a:pt x="345091" y="2381"/>
                  </a:lnTo>
                  <a:lnTo>
                    <a:pt x="313563" y="0"/>
                  </a:lnTo>
                  <a:lnTo>
                    <a:pt x="296132" y="7334"/>
                  </a:lnTo>
                  <a:lnTo>
                    <a:pt x="305753" y="56007"/>
                  </a:lnTo>
                  <a:lnTo>
                    <a:pt x="292132" y="67723"/>
                  </a:lnTo>
                  <a:lnTo>
                    <a:pt x="275463" y="72771"/>
                  </a:lnTo>
                  <a:lnTo>
                    <a:pt x="270891" y="72866"/>
                  </a:lnTo>
                  <a:lnTo>
                    <a:pt x="267938" y="71628"/>
                  </a:lnTo>
                  <a:lnTo>
                    <a:pt x="262319" y="66770"/>
                  </a:lnTo>
                  <a:lnTo>
                    <a:pt x="241649" y="80010"/>
                  </a:lnTo>
                  <a:lnTo>
                    <a:pt x="239268" y="85725"/>
                  </a:lnTo>
                  <a:lnTo>
                    <a:pt x="238887" y="91916"/>
                  </a:lnTo>
                  <a:lnTo>
                    <a:pt x="242888" y="103251"/>
                  </a:lnTo>
                  <a:lnTo>
                    <a:pt x="232981" y="127444"/>
                  </a:lnTo>
                  <a:lnTo>
                    <a:pt x="222313" y="131064"/>
                  </a:lnTo>
                  <a:lnTo>
                    <a:pt x="200311" y="130492"/>
                  </a:lnTo>
                  <a:lnTo>
                    <a:pt x="191643" y="134874"/>
                  </a:lnTo>
                  <a:lnTo>
                    <a:pt x="183166" y="143732"/>
                  </a:lnTo>
                  <a:lnTo>
                    <a:pt x="164306" y="139160"/>
                  </a:lnTo>
                  <a:lnTo>
                    <a:pt x="154876" y="144304"/>
                  </a:lnTo>
                  <a:lnTo>
                    <a:pt x="148971" y="144971"/>
                  </a:lnTo>
                  <a:lnTo>
                    <a:pt x="127444" y="141923"/>
                  </a:lnTo>
                  <a:lnTo>
                    <a:pt x="110871" y="130778"/>
                  </a:lnTo>
                  <a:lnTo>
                    <a:pt x="78676" y="130111"/>
                  </a:lnTo>
                  <a:lnTo>
                    <a:pt x="67627" y="131921"/>
                  </a:lnTo>
                  <a:lnTo>
                    <a:pt x="48482" y="139732"/>
                  </a:lnTo>
                  <a:lnTo>
                    <a:pt x="38481" y="141161"/>
                  </a:lnTo>
                  <a:lnTo>
                    <a:pt x="40386" y="153734"/>
                  </a:lnTo>
                  <a:lnTo>
                    <a:pt x="49530" y="158496"/>
                  </a:lnTo>
                  <a:lnTo>
                    <a:pt x="53149" y="167830"/>
                  </a:lnTo>
                  <a:lnTo>
                    <a:pt x="61436" y="177832"/>
                  </a:lnTo>
                  <a:lnTo>
                    <a:pt x="59531" y="187357"/>
                  </a:lnTo>
                  <a:lnTo>
                    <a:pt x="54292" y="197072"/>
                  </a:lnTo>
                  <a:lnTo>
                    <a:pt x="49816" y="201740"/>
                  </a:lnTo>
                  <a:lnTo>
                    <a:pt x="45053" y="204025"/>
                  </a:lnTo>
                  <a:lnTo>
                    <a:pt x="35719" y="204025"/>
                  </a:lnTo>
                  <a:lnTo>
                    <a:pt x="30956" y="204883"/>
                  </a:lnTo>
                  <a:lnTo>
                    <a:pt x="29432" y="208217"/>
                  </a:lnTo>
                  <a:lnTo>
                    <a:pt x="29337" y="211550"/>
                  </a:lnTo>
                  <a:lnTo>
                    <a:pt x="29432" y="214979"/>
                  </a:lnTo>
                  <a:lnTo>
                    <a:pt x="30099" y="217837"/>
                  </a:lnTo>
                  <a:lnTo>
                    <a:pt x="32290" y="219265"/>
                  </a:lnTo>
                  <a:lnTo>
                    <a:pt x="33909" y="222409"/>
                  </a:lnTo>
                  <a:lnTo>
                    <a:pt x="35242" y="224028"/>
                  </a:lnTo>
                  <a:lnTo>
                    <a:pt x="37624" y="231553"/>
                  </a:lnTo>
                  <a:lnTo>
                    <a:pt x="28003" y="232219"/>
                  </a:lnTo>
                  <a:lnTo>
                    <a:pt x="20955" y="236029"/>
                  </a:lnTo>
                  <a:lnTo>
                    <a:pt x="13430" y="233553"/>
                  </a:lnTo>
                  <a:lnTo>
                    <a:pt x="12001" y="233744"/>
                  </a:lnTo>
                  <a:lnTo>
                    <a:pt x="4191" y="233648"/>
                  </a:lnTo>
                  <a:lnTo>
                    <a:pt x="0" y="284512"/>
                  </a:lnTo>
                  <a:lnTo>
                    <a:pt x="15526" y="297180"/>
                  </a:lnTo>
                  <a:lnTo>
                    <a:pt x="16954" y="302323"/>
                  </a:lnTo>
                  <a:lnTo>
                    <a:pt x="18193" y="311086"/>
                  </a:lnTo>
                  <a:lnTo>
                    <a:pt x="16097" y="315563"/>
                  </a:lnTo>
                  <a:lnTo>
                    <a:pt x="13716" y="319469"/>
                  </a:lnTo>
                  <a:lnTo>
                    <a:pt x="9811" y="332994"/>
                  </a:lnTo>
                  <a:lnTo>
                    <a:pt x="25717" y="334899"/>
                  </a:lnTo>
                  <a:lnTo>
                    <a:pt x="32956" y="337280"/>
                  </a:lnTo>
                  <a:lnTo>
                    <a:pt x="46863" y="348425"/>
                  </a:lnTo>
                  <a:lnTo>
                    <a:pt x="61150" y="352234"/>
                  </a:lnTo>
                  <a:lnTo>
                    <a:pt x="61627" y="352330"/>
                  </a:lnTo>
                  <a:lnTo>
                    <a:pt x="73057" y="344329"/>
                  </a:lnTo>
                  <a:lnTo>
                    <a:pt x="86868" y="341757"/>
                  </a:lnTo>
                  <a:lnTo>
                    <a:pt x="99536" y="348901"/>
                  </a:lnTo>
                  <a:lnTo>
                    <a:pt x="108966" y="369189"/>
                  </a:lnTo>
                  <a:lnTo>
                    <a:pt x="122777" y="403860"/>
                  </a:lnTo>
                  <a:lnTo>
                    <a:pt x="140494" y="417671"/>
                  </a:lnTo>
                  <a:lnTo>
                    <a:pt x="160115" y="412909"/>
                  </a:lnTo>
                  <a:lnTo>
                    <a:pt x="179642" y="391763"/>
                  </a:lnTo>
                  <a:lnTo>
                    <a:pt x="176308" y="384524"/>
                  </a:lnTo>
                  <a:lnTo>
                    <a:pt x="183451" y="379857"/>
                  </a:lnTo>
                  <a:lnTo>
                    <a:pt x="228600" y="369284"/>
                  </a:lnTo>
                  <a:lnTo>
                    <a:pt x="237268" y="370999"/>
                  </a:lnTo>
                  <a:lnTo>
                    <a:pt x="263461" y="382238"/>
                  </a:lnTo>
                  <a:lnTo>
                    <a:pt x="303752" y="399383"/>
                  </a:lnTo>
                  <a:lnTo>
                    <a:pt x="317754" y="400431"/>
                  </a:lnTo>
                  <a:lnTo>
                    <a:pt x="341186" y="386429"/>
                  </a:lnTo>
                  <a:lnTo>
                    <a:pt x="353759" y="382810"/>
                  </a:lnTo>
                  <a:lnTo>
                    <a:pt x="380809" y="384143"/>
                  </a:lnTo>
                  <a:lnTo>
                    <a:pt x="391478" y="382334"/>
                  </a:lnTo>
                  <a:lnTo>
                    <a:pt x="394716" y="383572"/>
                  </a:lnTo>
                  <a:lnTo>
                    <a:pt x="397955" y="388430"/>
                  </a:lnTo>
                  <a:lnTo>
                    <a:pt x="398526" y="393573"/>
                  </a:lnTo>
                  <a:lnTo>
                    <a:pt x="398050" y="398050"/>
                  </a:lnTo>
                  <a:lnTo>
                    <a:pt x="398526" y="400336"/>
                  </a:lnTo>
                  <a:lnTo>
                    <a:pt x="410718" y="402336"/>
                  </a:lnTo>
                  <a:lnTo>
                    <a:pt x="437483" y="396050"/>
                  </a:lnTo>
                  <a:lnTo>
                    <a:pt x="450437" y="396430"/>
                  </a:lnTo>
                  <a:lnTo>
                    <a:pt x="455486" y="398050"/>
                  </a:lnTo>
                  <a:lnTo>
                    <a:pt x="498348" y="411861"/>
                  </a:lnTo>
                  <a:lnTo>
                    <a:pt x="534924" y="440722"/>
                  </a:lnTo>
                  <a:lnTo>
                    <a:pt x="547973" y="448151"/>
                  </a:lnTo>
                  <a:lnTo>
                    <a:pt x="559784" y="450437"/>
                  </a:lnTo>
                  <a:lnTo>
                    <a:pt x="560356" y="450342"/>
                  </a:lnTo>
                  <a:lnTo>
                    <a:pt x="570643" y="448437"/>
                  </a:lnTo>
                  <a:lnTo>
                    <a:pt x="617696" y="423672"/>
                  </a:lnTo>
                  <a:lnTo>
                    <a:pt x="629698" y="421576"/>
                  </a:lnTo>
                  <a:lnTo>
                    <a:pt x="642271" y="426530"/>
                  </a:lnTo>
                  <a:lnTo>
                    <a:pt x="667036" y="444722"/>
                  </a:lnTo>
                  <a:lnTo>
                    <a:pt x="679799" y="448246"/>
                  </a:lnTo>
                  <a:lnTo>
                    <a:pt x="693039" y="442436"/>
                  </a:lnTo>
                  <a:lnTo>
                    <a:pt x="715518" y="429292"/>
                  </a:lnTo>
                  <a:lnTo>
                    <a:pt x="722852" y="421576"/>
                  </a:lnTo>
                  <a:lnTo>
                    <a:pt x="728662" y="413671"/>
                  </a:lnTo>
                  <a:lnTo>
                    <a:pt x="754570" y="378428"/>
                  </a:lnTo>
                  <a:lnTo>
                    <a:pt x="769906" y="366331"/>
                  </a:lnTo>
                  <a:lnTo>
                    <a:pt x="784098" y="359950"/>
                  </a:lnTo>
                  <a:lnTo>
                    <a:pt x="819340" y="344234"/>
                  </a:lnTo>
                  <a:lnTo>
                    <a:pt x="823246" y="344138"/>
                  </a:lnTo>
                  <a:lnTo>
                    <a:pt x="831818" y="347567"/>
                  </a:lnTo>
                  <a:lnTo>
                    <a:pt x="835057" y="346805"/>
                  </a:lnTo>
                  <a:lnTo>
                    <a:pt x="837438" y="340709"/>
                  </a:lnTo>
                  <a:lnTo>
                    <a:pt x="837914" y="332899"/>
                  </a:lnTo>
                  <a:lnTo>
                    <a:pt x="839438" y="325374"/>
                  </a:lnTo>
                  <a:lnTo>
                    <a:pt x="844772" y="320326"/>
                  </a:lnTo>
                  <a:lnTo>
                    <a:pt x="853059" y="322993"/>
                  </a:lnTo>
                  <a:lnTo>
                    <a:pt x="860012" y="334804"/>
                  </a:lnTo>
                  <a:lnTo>
                    <a:pt x="870204" y="364426"/>
                  </a:lnTo>
                  <a:lnTo>
                    <a:pt x="880300" y="407003"/>
                  </a:lnTo>
                  <a:lnTo>
                    <a:pt x="884587" y="420053"/>
                  </a:lnTo>
                  <a:lnTo>
                    <a:pt x="888492" y="427196"/>
                  </a:lnTo>
                  <a:lnTo>
                    <a:pt x="901446" y="441674"/>
                  </a:lnTo>
                  <a:lnTo>
                    <a:pt x="905256" y="448532"/>
                  </a:lnTo>
                  <a:lnTo>
                    <a:pt x="912209" y="471011"/>
                  </a:lnTo>
                  <a:lnTo>
                    <a:pt x="923544" y="492157"/>
                  </a:lnTo>
                  <a:lnTo>
                    <a:pt x="937546" y="502539"/>
                  </a:lnTo>
                  <a:lnTo>
                    <a:pt x="1030986" y="518731"/>
                  </a:lnTo>
                  <a:lnTo>
                    <a:pt x="1072134" y="525875"/>
                  </a:lnTo>
                  <a:lnTo>
                    <a:pt x="1098614" y="521017"/>
                  </a:lnTo>
                  <a:lnTo>
                    <a:pt x="1118140" y="530447"/>
                  </a:lnTo>
                  <a:lnTo>
                    <a:pt x="1124807" y="531876"/>
                  </a:lnTo>
                  <a:lnTo>
                    <a:pt x="1148048" y="529971"/>
                  </a:lnTo>
                  <a:lnTo>
                    <a:pt x="1152811" y="532067"/>
                  </a:lnTo>
                  <a:lnTo>
                    <a:pt x="1155668" y="538163"/>
                  </a:lnTo>
                  <a:lnTo>
                    <a:pt x="1162907" y="561689"/>
                  </a:lnTo>
                  <a:lnTo>
                    <a:pt x="1166241" y="569024"/>
                  </a:lnTo>
                  <a:lnTo>
                    <a:pt x="1171004" y="573786"/>
                  </a:lnTo>
                  <a:lnTo>
                    <a:pt x="1193387" y="589407"/>
                  </a:lnTo>
                  <a:lnTo>
                    <a:pt x="1204817" y="602361"/>
                  </a:lnTo>
                  <a:lnTo>
                    <a:pt x="1204912" y="602266"/>
                  </a:lnTo>
                  <a:lnTo>
                    <a:pt x="1210723" y="596741"/>
                  </a:lnTo>
                  <a:lnTo>
                    <a:pt x="1221200" y="589788"/>
                  </a:lnTo>
                  <a:lnTo>
                    <a:pt x="1223962" y="584645"/>
                  </a:lnTo>
                  <a:lnTo>
                    <a:pt x="1225582" y="578072"/>
                  </a:lnTo>
                  <a:lnTo>
                    <a:pt x="1229868" y="573214"/>
                  </a:lnTo>
                  <a:lnTo>
                    <a:pt x="1227487" y="568452"/>
                  </a:lnTo>
                  <a:lnTo>
                    <a:pt x="1226344" y="565309"/>
                  </a:lnTo>
                  <a:lnTo>
                    <a:pt x="1221391" y="557593"/>
                  </a:lnTo>
                  <a:lnTo>
                    <a:pt x="1220057" y="553879"/>
                  </a:lnTo>
                  <a:lnTo>
                    <a:pt x="1218724" y="544639"/>
                  </a:lnTo>
                  <a:lnTo>
                    <a:pt x="1251680" y="574453"/>
                  </a:lnTo>
                  <a:lnTo>
                    <a:pt x="1255681" y="581025"/>
                  </a:lnTo>
                  <a:lnTo>
                    <a:pt x="1261777" y="587216"/>
                  </a:lnTo>
                  <a:lnTo>
                    <a:pt x="1266730" y="586454"/>
                  </a:lnTo>
                  <a:lnTo>
                    <a:pt x="1277493" y="577405"/>
                  </a:lnTo>
                  <a:lnTo>
                    <a:pt x="1280350" y="574167"/>
                  </a:lnTo>
                  <a:lnTo>
                    <a:pt x="1287399" y="569405"/>
                  </a:lnTo>
                  <a:lnTo>
                    <a:pt x="1294352" y="574929"/>
                  </a:lnTo>
                  <a:lnTo>
                    <a:pt x="1298829" y="582454"/>
                  </a:lnTo>
                  <a:lnTo>
                    <a:pt x="1302449" y="584073"/>
                  </a:lnTo>
                  <a:lnTo>
                    <a:pt x="1307402" y="583121"/>
                  </a:lnTo>
                  <a:lnTo>
                    <a:pt x="1315307" y="575310"/>
                  </a:lnTo>
                  <a:lnTo>
                    <a:pt x="1320451" y="567785"/>
                  </a:lnTo>
                  <a:lnTo>
                    <a:pt x="1322451" y="563404"/>
                  </a:lnTo>
                  <a:lnTo>
                    <a:pt x="1326737" y="559499"/>
                  </a:lnTo>
                  <a:lnTo>
                    <a:pt x="1331404" y="560070"/>
                  </a:lnTo>
                  <a:lnTo>
                    <a:pt x="1334738" y="561689"/>
                  </a:lnTo>
                  <a:lnTo>
                    <a:pt x="1343787" y="554164"/>
                  </a:lnTo>
                  <a:lnTo>
                    <a:pt x="1343978" y="547783"/>
                  </a:lnTo>
                  <a:lnTo>
                    <a:pt x="1343311" y="545878"/>
                  </a:lnTo>
                  <a:lnTo>
                    <a:pt x="1338548" y="538829"/>
                  </a:lnTo>
                  <a:lnTo>
                    <a:pt x="1364552" y="516160"/>
                  </a:lnTo>
                  <a:lnTo>
                    <a:pt x="1369981" y="514445"/>
                  </a:lnTo>
                  <a:lnTo>
                    <a:pt x="1379220" y="513683"/>
                  </a:lnTo>
                  <a:lnTo>
                    <a:pt x="1384554" y="517208"/>
                  </a:lnTo>
                  <a:lnTo>
                    <a:pt x="1394365" y="519398"/>
                  </a:lnTo>
                  <a:lnTo>
                    <a:pt x="1403223" y="523208"/>
                  </a:lnTo>
                  <a:lnTo>
                    <a:pt x="1406366" y="525399"/>
                  </a:lnTo>
                  <a:lnTo>
                    <a:pt x="1408081" y="528447"/>
                  </a:lnTo>
                  <a:lnTo>
                    <a:pt x="1409319" y="531590"/>
                  </a:lnTo>
                  <a:lnTo>
                    <a:pt x="1408462" y="536067"/>
                  </a:lnTo>
                  <a:lnTo>
                    <a:pt x="1407128" y="539115"/>
                  </a:lnTo>
                  <a:lnTo>
                    <a:pt x="1407604" y="544639"/>
                  </a:lnTo>
                  <a:lnTo>
                    <a:pt x="1418844" y="565118"/>
                  </a:lnTo>
                  <a:lnTo>
                    <a:pt x="1417796" y="555022"/>
                  </a:lnTo>
                  <a:lnTo>
                    <a:pt x="1417129" y="536638"/>
                  </a:lnTo>
                  <a:lnTo>
                    <a:pt x="1415510" y="525971"/>
                  </a:lnTo>
                  <a:lnTo>
                    <a:pt x="1412272" y="516826"/>
                  </a:lnTo>
                  <a:lnTo>
                    <a:pt x="1401604" y="502349"/>
                  </a:lnTo>
                  <a:lnTo>
                    <a:pt x="1387316" y="483108"/>
                  </a:lnTo>
                  <a:lnTo>
                    <a:pt x="1381506" y="479108"/>
                  </a:lnTo>
                  <a:lnTo>
                    <a:pt x="1377601" y="478441"/>
                  </a:lnTo>
                  <a:lnTo>
                    <a:pt x="1369886" y="475488"/>
                  </a:lnTo>
                  <a:lnTo>
                    <a:pt x="1365504" y="474726"/>
                  </a:lnTo>
                  <a:lnTo>
                    <a:pt x="1359789" y="472440"/>
                  </a:lnTo>
                  <a:lnTo>
                    <a:pt x="1358075" y="466344"/>
                  </a:lnTo>
                  <a:lnTo>
                    <a:pt x="1358837" y="450437"/>
                  </a:lnTo>
                  <a:lnTo>
                    <a:pt x="1359313" y="446818"/>
                  </a:lnTo>
                  <a:lnTo>
                    <a:pt x="1360456" y="442436"/>
                  </a:lnTo>
                  <a:lnTo>
                    <a:pt x="1361408" y="437483"/>
                  </a:lnTo>
                  <a:lnTo>
                    <a:pt x="1361504" y="431673"/>
                  </a:lnTo>
                  <a:lnTo>
                    <a:pt x="1360837" y="432245"/>
                  </a:lnTo>
                  <a:lnTo>
                    <a:pt x="1359122" y="430816"/>
                  </a:lnTo>
                  <a:lnTo>
                    <a:pt x="1357217" y="428625"/>
                  </a:lnTo>
                  <a:lnTo>
                    <a:pt x="1356170" y="426910"/>
                  </a:lnTo>
                  <a:lnTo>
                    <a:pt x="1355789" y="423291"/>
                  </a:lnTo>
                  <a:lnTo>
                    <a:pt x="1356170" y="409670"/>
                  </a:lnTo>
                  <a:lnTo>
                    <a:pt x="1354931" y="405955"/>
                  </a:lnTo>
                  <a:lnTo>
                    <a:pt x="1349407" y="394430"/>
                  </a:lnTo>
                  <a:lnTo>
                    <a:pt x="1348169" y="390716"/>
                  </a:lnTo>
                  <a:lnTo>
                    <a:pt x="1347883" y="376047"/>
                  </a:lnTo>
                  <a:lnTo>
                    <a:pt x="1347025" y="369760"/>
                  </a:lnTo>
                  <a:lnTo>
                    <a:pt x="1345597" y="364141"/>
                  </a:lnTo>
                  <a:lnTo>
                    <a:pt x="1340739" y="357854"/>
                  </a:lnTo>
                  <a:lnTo>
                    <a:pt x="1326833" y="346138"/>
                  </a:lnTo>
                  <a:lnTo>
                    <a:pt x="1318927" y="345757"/>
                  </a:lnTo>
                  <a:lnTo>
                    <a:pt x="1344168" y="329660"/>
                  </a:lnTo>
                  <a:lnTo>
                    <a:pt x="1358932" y="309563"/>
                  </a:lnTo>
                  <a:lnTo>
                    <a:pt x="1362075" y="298799"/>
                  </a:lnTo>
                  <a:lnTo>
                    <a:pt x="1375124" y="280702"/>
                  </a:lnTo>
                  <a:lnTo>
                    <a:pt x="1384554" y="271367"/>
                  </a:lnTo>
                  <a:lnTo>
                    <a:pt x="1397508" y="267176"/>
                  </a:lnTo>
                  <a:lnTo>
                    <a:pt x="1404842" y="268796"/>
                  </a:lnTo>
                  <a:lnTo>
                    <a:pt x="1407319" y="271367"/>
                  </a:lnTo>
                  <a:lnTo>
                    <a:pt x="1409319" y="274987"/>
                  </a:lnTo>
                  <a:lnTo>
                    <a:pt x="1410272" y="281083"/>
                  </a:lnTo>
                  <a:lnTo>
                    <a:pt x="1421892" y="297752"/>
                  </a:lnTo>
                  <a:lnTo>
                    <a:pt x="1425607" y="314515"/>
                  </a:lnTo>
                  <a:lnTo>
                    <a:pt x="1444943" y="304324"/>
                  </a:lnTo>
                  <a:lnTo>
                    <a:pt x="1454087" y="296799"/>
                  </a:lnTo>
                  <a:lnTo>
                    <a:pt x="1457992" y="292036"/>
                  </a:lnTo>
                  <a:lnTo>
                    <a:pt x="1462754" y="287655"/>
                  </a:lnTo>
                  <a:lnTo>
                    <a:pt x="1469422" y="284036"/>
                  </a:lnTo>
                  <a:lnTo>
                    <a:pt x="1478756" y="282702"/>
                  </a:lnTo>
                  <a:lnTo>
                    <a:pt x="1490472" y="284321"/>
                  </a:lnTo>
                  <a:lnTo>
                    <a:pt x="1494949" y="287084"/>
                  </a:lnTo>
                  <a:lnTo>
                    <a:pt x="1502283" y="289560"/>
                  </a:lnTo>
                  <a:lnTo>
                    <a:pt x="1516666" y="287750"/>
                  </a:lnTo>
                  <a:lnTo>
                    <a:pt x="1516856" y="283655"/>
                  </a:lnTo>
                  <a:lnTo>
                    <a:pt x="1517047" y="282988"/>
                  </a:lnTo>
                  <a:lnTo>
                    <a:pt x="1515428" y="282226"/>
                  </a:lnTo>
                  <a:lnTo>
                    <a:pt x="1515618" y="278702"/>
                  </a:lnTo>
                  <a:lnTo>
                    <a:pt x="1516190" y="275177"/>
                  </a:lnTo>
                  <a:lnTo>
                    <a:pt x="1528858" y="248984"/>
                  </a:lnTo>
                  <a:lnTo>
                    <a:pt x="1559528" y="247269"/>
                  </a:lnTo>
                  <a:lnTo>
                    <a:pt x="1565720" y="249365"/>
                  </a:lnTo>
                  <a:lnTo>
                    <a:pt x="1574006" y="238315"/>
                  </a:lnTo>
                  <a:lnTo>
                    <a:pt x="1568387" y="224504"/>
                  </a:lnTo>
                  <a:lnTo>
                    <a:pt x="1571244" y="218218"/>
                  </a:lnTo>
                  <a:lnTo>
                    <a:pt x="1576387" y="212122"/>
                  </a:lnTo>
                  <a:lnTo>
                    <a:pt x="1591628" y="204216"/>
                  </a:lnTo>
                  <a:lnTo>
                    <a:pt x="1592961" y="201930"/>
                  </a:lnTo>
                  <a:lnTo>
                    <a:pt x="1591437" y="198215"/>
                  </a:lnTo>
                  <a:close/>
                </a:path>
              </a:pathLst>
            </a:custGeom>
            <a:grpFill/>
            <a:ln w="9525" cap="sq">
              <a:noFill/>
              <a:prstDash val="solid"/>
              <a:bevel/>
            </a:ln>
          </p:spPr>
          <p:txBody>
            <a:bodyPr rtlCol="0" anchor="ctr"/>
            <a:lstStyle/>
            <a:p>
              <a:endParaRPr lang="cs-CZ"/>
            </a:p>
          </p:txBody>
        </p:sp>
      </p:grpSp>
      <p:grpSp>
        <p:nvGrpSpPr>
          <p:cNvPr id="156" name="Graphic 2">
            <a:extLst>
              <a:ext uri="{FF2B5EF4-FFF2-40B4-BE49-F238E27FC236}">
                <a16:creationId xmlns:a16="http://schemas.microsoft.com/office/drawing/2014/main" id="{F39F35E7-F164-8172-5123-B1DF1C03C57C}"/>
              </a:ext>
            </a:extLst>
          </p:cNvPr>
          <p:cNvGrpSpPr/>
          <p:nvPr/>
        </p:nvGrpSpPr>
        <p:grpSpPr>
          <a:xfrm>
            <a:off x="4495649" y="3952242"/>
            <a:ext cx="3199520" cy="1945642"/>
            <a:chOff x="7958277" y="6242587"/>
            <a:chExt cx="2823019" cy="1716690"/>
          </a:xfrm>
          <a:solidFill>
            <a:schemeClr val="bg2"/>
          </a:solidFill>
        </p:grpSpPr>
        <p:sp>
          <p:nvSpPr>
            <p:cNvPr id="157" name="Freeform: Shape 156">
              <a:extLst>
                <a:ext uri="{FF2B5EF4-FFF2-40B4-BE49-F238E27FC236}">
                  <a16:creationId xmlns:a16="http://schemas.microsoft.com/office/drawing/2014/main" id="{D3D0C8D7-10F6-0860-109A-B2917CE0BFD5}"/>
                </a:ext>
              </a:extLst>
            </p:cNvPr>
            <p:cNvSpPr/>
            <p:nvPr/>
          </p:nvSpPr>
          <p:spPr>
            <a:xfrm>
              <a:off x="7958658" y="6242587"/>
              <a:ext cx="2822638" cy="1716690"/>
            </a:xfrm>
            <a:custGeom>
              <a:avLst/>
              <a:gdLst>
                <a:gd name="connsiteX0" fmla="*/ 2485644 w 2822638"/>
                <a:gd name="connsiteY0" fmla="*/ 400336 h 1716690"/>
                <a:gd name="connsiteX1" fmla="*/ 2553843 w 2822638"/>
                <a:gd name="connsiteY1" fmla="*/ 399669 h 1716690"/>
                <a:gd name="connsiteX2" fmla="*/ 2551748 w 2822638"/>
                <a:gd name="connsiteY2" fmla="*/ 426053 h 1716690"/>
                <a:gd name="connsiteX3" fmla="*/ 2552891 w 2822638"/>
                <a:gd name="connsiteY3" fmla="*/ 443198 h 1716690"/>
                <a:gd name="connsiteX4" fmla="*/ 2548700 w 2822638"/>
                <a:gd name="connsiteY4" fmla="*/ 458057 h 1716690"/>
                <a:gd name="connsiteX5" fmla="*/ 2547366 w 2822638"/>
                <a:gd name="connsiteY5" fmla="*/ 470726 h 1716690"/>
                <a:gd name="connsiteX6" fmla="*/ 2557082 w 2822638"/>
                <a:gd name="connsiteY6" fmla="*/ 481394 h 1716690"/>
                <a:gd name="connsiteX7" fmla="*/ 2597849 w 2822638"/>
                <a:gd name="connsiteY7" fmla="*/ 500729 h 1716690"/>
                <a:gd name="connsiteX8" fmla="*/ 2618708 w 2822638"/>
                <a:gd name="connsiteY8" fmla="*/ 524256 h 1716690"/>
                <a:gd name="connsiteX9" fmla="*/ 2623947 w 2822638"/>
                <a:gd name="connsiteY9" fmla="*/ 530257 h 1716690"/>
                <a:gd name="connsiteX10" fmla="*/ 2663381 w 2822638"/>
                <a:gd name="connsiteY10" fmla="*/ 554927 h 1716690"/>
                <a:gd name="connsiteX11" fmla="*/ 2670620 w 2822638"/>
                <a:gd name="connsiteY11" fmla="*/ 561404 h 1716690"/>
                <a:gd name="connsiteX12" fmla="*/ 2675477 w 2822638"/>
                <a:gd name="connsiteY12" fmla="*/ 571691 h 1716690"/>
                <a:gd name="connsiteX13" fmla="*/ 2677763 w 2822638"/>
                <a:gd name="connsiteY13" fmla="*/ 588550 h 1716690"/>
                <a:gd name="connsiteX14" fmla="*/ 2675858 w 2822638"/>
                <a:gd name="connsiteY14" fmla="*/ 628936 h 1716690"/>
                <a:gd name="connsiteX15" fmla="*/ 2673001 w 2822638"/>
                <a:gd name="connsiteY15" fmla="*/ 651034 h 1716690"/>
                <a:gd name="connsiteX16" fmla="*/ 2669286 w 2822638"/>
                <a:gd name="connsiteY16" fmla="*/ 666369 h 1716690"/>
                <a:gd name="connsiteX17" fmla="*/ 2657475 w 2822638"/>
                <a:gd name="connsiteY17" fmla="*/ 677609 h 1716690"/>
                <a:gd name="connsiteX18" fmla="*/ 2621280 w 2822638"/>
                <a:gd name="connsiteY18" fmla="*/ 695230 h 1716690"/>
                <a:gd name="connsiteX19" fmla="*/ 2613946 w 2822638"/>
                <a:gd name="connsiteY19" fmla="*/ 705993 h 1716690"/>
                <a:gd name="connsiteX20" fmla="*/ 2619375 w 2822638"/>
                <a:gd name="connsiteY20" fmla="*/ 719042 h 1716690"/>
                <a:gd name="connsiteX21" fmla="*/ 2629472 w 2822638"/>
                <a:gd name="connsiteY21" fmla="*/ 724376 h 1716690"/>
                <a:gd name="connsiteX22" fmla="*/ 2638616 w 2822638"/>
                <a:gd name="connsiteY22" fmla="*/ 731520 h 1716690"/>
                <a:gd name="connsiteX23" fmla="*/ 2640616 w 2822638"/>
                <a:gd name="connsiteY23" fmla="*/ 749903 h 1716690"/>
                <a:gd name="connsiteX24" fmla="*/ 2638711 w 2822638"/>
                <a:gd name="connsiteY24" fmla="*/ 757714 h 1716690"/>
                <a:gd name="connsiteX25" fmla="*/ 2632424 w 2822638"/>
                <a:gd name="connsiteY25" fmla="*/ 773144 h 1716690"/>
                <a:gd name="connsiteX26" fmla="*/ 2630043 w 2822638"/>
                <a:gd name="connsiteY26" fmla="*/ 781050 h 1716690"/>
                <a:gd name="connsiteX27" fmla="*/ 2628996 w 2822638"/>
                <a:gd name="connsiteY27" fmla="*/ 788289 h 1716690"/>
                <a:gd name="connsiteX28" fmla="*/ 2628138 w 2822638"/>
                <a:gd name="connsiteY28" fmla="*/ 802577 h 1716690"/>
                <a:gd name="connsiteX29" fmla="*/ 2626805 w 2822638"/>
                <a:gd name="connsiteY29" fmla="*/ 810673 h 1716690"/>
                <a:gd name="connsiteX30" fmla="*/ 2600897 w 2822638"/>
                <a:gd name="connsiteY30" fmla="*/ 866394 h 1716690"/>
                <a:gd name="connsiteX31" fmla="*/ 2592991 w 2822638"/>
                <a:gd name="connsiteY31" fmla="*/ 891350 h 1716690"/>
                <a:gd name="connsiteX32" fmla="*/ 2599277 w 2822638"/>
                <a:gd name="connsiteY32" fmla="*/ 893064 h 1716690"/>
                <a:gd name="connsiteX33" fmla="*/ 2605850 w 2822638"/>
                <a:gd name="connsiteY33" fmla="*/ 894874 h 1716690"/>
                <a:gd name="connsiteX34" fmla="*/ 2638139 w 2822638"/>
                <a:gd name="connsiteY34" fmla="*/ 876681 h 1716690"/>
                <a:gd name="connsiteX35" fmla="*/ 2654617 w 2822638"/>
                <a:gd name="connsiteY35" fmla="*/ 872109 h 1716690"/>
                <a:gd name="connsiteX36" fmla="*/ 2671953 w 2822638"/>
                <a:gd name="connsiteY36" fmla="*/ 877062 h 1716690"/>
                <a:gd name="connsiteX37" fmla="*/ 2680335 w 2822638"/>
                <a:gd name="connsiteY37" fmla="*/ 884206 h 1716690"/>
                <a:gd name="connsiteX38" fmla="*/ 2695671 w 2822638"/>
                <a:gd name="connsiteY38" fmla="*/ 901732 h 1716690"/>
                <a:gd name="connsiteX39" fmla="*/ 2704243 w 2822638"/>
                <a:gd name="connsiteY39" fmla="*/ 908590 h 1716690"/>
                <a:gd name="connsiteX40" fmla="*/ 2706338 w 2822638"/>
                <a:gd name="connsiteY40" fmla="*/ 918782 h 1716690"/>
                <a:gd name="connsiteX41" fmla="*/ 2699004 w 2822638"/>
                <a:gd name="connsiteY41" fmla="*/ 934974 h 1716690"/>
                <a:gd name="connsiteX42" fmla="*/ 2689670 w 2822638"/>
                <a:gd name="connsiteY42" fmla="*/ 951738 h 1716690"/>
                <a:gd name="connsiteX43" fmla="*/ 2685574 w 2822638"/>
                <a:gd name="connsiteY43" fmla="*/ 963644 h 1716690"/>
                <a:gd name="connsiteX44" fmla="*/ 2692241 w 2822638"/>
                <a:gd name="connsiteY44" fmla="*/ 975836 h 1716690"/>
                <a:gd name="connsiteX45" fmla="*/ 2730532 w 2822638"/>
                <a:gd name="connsiteY45" fmla="*/ 1003078 h 1716690"/>
                <a:gd name="connsiteX46" fmla="*/ 2734532 w 2822638"/>
                <a:gd name="connsiteY46" fmla="*/ 1015175 h 1716690"/>
                <a:gd name="connsiteX47" fmla="*/ 2734818 w 2822638"/>
                <a:gd name="connsiteY47" fmla="*/ 1046988 h 1716690"/>
                <a:gd name="connsiteX48" fmla="*/ 2736914 w 2822638"/>
                <a:gd name="connsiteY48" fmla="*/ 1061942 h 1716690"/>
                <a:gd name="connsiteX49" fmla="*/ 2742152 w 2822638"/>
                <a:gd name="connsiteY49" fmla="*/ 1073468 h 1716690"/>
                <a:gd name="connsiteX50" fmla="*/ 2749010 w 2822638"/>
                <a:gd name="connsiteY50" fmla="*/ 1081088 h 1716690"/>
                <a:gd name="connsiteX51" fmla="*/ 2780157 w 2822638"/>
                <a:gd name="connsiteY51" fmla="*/ 1096328 h 1716690"/>
                <a:gd name="connsiteX52" fmla="*/ 2787015 w 2822638"/>
                <a:gd name="connsiteY52" fmla="*/ 1101566 h 1716690"/>
                <a:gd name="connsiteX53" fmla="*/ 2789396 w 2822638"/>
                <a:gd name="connsiteY53" fmla="*/ 1109853 h 1716690"/>
                <a:gd name="connsiteX54" fmla="*/ 2786634 w 2822638"/>
                <a:gd name="connsiteY54" fmla="*/ 1116140 h 1716690"/>
                <a:gd name="connsiteX55" fmla="*/ 2776538 w 2822638"/>
                <a:gd name="connsiteY55" fmla="*/ 1125855 h 1716690"/>
                <a:gd name="connsiteX56" fmla="*/ 2774252 w 2822638"/>
                <a:gd name="connsiteY56" fmla="*/ 1134142 h 1716690"/>
                <a:gd name="connsiteX57" fmla="*/ 2775490 w 2822638"/>
                <a:gd name="connsiteY57" fmla="*/ 1141000 h 1716690"/>
                <a:gd name="connsiteX58" fmla="*/ 2778633 w 2822638"/>
                <a:gd name="connsiteY58" fmla="*/ 1147286 h 1716690"/>
                <a:gd name="connsiteX59" fmla="*/ 2798921 w 2822638"/>
                <a:gd name="connsiteY59" fmla="*/ 1173290 h 1716690"/>
                <a:gd name="connsiteX60" fmla="*/ 2801969 w 2822638"/>
                <a:gd name="connsiteY60" fmla="*/ 1179100 h 1716690"/>
                <a:gd name="connsiteX61" fmla="*/ 2803398 w 2822638"/>
                <a:gd name="connsiteY61" fmla="*/ 1186720 h 1716690"/>
                <a:gd name="connsiteX62" fmla="*/ 2801969 w 2822638"/>
                <a:gd name="connsiteY62" fmla="*/ 1210913 h 1716690"/>
                <a:gd name="connsiteX63" fmla="*/ 2803112 w 2822638"/>
                <a:gd name="connsiteY63" fmla="*/ 1227011 h 1716690"/>
                <a:gd name="connsiteX64" fmla="*/ 2805970 w 2822638"/>
                <a:gd name="connsiteY64" fmla="*/ 1241203 h 1716690"/>
                <a:gd name="connsiteX65" fmla="*/ 2821686 w 2822638"/>
                <a:gd name="connsiteY65" fmla="*/ 1289114 h 1716690"/>
                <a:gd name="connsiteX66" fmla="*/ 2822639 w 2822638"/>
                <a:gd name="connsiteY66" fmla="*/ 1296543 h 1716690"/>
                <a:gd name="connsiteX67" fmla="*/ 2821877 w 2822638"/>
                <a:gd name="connsiteY67" fmla="*/ 1306830 h 1716690"/>
                <a:gd name="connsiteX68" fmla="*/ 2819591 w 2822638"/>
                <a:gd name="connsiteY68" fmla="*/ 1312355 h 1716690"/>
                <a:gd name="connsiteX69" fmla="*/ 2816447 w 2822638"/>
                <a:gd name="connsiteY69" fmla="*/ 1316927 h 1716690"/>
                <a:gd name="connsiteX70" fmla="*/ 2813209 w 2822638"/>
                <a:gd name="connsiteY70" fmla="*/ 1324356 h 1716690"/>
                <a:gd name="connsiteX71" fmla="*/ 2809780 w 2822638"/>
                <a:gd name="connsiteY71" fmla="*/ 1340834 h 1716690"/>
                <a:gd name="connsiteX72" fmla="*/ 2807494 w 2822638"/>
                <a:gd name="connsiteY72" fmla="*/ 1357408 h 1716690"/>
                <a:gd name="connsiteX73" fmla="*/ 2803779 w 2822638"/>
                <a:gd name="connsiteY73" fmla="*/ 1372934 h 1716690"/>
                <a:gd name="connsiteX74" fmla="*/ 2795873 w 2822638"/>
                <a:gd name="connsiteY74" fmla="*/ 1386459 h 1716690"/>
                <a:gd name="connsiteX75" fmla="*/ 2781110 w 2822638"/>
                <a:gd name="connsiteY75" fmla="*/ 1376363 h 1716690"/>
                <a:gd name="connsiteX76" fmla="*/ 2764441 w 2822638"/>
                <a:gd name="connsiteY76" fmla="*/ 1382840 h 1716690"/>
                <a:gd name="connsiteX77" fmla="*/ 2757773 w 2822638"/>
                <a:gd name="connsiteY77" fmla="*/ 1387697 h 1716690"/>
                <a:gd name="connsiteX78" fmla="*/ 2747105 w 2822638"/>
                <a:gd name="connsiteY78" fmla="*/ 1395413 h 1716690"/>
                <a:gd name="connsiteX79" fmla="*/ 2730437 w 2822638"/>
                <a:gd name="connsiteY79" fmla="*/ 1403509 h 1716690"/>
                <a:gd name="connsiteX80" fmla="*/ 2714339 w 2822638"/>
                <a:gd name="connsiteY80" fmla="*/ 1406938 h 1716690"/>
                <a:gd name="connsiteX81" fmla="*/ 2709482 w 2822638"/>
                <a:gd name="connsiteY81" fmla="*/ 1409510 h 1716690"/>
                <a:gd name="connsiteX82" fmla="*/ 2703386 w 2822638"/>
                <a:gd name="connsiteY82" fmla="*/ 1415891 h 1716690"/>
                <a:gd name="connsiteX83" fmla="*/ 2699480 w 2822638"/>
                <a:gd name="connsiteY83" fmla="*/ 1423511 h 1716690"/>
                <a:gd name="connsiteX84" fmla="*/ 2696051 w 2822638"/>
                <a:gd name="connsiteY84" fmla="*/ 1432084 h 1716690"/>
                <a:gd name="connsiteX85" fmla="*/ 2691384 w 2822638"/>
                <a:gd name="connsiteY85" fmla="*/ 1441323 h 1716690"/>
                <a:gd name="connsiteX86" fmla="*/ 2664809 w 2822638"/>
                <a:gd name="connsiteY86" fmla="*/ 1461802 h 1716690"/>
                <a:gd name="connsiteX87" fmla="*/ 2652617 w 2822638"/>
                <a:gd name="connsiteY87" fmla="*/ 1474470 h 1716690"/>
                <a:gd name="connsiteX88" fmla="*/ 2650998 w 2822638"/>
                <a:gd name="connsiteY88" fmla="*/ 1491139 h 1716690"/>
                <a:gd name="connsiteX89" fmla="*/ 2638330 w 2822638"/>
                <a:gd name="connsiteY89" fmla="*/ 1513904 h 1716690"/>
                <a:gd name="connsiteX90" fmla="*/ 2599658 w 2822638"/>
                <a:gd name="connsiteY90" fmla="*/ 1539526 h 1716690"/>
                <a:gd name="connsiteX91" fmla="*/ 2588800 w 2822638"/>
                <a:gd name="connsiteY91" fmla="*/ 1570292 h 1716690"/>
                <a:gd name="connsiteX92" fmla="*/ 2586038 w 2822638"/>
                <a:gd name="connsiteY92" fmla="*/ 1603343 h 1716690"/>
                <a:gd name="connsiteX93" fmla="*/ 2582704 w 2822638"/>
                <a:gd name="connsiteY93" fmla="*/ 1618107 h 1716690"/>
                <a:gd name="connsiteX94" fmla="*/ 2579275 w 2822638"/>
                <a:gd name="connsiteY94" fmla="*/ 1628775 h 1716690"/>
                <a:gd name="connsiteX95" fmla="*/ 2568321 w 2822638"/>
                <a:gd name="connsiteY95" fmla="*/ 1630204 h 1716690"/>
                <a:gd name="connsiteX96" fmla="*/ 2519363 w 2822638"/>
                <a:gd name="connsiteY96" fmla="*/ 1625727 h 1716690"/>
                <a:gd name="connsiteX97" fmla="*/ 2506504 w 2822638"/>
                <a:gd name="connsiteY97" fmla="*/ 1621822 h 1716690"/>
                <a:gd name="connsiteX98" fmla="*/ 2494312 w 2822638"/>
                <a:gd name="connsiteY98" fmla="*/ 1614583 h 1716690"/>
                <a:gd name="connsiteX99" fmla="*/ 2484596 w 2822638"/>
                <a:gd name="connsiteY99" fmla="*/ 1603248 h 1716690"/>
                <a:gd name="connsiteX100" fmla="*/ 2476596 w 2822638"/>
                <a:gd name="connsiteY100" fmla="*/ 1612678 h 1716690"/>
                <a:gd name="connsiteX101" fmla="*/ 2458403 w 2822638"/>
                <a:gd name="connsiteY101" fmla="*/ 1630490 h 1716690"/>
                <a:gd name="connsiteX102" fmla="*/ 2450878 w 2822638"/>
                <a:gd name="connsiteY102" fmla="*/ 1633728 h 1716690"/>
                <a:gd name="connsiteX103" fmla="*/ 2440115 w 2822638"/>
                <a:gd name="connsiteY103" fmla="*/ 1627727 h 1716690"/>
                <a:gd name="connsiteX104" fmla="*/ 2415826 w 2822638"/>
                <a:gd name="connsiteY104" fmla="*/ 1607058 h 1716690"/>
                <a:gd name="connsiteX105" fmla="*/ 2407349 w 2822638"/>
                <a:gd name="connsiteY105" fmla="*/ 1602391 h 1716690"/>
                <a:gd name="connsiteX106" fmla="*/ 2391537 w 2822638"/>
                <a:gd name="connsiteY106" fmla="*/ 1599724 h 1716690"/>
                <a:gd name="connsiteX107" fmla="*/ 2341055 w 2822638"/>
                <a:gd name="connsiteY107" fmla="*/ 1606201 h 1716690"/>
                <a:gd name="connsiteX108" fmla="*/ 2340388 w 2822638"/>
                <a:gd name="connsiteY108" fmla="*/ 1606582 h 1716690"/>
                <a:gd name="connsiteX109" fmla="*/ 2332006 w 2822638"/>
                <a:gd name="connsiteY109" fmla="*/ 1611916 h 1716690"/>
                <a:gd name="connsiteX110" fmla="*/ 2309527 w 2822638"/>
                <a:gd name="connsiteY110" fmla="*/ 1639538 h 1716690"/>
                <a:gd name="connsiteX111" fmla="*/ 2287238 w 2822638"/>
                <a:gd name="connsiteY111" fmla="*/ 1680591 h 1716690"/>
                <a:gd name="connsiteX112" fmla="*/ 2279428 w 2822638"/>
                <a:gd name="connsiteY112" fmla="*/ 1689735 h 1716690"/>
                <a:gd name="connsiteX113" fmla="*/ 2248376 w 2822638"/>
                <a:gd name="connsiteY113" fmla="*/ 1705832 h 1716690"/>
                <a:gd name="connsiteX114" fmla="*/ 2239423 w 2822638"/>
                <a:gd name="connsiteY114" fmla="*/ 1706499 h 1716690"/>
                <a:gd name="connsiteX115" fmla="*/ 2218658 w 2822638"/>
                <a:gd name="connsiteY115" fmla="*/ 1698117 h 1716690"/>
                <a:gd name="connsiteX116" fmla="*/ 2208276 w 2822638"/>
                <a:gd name="connsiteY116" fmla="*/ 1696974 h 1716690"/>
                <a:gd name="connsiteX117" fmla="*/ 2198751 w 2822638"/>
                <a:gd name="connsiteY117" fmla="*/ 1702213 h 1716690"/>
                <a:gd name="connsiteX118" fmla="*/ 2190560 w 2822638"/>
                <a:gd name="connsiteY118" fmla="*/ 1716691 h 1716690"/>
                <a:gd name="connsiteX119" fmla="*/ 2168366 w 2822638"/>
                <a:gd name="connsiteY119" fmla="*/ 1714976 h 1716690"/>
                <a:gd name="connsiteX120" fmla="*/ 2146364 w 2822638"/>
                <a:gd name="connsiteY120" fmla="*/ 1708880 h 1716690"/>
                <a:gd name="connsiteX121" fmla="*/ 2092357 w 2822638"/>
                <a:gd name="connsiteY121" fmla="*/ 1682591 h 1716690"/>
                <a:gd name="connsiteX122" fmla="*/ 2067973 w 2822638"/>
                <a:gd name="connsiteY122" fmla="*/ 1664018 h 1716690"/>
                <a:gd name="connsiteX123" fmla="*/ 2047399 w 2822638"/>
                <a:gd name="connsiteY123" fmla="*/ 1626870 h 1716690"/>
                <a:gd name="connsiteX124" fmla="*/ 2038350 w 2822638"/>
                <a:gd name="connsiteY124" fmla="*/ 1605725 h 1716690"/>
                <a:gd name="connsiteX125" fmla="*/ 2028539 w 2822638"/>
                <a:gd name="connsiteY125" fmla="*/ 1590389 h 1716690"/>
                <a:gd name="connsiteX126" fmla="*/ 1989963 w 2822638"/>
                <a:gd name="connsiteY126" fmla="*/ 1556671 h 1716690"/>
                <a:gd name="connsiteX127" fmla="*/ 1965865 w 2822638"/>
                <a:gd name="connsiteY127" fmla="*/ 1529429 h 1716690"/>
                <a:gd name="connsiteX128" fmla="*/ 1943862 w 2822638"/>
                <a:gd name="connsiteY128" fmla="*/ 1514761 h 1716690"/>
                <a:gd name="connsiteX129" fmla="*/ 1908810 w 2822638"/>
                <a:gd name="connsiteY129" fmla="*/ 1491329 h 1716690"/>
                <a:gd name="connsiteX130" fmla="*/ 1879283 w 2822638"/>
                <a:gd name="connsiteY130" fmla="*/ 1457896 h 1716690"/>
                <a:gd name="connsiteX131" fmla="*/ 1867948 w 2822638"/>
                <a:gd name="connsiteY131" fmla="*/ 1444943 h 1716690"/>
                <a:gd name="connsiteX132" fmla="*/ 1845564 w 2822638"/>
                <a:gd name="connsiteY132" fmla="*/ 1429321 h 1716690"/>
                <a:gd name="connsiteX133" fmla="*/ 1840802 w 2822638"/>
                <a:gd name="connsiteY133" fmla="*/ 1424559 h 1716690"/>
                <a:gd name="connsiteX134" fmla="*/ 1837373 w 2822638"/>
                <a:gd name="connsiteY134" fmla="*/ 1417320 h 1716690"/>
                <a:gd name="connsiteX135" fmla="*/ 1830134 w 2822638"/>
                <a:gd name="connsiteY135" fmla="*/ 1393793 h 1716690"/>
                <a:gd name="connsiteX136" fmla="*/ 1827276 w 2822638"/>
                <a:gd name="connsiteY136" fmla="*/ 1387602 h 1716690"/>
                <a:gd name="connsiteX137" fmla="*/ 1822514 w 2822638"/>
                <a:gd name="connsiteY137" fmla="*/ 1385507 h 1716690"/>
                <a:gd name="connsiteX138" fmla="*/ 1799273 w 2822638"/>
                <a:gd name="connsiteY138" fmla="*/ 1387412 h 1716690"/>
                <a:gd name="connsiteX139" fmla="*/ 1792605 w 2822638"/>
                <a:gd name="connsiteY139" fmla="*/ 1386078 h 1716690"/>
                <a:gd name="connsiteX140" fmla="*/ 1773079 w 2822638"/>
                <a:gd name="connsiteY140" fmla="*/ 1376648 h 1716690"/>
                <a:gd name="connsiteX141" fmla="*/ 1746599 w 2822638"/>
                <a:gd name="connsiteY141" fmla="*/ 1381506 h 1716690"/>
                <a:gd name="connsiteX142" fmla="*/ 1705451 w 2822638"/>
                <a:gd name="connsiteY142" fmla="*/ 1374362 h 1716690"/>
                <a:gd name="connsiteX143" fmla="*/ 1612011 w 2822638"/>
                <a:gd name="connsiteY143" fmla="*/ 1358170 h 1716690"/>
                <a:gd name="connsiteX144" fmla="*/ 1597914 w 2822638"/>
                <a:gd name="connsiteY144" fmla="*/ 1347883 h 1716690"/>
                <a:gd name="connsiteX145" fmla="*/ 1586579 w 2822638"/>
                <a:gd name="connsiteY145" fmla="*/ 1326737 h 1716690"/>
                <a:gd name="connsiteX146" fmla="*/ 1579626 w 2822638"/>
                <a:gd name="connsiteY146" fmla="*/ 1304163 h 1716690"/>
                <a:gd name="connsiteX147" fmla="*/ 1575816 w 2822638"/>
                <a:gd name="connsiteY147" fmla="*/ 1297305 h 1716690"/>
                <a:gd name="connsiteX148" fmla="*/ 1562862 w 2822638"/>
                <a:gd name="connsiteY148" fmla="*/ 1282827 h 1716690"/>
                <a:gd name="connsiteX149" fmla="*/ 1558957 w 2822638"/>
                <a:gd name="connsiteY149" fmla="*/ 1275588 h 1716690"/>
                <a:gd name="connsiteX150" fmla="*/ 1554671 w 2822638"/>
                <a:gd name="connsiteY150" fmla="*/ 1262539 h 1716690"/>
                <a:gd name="connsiteX151" fmla="*/ 1544574 w 2822638"/>
                <a:gd name="connsiteY151" fmla="*/ 1219962 h 1716690"/>
                <a:gd name="connsiteX152" fmla="*/ 1534382 w 2822638"/>
                <a:gd name="connsiteY152" fmla="*/ 1190435 h 1716690"/>
                <a:gd name="connsiteX153" fmla="*/ 1527429 w 2822638"/>
                <a:gd name="connsiteY153" fmla="*/ 1178624 h 1716690"/>
                <a:gd name="connsiteX154" fmla="*/ 1519142 w 2822638"/>
                <a:gd name="connsiteY154" fmla="*/ 1175861 h 1716690"/>
                <a:gd name="connsiteX155" fmla="*/ 1513713 w 2822638"/>
                <a:gd name="connsiteY155" fmla="*/ 1181005 h 1716690"/>
                <a:gd name="connsiteX156" fmla="*/ 1512284 w 2822638"/>
                <a:gd name="connsiteY156" fmla="*/ 1188530 h 1716690"/>
                <a:gd name="connsiteX157" fmla="*/ 1511808 w 2822638"/>
                <a:gd name="connsiteY157" fmla="*/ 1196340 h 1716690"/>
                <a:gd name="connsiteX158" fmla="*/ 1509332 w 2822638"/>
                <a:gd name="connsiteY158" fmla="*/ 1202531 h 1716690"/>
                <a:gd name="connsiteX159" fmla="*/ 1506188 w 2822638"/>
                <a:gd name="connsiteY159" fmla="*/ 1203198 h 1716690"/>
                <a:gd name="connsiteX160" fmla="*/ 1497616 w 2822638"/>
                <a:gd name="connsiteY160" fmla="*/ 1199769 h 1716690"/>
                <a:gd name="connsiteX161" fmla="*/ 1493711 w 2822638"/>
                <a:gd name="connsiteY161" fmla="*/ 1199960 h 1716690"/>
                <a:gd name="connsiteX162" fmla="*/ 1458468 w 2822638"/>
                <a:gd name="connsiteY162" fmla="*/ 1215676 h 1716690"/>
                <a:gd name="connsiteX163" fmla="*/ 1444276 w 2822638"/>
                <a:gd name="connsiteY163" fmla="*/ 1221962 h 1716690"/>
                <a:gd name="connsiteX164" fmla="*/ 1428940 w 2822638"/>
                <a:gd name="connsiteY164" fmla="*/ 1234154 h 1716690"/>
                <a:gd name="connsiteX165" fmla="*/ 1397318 w 2822638"/>
                <a:gd name="connsiteY165" fmla="*/ 1277303 h 1716690"/>
                <a:gd name="connsiteX166" fmla="*/ 1389983 w 2822638"/>
                <a:gd name="connsiteY166" fmla="*/ 1285018 h 1716690"/>
                <a:gd name="connsiteX167" fmla="*/ 1367504 w 2822638"/>
                <a:gd name="connsiteY167" fmla="*/ 1298162 h 1716690"/>
                <a:gd name="connsiteX168" fmla="*/ 1354265 w 2822638"/>
                <a:gd name="connsiteY168" fmla="*/ 1303973 h 1716690"/>
                <a:gd name="connsiteX169" fmla="*/ 1341501 w 2822638"/>
                <a:gd name="connsiteY169" fmla="*/ 1300448 h 1716690"/>
                <a:gd name="connsiteX170" fmla="*/ 1316736 w 2822638"/>
                <a:gd name="connsiteY170" fmla="*/ 1282160 h 1716690"/>
                <a:gd name="connsiteX171" fmla="*/ 1304163 w 2822638"/>
                <a:gd name="connsiteY171" fmla="*/ 1277207 h 1716690"/>
                <a:gd name="connsiteX172" fmla="*/ 1292162 w 2822638"/>
                <a:gd name="connsiteY172" fmla="*/ 1279303 h 1716690"/>
                <a:gd name="connsiteX173" fmla="*/ 1245108 w 2822638"/>
                <a:gd name="connsiteY173" fmla="*/ 1303973 h 1716690"/>
                <a:gd name="connsiteX174" fmla="*/ 1234821 w 2822638"/>
                <a:gd name="connsiteY174" fmla="*/ 1305878 h 1716690"/>
                <a:gd name="connsiteX175" fmla="*/ 1234250 w 2822638"/>
                <a:gd name="connsiteY175" fmla="*/ 1305878 h 1716690"/>
                <a:gd name="connsiteX176" fmla="*/ 1222439 w 2822638"/>
                <a:gd name="connsiteY176" fmla="*/ 1303687 h 1716690"/>
                <a:gd name="connsiteX177" fmla="*/ 1209389 w 2822638"/>
                <a:gd name="connsiteY177" fmla="*/ 1296353 h 1716690"/>
                <a:gd name="connsiteX178" fmla="*/ 1172813 w 2822638"/>
                <a:gd name="connsiteY178" fmla="*/ 1267396 h 1716690"/>
                <a:gd name="connsiteX179" fmla="*/ 1129856 w 2822638"/>
                <a:gd name="connsiteY179" fmla="*/ 1253585 h 1716690"/>
                <a:gd name="connsiteX180" fmla="*/ 1124807 w 2822638"/>
                <a:gd name="connsiteY180" fmla="*/ 1251966 h 1716690"/>
                <a:gd name="connsiteX181" fmla="*/ 1111949 w 2822638"/>
                <a:gd name="connsiteY181" fmla="*/ 1251585 h 1716690"/>
                <a:gd name="connsiteX182" fmla="*/ 1085088 w 2822638"/>
                <a:gd name="connsiteY182" fmla="*/ 1257871 h 1716690"/>
                <a:gd name="connsiteX183" fmla="*/ 1072991 w 2822638"/>
                <a:gd name="connsiteY183" fmla="*/ 1255871 h 1716690"/>
                <a:gd name="connsiteX184" fmla="*/ 1072515 w 2822638"/>
                <a:gd name="connsiteY184" fmla="*/ 1253585 h 1716690"/>
                <a:gd name="connsiteX185" fmla="*/ 1072991 w 2822638"/>
                <a:gd name="connsiteY185" fmla="*/ 1249204 h 1716690"/>
                <a:gd name="connsiteX186" fmla="*/ 1072515 w 2822638"/>
                <a:gd name="connsiteY186" fmla="*/ 1243965 h 1716690"/>
                <a:gd name="connsiteX187" fmla="*/ 1069181 w 2822638"/>
                <a:gd name="connsiteY187" fmla="*/ 1239107 h 1716690"/>
                <a:gd name="connsiteX188" fmla="*/ 1065943 w 2822638"/>
                <a:gd name="connsiteY188" fmla="*/ 1237869 h 1716690"/>
                <a:gd name="connsiteX189" fmla="*/ 1055275 w 2822638"/>
                <a:gd name="connsiteY189" fmla="*/ 1239679 h 1716690"/>
                <a:gd name="connsiteX190" fmla="*/ 1028224 w 2822638"/>
                <a:gd name="connsiteY190" fmla="*/ 1238250 h 1716690"/>
                <a:gd name="connsiteX191" fmla="*/ 1015746 w 2822638"/>
                <a:gd name="connsiteY191" fmla="*/ 1241965 h 1716690"/>
                <a:gd name="connsiteX192" fmla="*/ 992314 w 2822638"/>
                <a:gd name="connsiteY192" fmla="*/ 1255967 h 1716690"/>
                <a:gd name="connsiteX193" fmla="*/ 978313 w 2822638"/>
                <a:gd name="connsiteY193" fmla="*/ 1254919 h 1716690"/>
                <a:gd name="connsiteX194" fmla="*/ 938022 w 2822638"/>
                <a:gd name="connsiteY194" fmla="*/ 1237679 h 1716690"/>
                <a:gd name="connsiteX195" fmla="*/ 911828 w 2822638"/>
                <a:gd name="connsiteY195" fmla="*/ 1226439 h 1716690"/>
                <a:gd name="connsiteX196" fmla="*/ 903161 w 2822638"/>
                <a:gd name="connsiteY196" fmla="*/ 1224725 h 1716690"/>
                <a:gd name="connsiteX197" fmla="*/ 858012 w 2822638"/>
                <a:gd name="connsiteY197" fmla="*/ 1235297 h 1716690"/>
                <a:gd name="connsiteX198" fmla="*/ 850868 w 2822638"/>
                <a:gd name="connsiteY198" fmla="*/ 1239869 h 1716690"/>
                <a:gd name="connsiteX199" fmla="*/ 854202 w 2822638"/>
                <a:gd name="connsiteY199" fmla="*/ 1247204 h 1716690"/>
                <a:gd name="connsiteX200" fmla="*/ 834676 w 2822638"/>
                <a:gd name="connsiteY200" fmla="*/ 1268349 h 1716690"/>
                <a:gd name="connsiteX201" fmla="*/ 815054 w 2822638"/>
                <a:gd name="connsiteY201" fmla="*/ 1273016 h 1716690"/>
                <a:gd name="connsiteX202" fmla="*/ 797338 w 2822638"/>
                <a:gd name="connsiteY202" fmla="*/ 1259205 h 1716690"/>
                <a:gd name="connsiteX203" fmla="*/ 783622 w 2822638"/>
                <a:gd name="connsiteY203" fmla="*/ 1224534 h 1716690"/>
                <a:gd name="connsiteX204" fmla="*/ 774097 w 2822638"/>
                <a:gd name="connsiteY204" fmla="*/ 1204246 h 1716690"/>
                <a:gd name="connsiteX205" fmla="*/ 761429 w 2822638"/>
                <a:gd name="connsiteY205" fmla="*/ 1197102 h 1716690"/>
                <a:gd name="connsiteX206" fmla="*/ 747617 w 2822638"/>
                <a:gd name="connsiteY206" fmla="*/ 1199674 h 1716690"/>
                <a:gd name="connsiteX207" fmla="*/ 736187 w 2822638"/>
                <a:gd name="connsiteY207" fmla="*/ 1207675 h 1716690"/>
                <a:gd name="connsiteX208" fmla="*/ 721900 w 2822638"/>
                <a:gd name="connsiteY208" fmla="*/ 1217676 h 1716690"/>
                <a:gd name="connsiteX209" fmla="*/ 666845 w 2822638"/>
                <a:gd name="connsiteY209" fmla="*/ 1240536 h 1716690"/>
                <a:gd name="connsiteX210" fmla="*/ 660940 w 2822638"/>
                <a:gd name="connsiteY210" fmla="*/ 1241393 h 1716690"/>
                <a:gd name="connsiteX211" fmla="*/ 654177 w 2822638"/>
                <a:gd name="connsiteY211" fmla="*/ 1238536 h 1716690"/>
                <a:gd name="connsiteX212" fmla="*/ 636937 w 2822638"/>
                <a:gd name="connsiteY212" fmla="*/ 1220248 h 1716690"/>
                <a:gd name="connsiteX213" fmla="*/ 626650 w 2822638"/>
                <a:gd name="connsiteY213" fmla="*/ 1214628 h 1716690"/>
                <a:gd name="connsiteX214" fmla="*/ 625697 w 2822638"/>
                <a:gd name="connsiteY214" fmla="*/ 1214152 h 1716690"/>
                <a:gd name="connsiteX215" fmla="*/ 600742 w 2822638"/>
                <a:gd name="connsiteY215" fmla="*/ 1208342 h 1716690"/>
                <a:gd name="connsiteX216" fmla="*/ 485204 w 2822638"/>
                <a:gd name="connsiteY216" fmla="*/ 1212247 h 1716690"/>
                <a:gd name="connsiteX217" fmla="*/ 477584 w 2822638"/>
                <a:gd name="connsiteY217" fmla="*/ 1209104 h 1716690"/>
                <a:gd name="connsiteX218" fmla="*/ 463106 w 2822638"/>
                <a:gd name="connsiteY218" fmla="*/ 1198245 h 1716690"/>
                <a:gd name="connsiteX219" fmla="*/ 455676 w 2822638"/>
                <a:gd name="connsiteY219" fmla="*/ 1194435 h 1716690"/>
                <a:gd name="connsiteX220" fmla="*/ 438150 w 2822638"/>
                <a:gd name="connsiteY220" fmla="*/ 1193197 h 1716690"/>
                <a:gd name="connsiteX221" fmla="*/ 395002 w 2822638"/>
                <a:gd name="connsiteY221" fmla="*/ 1213676 h 1716690"/>
                <a:gd name="connsiteX222" fmla="*/ 388049 w 2822638"/>
                <a:gd name="connsiteY222" fmla="*/ 1217009 h 1716690"/>
                <a:gd name="connsiteX223" fmla="*/ 278702 w 2822638"/>
                <a:gd name="connsiteY223" fmla="*/ 1268730 h 1716690"/>
                <a:gd name="connsiteX224" fmla="*/ 244221 w 2822638"/>
                <a:gd name="connsiteY224" fmla="*/ 1270254 h 1716690"/>
                <a:gd name="connsiteX225" fmla="*/ 229743 w 2822638"/>
                <a:gd name="connsiteY225" fmla="*/ 1277684 h 1716690"/>
                <a:gd name="connsiteX226" fmla="*/ 175355 w 2822638"/>
                <a:gd name="connsiteY226" fmla="*/ 1319689 h 1716690"/>
                <a:gd name="connsiteX227" fmla="*/ 169259 w 2822638"/>
                <a:gd name="connsiteY227" fmla="*/ 1321689 h 1716690"/>
                <a:gd name="connsiteX228" fmla="*/ 151638 w 2822638"/>
                <a:gd name="connsiteY228" fmla="*/ 1322546 h 1716690"/>
                <a:gd name="connsiteX229" fmla="*/ 139732 w 2822638"/>
                <a:gd name="connsiteY229" fmla="*/ 1328738 h 1716690"/>
                <a:gd name="connsiteX230" fmla="*/ 125254 w 2822638"/>
                <a:gd name="connsiteY230" fmla="*/ 1340930 h 1716690"/>
                <a:gd name="connsiteX231" fmla="*/ 111443 w 2822638"/>
                <a:gd name="connsiteY231" fmla="*/ 1356170 h 1716690"/>
                <a:gd name="connsiteX232" fmla="*/ 101632 w 2822638"/>
                <a:gd name="connsiteY232" fmla="*/ 1371600 h 1716690"/>
                <a:gd name="connsiteX233" fmla="*/ 94964 w 2822638"/>
                <a:gd name="connsiteY233" fmla="*/ 1394079 h 1716690"/>
                <a:gd name="connsiteX234" fmla="*/ 92107 w 2822638"/>
                <a:gd name="connsiteY234" fmla="*/ 1413320 h 1716690"/>
                <a:gd name="connsiteX235" fmla="*/ 86297 w 2822638"/>
                <a:gd name="connsiteY235" fmla="*/ 1426559 h 1716690"/>
                <a:gd name="connsiteX236" fmla="*/ 70676 w 2822638"/>
                <a:gd name="connsiteY236" fmla="*/ 1430941 h 1716690"/>
                <a:gd name="connsiteX237" fmla="*/ 47816 w 2822638"/>
                <a:gd name="connsiteY237" fmla="*/ 1431131 h 1716690"/>
                <a:gd name="connsiteX238" fmla="*/ 33052 w 2822638"/>
                <a:gd name="connsiteY238" fmla="*/ 1434846 h 1716690"/>
                <a:gd name="connsiteX239" fmla="*/ 33052 w 2822638"/>
                <a:gd name="connsiteY239" fmla="*/ 1434656 h 1716690"/>
                <a:gd name="connsiteX240" fmla="*/ 32766 w 2822638"/>
                <a:gd name="connsiteY240" fmla="*/ 1431417 h 1716690"/>
                <a:gd name="connsiteX241" fmla="*/ 28956 w 2822638"/>
                <a:gd name="connsiteY241" fmla="*/ 1405604 h 1716690"/>
                <a:gd name="connsiteX242" fmla="*/ 23527 w 2822638"/>
                <a:gd name="connsiteY242" fmla="*/ 1382649 h 1716690"/>
                <a:gd name="connsiteX243" fmla="*/ 6096 w 2822638"/>
                <a:gd name="connsiteY243" fmla="*/ 1338548 h 1716690"/>
                <a:gd name="connsiteX244" fmla="*/ 1905 w 2822638"/>
                <a:gd name="connsiteY244" fmla="*/ 1323404 h 1716690"/>
                <a:gd name="connsiteX245" fmla="*/ 191 w 2822638"/>
                <a:gd name="connsiteY245" fmla="*/ 1308354 h 1716690"/>
                <a:gd name="connsiteX246" fmla="*/ 952 w 2822638"/>
                <a:gd name="connsiteY246" fmla="*/ 1303973 h 1716690"/>
                <a:gd name="connsiteX247" fmla="*/ 4572 w 2822638"/>
                <a:gd name="connsiteY247" fmla="*/ 1290257 h 1716690"/>
                <a:gd name="connsiteX248" fmla="*/ 5525 w 2822638"/>
                <a:gd name="connsiteY248" fmla="*/ 1282256 h 1716690"/>
                <a:gd name="connsiteX249" fmla="*/ 5525 w 2822638"/>
                <a:gd name="connsiteY249" fmla="*/ 1274731 h 1716690"/>
                <a:gd name="connsiteX250" fmla="*/ 5048 w 2822638"/>
                <a:gd name="connsiteY250" fmla="*/ 1268444 h 1716690"/>
                <a:gd name="connsiteX251" fmla="*/ 952 w 2822638"/>
                <a:gd name="connsiteY251" fmla="*/ 1240822 h 1716690"/>
                <a:gd name="connsiteX252" fmla="*/ 0 w 2822638"/>
                <a:gd name="connsiteY252" fmla="*/ 1226725 h 1716690"/>
                <a:gd name="connsiteX253" fmla="*/ 762 w 2822638"/>
                <a:gd name="connsiteY253" fmla="*/ 1213199 h 1716690"/>
                <a:gd name="connsiteX254" fmla="*/ 4096 w 2822638"/>
                <a:gd name="connsiteY254" fmla="*/ 1202436 h 1716690"/>
                <a:gd name="connsiteX255" fmla="*/ 9335 w 2822638"/>
                <a:gd name="connsiteY255" fmla="*/ 1192911 h 1716690"/>
                <a:gd name="connsiteX256" fmla="*/ 11621 w 2822638"/>
                <a:gd name="connsiteY256" fmla="*/ 1187387 h 1716690"/>
                <a:gd name="connsiteX257" fmla="*/ 13526 w 2822638"/>
                <a:gd name="connsiteY257" fmla="*/ 1181005 h 1716690"/>
                <a:gd name="connsiteX258" fmla="*/ 14383 w 2822638"/>
                <a:gd name="connsiteY258" fmla="*/ 1173194 h 1716690"/>
                <a:gd name="connsiteX259" fmla="*/ 14383 w 2822638"/>
                <a:gd name="connsiteY259" fmla="*/ 1159383 h 1716690"/>
                <a:gd name="connsiteX260" fmla="*/ 16383 w 2822638"/>
                <a:gd name="connsiteY260" fmla="*/ 1152144 h 1716690"/>
                <a:gd name="connsiteX261" fmla="*/ 13526 w 2822638"/>
                <a:gd name="connsiteY261" fmla="*/ 1140238 h 1716690"/>
                <a:gd name="connsiteX262" fmla="*/ 12478 w 2822638"/>
                <a:gd name="connsiteY262" fmla="*/ 1127474 h 1716690"/>
                <a:gd name="connsiteX263" fmla="*/ 14764 w 2822638"/>
                <a:gd name="connsiteY263" fmla="*/ 1120902 h 1716690"/>
                <a:gd name="connsiteX264" fmla="*/ 21717 w 2822638"/>
                <a:gd name="connsiteY264" fmla="*/ 1127570 h 1716690"/>
                <a:gd name="connsiteX265" fmla="*/ 24194 w 2822638"/>
                <a:gd name="connsiteY265" fmla="*/ 1134904 h 1716690"/>
                <a:gd name="connsiteX266" fmla="*/ 26289 w 2822638"/>
                <a:gd name="connsiteY266" fmla="*/ 1153382 h 1716690"/>
                <a:gd name="connsiteX267" fmla="*/ 29718 w 2822638"/>
                <a:gd name="connsiteY267" fmla="*/ 1161764 h 1716690"/>
                <a:gd name="connsiteX268" fmla="*/ 24194 w 2822638"/>
                <a:gd name="connsiteY268" fmla="*/ 1171385 h 1716690"/>
                <a:gd name="connsiteX269" fmla="*/ 26861 w 2822638"/>
                <a:gd name="connsiteY269" fmla="*/ 1174052 h 1716690"/>
                <a:gd name="connsiteX270" fmla="*/ 29718 w 2822638"/>
                <a:gd name="connsiteY270" fmla="*/ 1175766 h 1716690"/>
                <a:gd name="connsiteX271" fmla="*/ 29718 w 2822638"/>
                <a:gd name="connsiteY271" fmla="*/ 1190625 h 1716690"/>
                <a:gd name="connsiteX272" fmla="*/ 24194 w 2822638"/>
                <a:gd name="connsiteY272" fmla="*/ 1199769 h 1716690"/>
                <a:gd name="connsiteX273" fmla="*/ 33052 w 2822638"/>
                <a:gd name="connsiteY273" fmla="*/ 1212533 h 1716690"/>
                <a:gd name="connsiteX274" fmla="*/ 36290 w 2822638"/>
                <a:gd name="connsiteY274" fmla="*/ 1214628 h 1716690"/>
                <a:gd name="connsiteX275" fmla="*/ 39529 w 2822638"/>
                <a:gd name="connsiteY275" fmla="*/ 1213009 h 1716690"/>
                <a:gd name="connsiteX276" fmla="*/ 42291 w 2822638"/>
                <a:gd name="connsiteY276" fmla="*/ 1208913 h 1716690"/>
                <a:gd name="connsiteX277" fmla="*/ 43339 w 2822638"/>
                <a:gd name="connsiteY277" fmla="*/ 1203389 h 1716690"/>
                <a:gd name="connsiteX278" fmla="*/ 38957 w 2822638"/>
                <a:gd name="connsiteY278" fmla="*/ 1188625 h 1716690"/>
                <a:gd name="connsiteX279" fmla="*/ 38195 w 2822638"/>
                <a:gd name="connsiteY279" fmla="*/ 1176147 h 1716690"/>
                <a:gd name="connsiteX280" fmla="*/ 38767 w 2822638"/>
                <a:gd name="connsiteY280" fmla="*/ 1164241 h 1716690"/>
                <a:gd name="connsiteX281" fmla="*/ 40291 w 2822638"/>
                <a:gd name="connsiteY281" fmla="*/ 1156716 h 1716690"/>
                <a:gd name="connsiteX282" fmla="*/ 38576 w 2822638"/>
                <a:gd name="connsiteY282" fmla="*/ 1151858 h 1716690"/>
                <a:gd name="connsiteX283" fmla="*/ 36862 w 2822638"/>
                <a:gd name="connsiteY283" fmla="*/ 1139476 h 1716690"/>
                <a:gd name="connsiteX284" fmla="*/ 34957 w 2822638"/>
                <a:gd name="connsiteY284" fmla="*/ 1132618 h 1716690"/>
                <a:gd name="connsiteX285" fmla="*/ 32861 w 2822638"/>
                <a:gd name="connsiteY285" fmla="*/ 1127379 h 1716690"/>
                <a:gd name="connsiteX286" fmla="*/ 30956 w 2822638"/>
                <a:gd name="connsiteY286" fmla="*/ 1124141 h 1716690"/>
                <a:gd name="connsiteX287" fmla="*/ 24098 w 2822638"/>
                <a:gd name="connsiteY287" fmla="*/ 1118140 h 1716690"/>
                <a:gd name="connsiteX288" fmla="*/ 19812 w 2822638"/>
                <a:gd name="connsiteY288" fmla="*/ 1116044 h 1716690"/>
                <a:gd name="connsiteX289" fmla="*/ 16288 w 2822638"/>
                <a:gd name="connsiteY289" fmla="*/ 1115568 h 1716690"/>
                <a:gd name="connsiteX290" fmla="*/ 13430 w 2822638"/>
                <a:gd name="connsiteY290" fmla="*/ 1113949 h 1716690"/>
                <a:gd name="connsiteX291" fmla="*/ 10763 w 2822638"/>
                <a:gd name="connsiteY291" fmla="*/ 1108424 h 1716690"/>
                <a:gd name="connsiteX292" fmla="*/ 9144 w 2822638"/>
                <a:gd name="connsiteY292" fmla="*/ 1100614 h 1716690"/>
                <a:gd name="connsiteX293" fmla="*/ 10287 w 2822638"/>
                <a:gd name="connsiteY293" fmla="*/ 1097471 h 1716690"/>
                <a:gd name="connsiteX294" fmla="*/ 12287 w 2822638"/>
                <a:gd name="connsiteY294" fmla="*/ 1094423 h 1716690"/>
                <a:gd name="connsiteX295" fmla="*/ 16288 w 2822638"/>
                <a:gd name="connsiteY295" fmla="*/ 1065467 h 1716690"/>
                <a:gd name="connsiteX296" fmla="*/ 30194 w 2822638"/>
                <a:gd name="connsiteY296" fmla="*/ 1024795 h 1716690"/>
                <a:gd name="connsiteX297" fmla="*/ 34957 w 2822638"/>
                <a:gd name="connsiteY297" fmla="*/ 1001744 h 1716690"/>
                <a:gd name="connsiteX298" fmla="*/ 37624 w 2822638"/>
                <a:gd name="connsiteY298" fmla="*/ 940975 h 1716690"/>
                <a:gd name="connsiteX299" fmla="*/ 36100 w 2822638"/>
                <a:gd name="connsiteY299" fmla="*/ 926878 h 1716690"/>
                <a:gd name="connsiteX300" fmla="*/ 33338 w 2822638"/>
                <a:gd name="connsiteY300" fmla="*/ 914210 h 1716690"/>
                <a:gd name="connsiteX301" fmla="*/ 32766 w 2822638"/>
                <a:gd name="connsiteY301" fmla="*/ 902113 h 1716690"/>
                <a:gd name="connsiteX302" fmla="*/ 37624 w 2822638"/>
                <a:gd name="connsiteY302" fmla="*/ 889730 h 1716690"/>
                <a:gd name="connsiteX303" fmla="*/ 69533 w 2822638"/>
                <a:gd name="connsiteY303" fmla="*/ 868299 h 1716690"/>
                <a:gd name="connsiteX304" fmla="*/ 73247 w 2822638"/>
                <a:gd name="connsiteY304" fmla="*/ 861727 h 1716690"/>
                <a:gd name="connsiteX305" fmla="*/ 98965 w 2822638"/>
                <a:gd name="connsiteY305" fmla="*/ 845915 h 1716690"/>
                <a:gd name="connsiteX306" fmla="*/ 106013 w 2822638"/>
                <a:gd name="connsiteY306" fmla="*/ 838391 h 1716690"/>
                <a:gd name="connsiteX307" fmla="*/ 120301 w 2822638"/>
                <a:gd name="connsiteY307" fmla="*/ 816388 h 1716690"/>
                <a:gd name="connsiteX308" fmla="*/ 124301 w 2822638"/>
                <a:gd name="connsiteY308" fmla="*/ 811816 h 1716690"/>
                <a:gd name="connsiteX309" fmla="*/ 129159 w 2822638"/>
                <a:gd name="connsiteY309" fmla="*/ 808958 h 1716690"/>
                <a:gd name="connsiteX310" fmla="*/ 140113 w 2822638"/>
                <a:gd name="connsiteY310" fmla="*/ 798862 h 1716690"/>
                <a:gd name="connsiteX311" fmla="*/ 152495 w 2822638"/>
                <a:gd name="connsiteY311" fmla="*/ 787337 h 1716690"/>
                <a:gd name="connsiteX312" fmla="*/ 161163 w 2822638"/>
                <a:gd name="connsiteY312" fmla="*/ 773620 h 1716690"/>
                <a:gd name="connsiteX313" fmla="*/ 168593 w 2822638"/>
                <a:gd name="connsiteY313" fmla="*/ 753142 h 1716690"/>
                <a:gd name="connsiteX314" fmla="*/ 173260 w 2822638"/>
                <a:gd name="connsiteY314" fmla="*/ 727615 h 1716690"/>
                <a:gd name="connsiteX315" fmla="*/ 173736 w 2822638"/>
                <a:gd name="connsiteY315" fmla="*/ 698468 h 1716690"/>
                <a:gd name="connsiteX316" fmla="*/ 172593 w 2822638"/>
                <a:gd name="connsiteY316" fmla="*/ 690848 h 1716690"/>
                <a:gd name="connsiteX317" fmla="*/ 168402 w 2822638"/>
                <a:gd name="connsiteY317" fmla="*/ 671608 h 1716690"/>
                <a:gd name="connsiteX318" fmla="*/ 169259 w 2822638"/>
                <a:gd name="connsiteY318" fmla="*/ 663893 h 1716690"/>
                <a:gd name="connsiteX319" fmla="*/ 172974 w 2822638"/>
                <a:gd name="connsiteY319" fmla="*/ 653701 h 1716690"/>
                <a:gd name="connsiteX320" fmla="*/ 173831 w 2822638"/>
                <a:gd name="connsiteY320" fmla="*/ 647510 h 1716690"/>
                <a:gd name="connsiteX321" fmla="*/ 172974 w 2822638"/>
                <a:gd name="connsiteY321" fmla="*/ 600647 h 1716690"/>
                <a:gd name="connsiteX322" fmla="*/ 173831 w 2822638"/>
                <a:gd name="connsiteY322" fmla="*/ 585597 h 1716690"/>
                <a:gd name="connsiteX323" fmla="*/ 176403 w 2822638"/>
                <a:gd name="connsiteY323" fmla="*/ 572738 h 1716690"/>
                <a:gd name="connsiteX324" fmla="*/ 181166 w 2822638"/>
                <a:gd name="connsiteY324" fmla="*/ 559975 h 1716690"/>
                <a:gd name="connsiteX325" fmla="*/ 187357 w 2822638"/>
                <a:gd name="connsiteY325" fmla="*/ 550164 h 1716690"/>
                <a:gd name="connsiteX326" fmla="*/ 194024 w 2822638"/>
                <a:gd name="connsiteY326" fmla="*/ 546164 h 1716690"/>
                <a:gd name="connsiteX327" fmla="*/ 199358 w 2822638"/>
                <a:gd name="connsiteY327" fmla="*/ 540258 h 1716690"/>
                <a:gd name="connsiteX328" fmla="*/ 213932 w 2822638"/>
                <a:gd name="connsiteY328" fmla="*/ 501301 h 1716690"/>
                <a:gd name="connsiteX329" fmla="*/ 241745 w 2822638"/>
                <a:gd name="connsiteY329" fmla="*/ 464249 h 1716690"/>
                <a:gd name="connsiteX330" fmla="*/ 284607 w 2822638"/>
                <a:gd name="connsiteY330" fmla="*/ 379762 h 1716690"/>
                <a:gd name="connsiteX331" fmla="*/ 296418 w 2822638"/>
                <a:gd name="connsiteY331" fmla="*/ 366332 h 1716690"/>
                <a:gd name="connsiteX332" fmla="*/ 312801 w 2822638"/>
                <a:gd name="connsiteY332" fmla="*/ 357378 h 1716690"/>
                <a:gd name="connsiteX333" fmla="*/ 384524 w 2822638"/>
                <a:gd name="connsiteY333" fmla="*/ 352425 h 1716690"/>
                <a:gd name="connsiteX334" fmla="*/ 401384 w 2822638"/>
                <a:gd name="connsiteY334" fmla="*/ 347091 h 1716690"/>
                <a:gd name="connsiteX335" fmla="*/ 477393 w 2822638"/>
                <a:gd name="connsiteY335" fmla="*/ 305467 h 1716690"/>
                <a:gd name="connsiteX336" fmla="*/ 589979 w 2822638"/>
                <a:gd name="connsiteY336" fmla="*/ 243650 h 1716690"/>
                <a:gd name="connsiteX337" fmla="*/ 606457 w 2822638"/>
                <a:gd name="connsiteY337" fmla="*/ 238411 h 1716690"/>
                <a:gd name="connsiteX338" fmla="*/ 615410 w 2822638"/>
                <a:gd name="connsiteY338" fmla="*/ 237744 h 1716690"/>
                <a:gd name="connsiteX339" fmla="*/ 619792 w 2822638"/>
                <a:gd name="connsiteY339" fmla="*/ 236220 h 1716690"/>
                <a:gd name="connsiteX340" fmla="*/ 624554 w 2822638"/>
                <a:gd name="connsiteY340" fmla="*/ 233267 h 1716690"/>
                <a:gd name="connsiteX341" fmla="*/ 629698 w 2822638"/>
                <a:gd name="connsiteY341" fmla="*/ 231172 h 1716690"/>
                <a:gd name="connsiteX342" fmla="*/ 635318 w 2822638"/>
                <a:gd name="connsiteY342" fmla="*/ 232410 h 1716690"/>
                <a:gd name="connsiteX343" fmla="*/ 639223 w 2822638"/>
                <a:gd name="connsiteY343" fmla="*/ 234887 h 1716690"/>
                <a:gd name="connsiteX344" fmla="*/ 639223 w 2822638"/>
                <a:gd name="connsiteY344" fmla="*/ 235744 h 1716690"/>
                <a:gd name="connsiteX345" fmla="*/ 637127 w 2822638"/>
                <a:gd name="connsiteY345" fmla="*/ 237554 h 1716690"/>
                <a:gd name="connsiteX346" fmla="*/ 635318 w 2822638"/>
                <a:gd name="connsiteY346" fmla="*/ 242792 h 1716690"/>
                <a:gd name="connsiteX347" fmla="*/ 631603 w 2822638"/>
                <a:gd name="connsiteY347" fmla="*/ 270320 h 1716690"/>
                <a:gd name="connsiteX348" fmla="*/ 630174 w 2822638"/>
                <a:gd name="connsiteY348" fmla="*/ 300323 h 1716690"/>
                <a:gd name="connsiteX349" fmla="*/ 631698 w 2822638"/>
                <a:gd name="connsiteY349" fmla="*/ 315087 h 1716690"/>
                <a:gd name="connsiteX350" fmla="*/ 635508 w 2822638"/>
                <a:gd name="connsiteY350" fmla="*/ 325755 h 1716690"/>
                <a:gd name="connsiteX351" fmla="*/ 657035 w 2822638"/>
                <a:gd name="connsiteY351" fmla="*/ 357950 h 1716690"/>
                <a:gd name="connsiteX352" fmla="*/ 743807 w 2822638"/>
                <a:gd name="connsiteY352" fmla="*/ 433769 h 1716690"/>
                <a:gd name="connsiteX353" fmla="*/ 771620 w 2822638"/>
                <a:gd name="connsiteY353" fmla="*/ 468821 h 1716690"/>
                <a:gd name="connsiteX354" fmla="*/ 803148 w 2822638"/>
                <a:gd name="connsiteY354" fmla="*/ 496538 h 1716690"/>
                <a:gd name="connsiteX355" fmla="*/ 823341 w 2822638"/>
                <a:gd name="connsiteY355" fmla="*/ 508254 h 1716690"/>
                <a:gd name="connsiteX356" fmla="*/ 836676 w 2822638"/>
                <a:gd name="connsiteY356" fmla="*/ 511397 h 1716690"/>
                <a:gd name="connsiteX357" fmla="*/ 841629 w 2822638"/>
                <a:gd name="connsiteY357" fmla="*/ 513683 h 1716690"/>
                <a:gd name="connsiteX358" fmla="*/ 842772 w 2822638"/>
                <a:gd name="connsiteY358" fmla="*/ 519303 h 1716690"/>
                <a:gd name="connsiteX359" fmla="*/ 842963 w 2822638"/>
                <a:gd name="connsiteY359" fmla="*/ 526447 h 1716690"/>
                <a:gd name="connsiteX360" fmla="*/ 844677 w 2822638"/>
                <a:gd name="connsiteY360" fmla="*/ 533591 h 1716690"/>
                <a:gd name="connsiteX361" fmla="*/ 853250 w 2822638"/>
                <a:gd name="connsiteY361" fmla="*/ 551307 h 1716690"/>
                <a:gd name="connsiteX362" fmla="*/ 854964 w 2822638"/>
                <a:gd name="connsiteY362" fmla="*/ 554831 h 1716690"/>
                <a:gd name="connsiteX363" fmla="*/ 858869 w 2822638"/>
                <a:gd name="connsiteY363" fmla="*/ 566642 h 1716690"/>
                <a:gd name="connsiteX364" fmla="*/ 861917 w 2822638"/>
                <a:gd name="connsiteY364" fmla="*/ 580835 h 1716690"/>
                <a:gd name="connsiteX365" fmla="*/ 864965 w 2822638"/>
                <a:gd name="connsiteY365" fmla="*/ 606171 h 1716690"/>
                <a:gd name="connsiteX366" fmla="*/ 868299 w 2822638"/>
                <a:gd name="connsiteY366" fmla="*/ 619316 h 1716690"/>
                <a:gd name="connsiteX367" fmla="*/ 874109 w 2822638"/>
                <a:gd name="connsiteY367" fmla="*/ 625031 h 1716690"/>
                <a:gd name="connsiteX368" fmla="*/ 877538 w 2822638"/>
                <a:gd name="connsiteY368" fmla="*/ 631698 h 1716690"/>
                <a:gd name="connsiteX369" fmla="*/ 888492 w 2822638"/>
                <a:gd name="connsiteY369" fmla="*/ 698183 h 1716690"/>
                <a:gd name="connsiteX370" fmla="*/ 892588 w 2822638"/>
                <a:gd name="connsiteY370" fmla="*/ 709327 h 1716690"/>
                <a:gd name="connsiteX371" fmla="*/ 898017 w 2822638"/>
                <a:gd name="connsiteY371" fmla="*/ 713804 h 1716690"/>
                <a:gd name="connsiteX372" fmla="*/ 904970 w 2822638"/>
                <a:gd name="connsiteY372" fmla="*/ 716566 h 1716690"/>
                <a:gd name="connsiteX373" fmla="*/ 923449 w 2822638"/>
                <a:gd name="connsiteY373" fmla="*/ 738283 h 1716690"/>
                <a:gd name="connsiteX374" fmla="*/ 955643 w 2822638"/>
                <a:gd name="connsiteY374" fmla="*/ 751427 h 1716690"/>
                <a:gd name="connsiteX375" fmla="*/ 988981 w 2822638"/>
                <a:gd name="connsiteY375" fmla="*/ 757809 h 1716690"/>
                <a:gd name="connsiteX376" fmla="*/ 993743 w 2822638"/>
                <a:gd name="connsiteY376" fmla="*/ 761810 h 1716690"/>
                <a:gd name="connsiteX377" fmla="*/ 1012793 w 2822638"/>
                <a:gd name="connsiteY377" fmla="*/ 789908 h 1716690"/>
                <a:gd name="connsiteX378" fmla="*/ 1016318 w 2822638"/>
                <a:gd name="connsiteY378" fmla="*/ 792861 h 1716690"/>
                <a:gd name="connsiteX379" fmla="*/ 1018889 w 2822638"/>
                <a:gd name="connsiteY379" fmla="*/ 795052 h 1716690"/>
                <a:gd name="connsiteX380" fmla="*/ 1037177 w 2822638"/>
                <a:gd name="connsiteY380" fmla="*/ 800862 h 1716690"/>
                <a:gd name="connsiteX381" fmla="*/ 1061752 w 2822638"/>
                <a:gd name="connsiteY381" fmla="*/ 803434 h 1716690"/>
                <a:gd name="connsiteX382" fmla="*/ 1128332 w 2822638"/>
                <a:gd name="connsiteY382" fmla="*/ 787051 h 1716690"/>
                <a:gd name="connsiteX383" fmla="*/ 1152049 w 2822638"/>
                <a:gd name="connsiteY383" fmla="*/ 775526 h 1716690"/>
                <a:gd name="connsiteX384" fmla="*/ 1162145 w 2822638"/>
                <a:gd name="connsiteY384" fmla="*/ 770572 h 1716690"/>
                <a:gd name="connsiteX385" fmla="*/ 1177100 w 2822638"/>
                <a:gd name="connsiteY385" fmla="*/ 757714 h 1716690"/>
                <a:gd name="connsiteX386" fmla="*/ 1184148 w 2822638"/>
                <a:gd name="connsiteY386" fmla="*/ 747427 h 1716690"/>
                <a:gd name="connsiteX387" fmla="*/ 1189101 w 2822638"/>
                <a:gd name="connsiteY387" fmla="*/ 737807 h 1716690"/>
                <a:gd name="connsiteX388" fmla="*/ 1194435 w 2822638"/>
                <a:gd name="connsiteY388" fmla="*/ 730663 h 1716690"/>
                <a:gd name="connsiteX389" fmla="*/ 1209580 w 2822638"/>
                <a:gd name="connsiteY389" fmla="*/ 726377 h 1716690"/>
                <a:gd name="connsiteX390" fmla="*/ 1224534 w 2822638"/>
                <a:gd name="connsiteY390" fmla="*/ 716470 h 1716690"/>
                <a:gd name="connsiteX391" fmla="*/ 1262634 w 2822638"/>
                <a:gd name="connsiteY391" fmla="*/ 691420 h 1716690"/>
                <a:gd name="connsiteX392" fmla="*/ 1265968 w 2822638"/>
                <a:gd name="connsiteY392" fmla="*/ 681228 h 1716690"/>
                <a:gd name="connsiteX393" fmla="*/ 1273493 w 2822638"/>
                <a:gd name="connsiteY393" fmla="*/ 672941 h 1716690"/>
                <a:gd name="connsiteX394" fmla="*/ 1282256 w 2822638"/>
                <a:gd name="connsiteY394" fmla="*/ 667226 h 1716690"/>
                <a:gd name="connsiteX395" fmla="*/ 1289018 w 2822638"/>
                <a:gd name="connsiteY395" fmla="*/ 664655 h 1716690"/>
                <a:gd name="connsiteX396" fmla="*/ 1289018 w 2822638"/>
                <a:gd name="connsiteY396" fmla="*/ 656939 h 1716690"/>
                <a:gd name="connsiteX397" fmla="*/ 1293019 w 2822638"/>
                <a:gd name="connsiteY397" fmla="*/ 651796 h 1716690"/>
                <a:gd name="connsiteX398" fmla="*/ 1302353 w 2822638"/>
                <a:gd name="connsiteY398" fmla="*/ 645033 h 1716690"/>
                <a:gd name="connsiteX399" fmla="*/ 1328261 w 2822638"/>
                <a:gd name="connsiteY399" fmla="*/ 614934 h 1716690"/>
                <a:gd name="connsiteX400" fmla="*/ 1336643 w 2822638"/>
                <a:gd name="connsiteY400" fmla="*/ 594836 h 1716690"/>
                <a:gd name="connsiteX401" fmla="*/ 1339882 w 2822638"/>
                <a:gd name="connsiteY401" fmla="*/ 565976 h 1716690"/>
                <a:gd name="connsiteX402" fmla="*/ 1338548 w 2822638"/>
                <a:gd name="connsiteY402" fmla="*/ 532543 h 1716690"/>
                <a:gd name="connsiteX403" fmla="*/ 1329214 w 2822638"/>
                <a:gd name="connsiteY403" fmla="*/ 442246 h 1716690"/>
                <a:gd name="connsiteX404" fmla="*/ 1328547 w 2822638"/>
                <a:gd name="connsiteY404" fmla="*/ 415385 h 1716690"/>
                <a:gd name="connsiteX405" fmla="*/ 1326737 w 2822638"/>
                <a:gd name="connsiteY405" fmla="*/ 399383 h 1716690"/>
                <a:gd name="connsiteX406" fmla="*/ 1322546 w 2822638"/>
                <a:gd name="connsiteY406" fmla="*/ 392240 h 1716690"/>
                <a:gd name="connsiteX407" fmla="*/ 1320260 w 2822638"/>
                <a:gd name="connsiteY407" fmla="*/ 383572 h 1716690"/>
                <a:gd name="connsiteX408" fmla="*/ 1321975 w 2822638"/>
                <a:gd name="connsiteY408" fmla="*/ 364522 h 1716690"/>
                <a:gd name="connsiteX409" fmla="*/ 1326547 w 2822638"/>
                <a:gd name="connsiteY409" fmla="*/ 337757 h 1716690"/>
                <a:gd name="connsiteX410" fmla="*/ 1321975 w 2822638"/>
                <a:gd name="connsiteY410" fmla="*/ 294989 h 1716690"/>
                <a:gd name="connsiteX411" fmla="*/ 1319879 w 2822638"/>
                <a:gd name="connsiteY411" fmla="*/ 285369 h 1716690"/>
                <a:gd name="connsiteX412" fmla="*/ 1302734 w 2822638"/>
                <a:gd name="connsiteY412" fmla="*/ 256508 h 1716690"/>
                <a:gd name="connsiteX413" fmla="*/ 1297210 w 2822638"/>
                <a:gd name="connsiteY413" fmla="*/ 242792 h 1716690"/>
                <a:gd name="connsiteX414" fmla="*/ 1297210 w 2822638"/>
                <a:gd name="connsiteY414" fmla="*/ 229648 h 1716690"/>
                <a:gd name="connsiteX415" fmla="*/ 1293019 w 2822638"/>
                <a:gd name="connsiteY415" fmla="*/ 195358 h 1716690"/>
                <a:gd name="connsiteX416" fmla="*/ 1291876 w 2822638"/>
                <a:gd name="connsiteY416" fmla="*/ 178022 h 1716690"/>
                <a:gd name="connsiteX417" fmla="*/ 1293019 w 2822638"/>
                <a:gd name="connsiteY417" fmla="*/ 168688 h 1716690"/>
                <a:gd name="connsiteX418" fmla="*/ 1295876 w 2822638"/>
                <a:gd name="connsiteY418" fmla="*/ 159830 h 1716690"/>
                <a:gd name="connsiteX419" fmla="*/ 1299782 w 2822638"/>
                <a:gd name="connsiteY419" fmla="*/ 151924 h 1716690"/>
                <a:gd name="connsiteX420" fmla="*/ 1316736 w 2822638"/>
                <a:gd name="connsiteY420" fmla="*/ 158877 h 1716690"/>
                <a:gd name="connsiteX421" fmla="*/ 1327880 w 2822638"/>
                <a:gd name="connsiteY421" fmla="*/ 158306 h 1716690"/>
                <a:gd name="connsiteX422" fmla="*/ 1336929 w 2822638"/>
                <a:gd name="connsiteY422" fmla="*/ 153162 h 1716690"/>
                <a:gd name="connsiteX423" fmla="*/ 1341311 w 2822638"/>
                <a:gd name="connsiteY423" fmla="*/ 145733 h 1716690"/>
                <a:gd name="connsiteX424" fmla="*/ 1347692 w 2822638"/>
                <a:gd name="connsiteY424" fmla="*/ 128302 h 1716690"/>
                <a:gd name="connsiteX425" fmla="*/ 1352550 w 2822638"/>
                <a:gd name="connsiteY425" fmla="*/ 122587 h 1716690"/>
                <a:gd name="connsiteX426" fmla="*/ 1367981 w 2822638"/>
                <a:gd name="connsiteY426" fmla="*/ 114395 h 1716690"/>
                <a:gd name="connsiteX427" fmla="*/ 1388459 w 2822638"/>
                <a:gd name="connsiteY427" fmla="*/ 95536 h 1716690"/>
                <a:gd name="connsiteX428" fmla="*/ 1396270 w 2822638"/>
                <a:gd name="connsiteY428" fmla="*/ 93821 h 1716690"/>
                <a:gd name="connsiteX429" fmla="*/ 1423607 w 2822638"/>
                <a:gd name="connsiteY429" fmla="*/ 96393 h 1716690"/>
                <a:gd name="connsiteX430" fmla="*/ 1447229 w 2822638"/>
                <a:gd name="connsiteY430" fmla="*/ 93726 h 1716690"/>
                <a:gd name="connsiteX431" fmla="*/ 1453325 w 2822638"/>
                <a:gd name="connsiteY431" fmla="*/ 88868 h 1716690"/>
                <a:gd name="connsiteX432" fmla="*/ 1460468 w 2822638"/>
                <a:gd name="connsiteY432" fmla="*/ 68580 h 1716690"/>
                <a:gd name="connsiteX433" fmla="*/ 1466183 w 2822638"/>
                <a:gd name="connsiteY433" fmla="*/ 60960 h 1716690"/>
                <a:gd name="connsiteX434" fmla="*/ 1478375 w 2822638"/>
                <a:gd name="connsiteY434" fmla="*/ 64103 h 1716690"/>
                <a:gd name="connsiteX435" fmla="*/ 1488472 w 2822638"/>
                <a:gd name="connsiteY435" fmla="*/ 70676 h 1716690"/>
                <a:gd name="connsiteX436" fmla="*/ 1498568 w 2822638"/>
                <a:gd name="connsiteY436" fmla="*/ 72390 h 1716690"/>
                <a:gd name="connsiteX437" fmla="*/ 1502664 w 2822638"/>
                <a:gd name="connsiteY437" fmla="*/ 68580 h 1716690"/>
                <a:gd name="connsiteX438" fmla="*/ 1510856 w 2822638"/>
                <a:gd name="connsiteY438" fmla="*/ 61055 h 1716690"/>
                <a:gd name="connsiteX439" fmla="*/ 1520285 w 2822638"/>
                <a:gd name="connsiteY439" fmla="*/ 54959 h 1716690"/>
                <a:gd name="connsiteX440" fmla="*/ 1550194 w 2822638"/>
                <a:gd name="connsiteY440" fmla="*/ 50578 h 1716690"/>
                <a:gd name="connsiteX441" fmla="*/ 1560100 w 2822638"/>
                <a:gd name="connsiteY441" fmla="*/ 43625 h 1716690"/>
                <a:gd name="connsiteX442" fmla="*/ 1583436 w 2822638"/>
                <a:gd name="connsiteY442" fmla="*/ 19526 h 1716690"/>
                <a:gd name="connsiteX443" fmla="*/ 1588865 w 2822638"/>
                <a:gd name="connsiteY443" fmla="*/ 13907 h 1716690"/>
                <a:gd name="connsiteX444" fmla="*/ 1597343 w 2822638"/>
                <a:gd name="connsiteY444" fmla="*/ 8477 h 1716690"/>
                <a:gd name="connsiteX445" fmla="*/ 1606487 w 2822638"/>
                <a:gd name="connsiteY445" fmla="*/ 5715 h 1716690"/>
                <a:gd name="connsiteX446" fmla="*/ 1624679 w 2822638"/>
                <a:gd name="connsiteY446" fmla="*/ 5239 h 1716690"/>
                <a:gd name="connsiteX447" fmla="*/ 1634776 w 2822638"/>
                <a:gd name="connsiteY447" fmla="*/ 12097 h 1716690"/>
                <a:gd name="connsiteX448" fmla="*/ 1640110 w 2822638"/>
                <a:gd name="connsiteY448" fmla="*/ 27242 h 1716690"/>
                <a:gd name="connsiteX449" fmla="*/ 1643634 w 2822638"/>
                <a:gd name="connsiteY449" fmla="*/ 45339 h 1716690"/>
                <a:gd name="connsiteX450" fmla="*/ 1648397 w 2822638"/>
                <a:gd name="connsiteY450" fmla="*/ 61151 h 1716690"/>
                <a:gd name="connsiteX451" fmla="*/ 1654112 w 2822638"/>
                <a:gd name="connsiteY451" fmla="*/ 66008 h 1716690"/>
                <a:gd name="connsiteX452" fmla="*/ 1660208 w 2822638"/>
                <a:gd name="connsiteY452" fmla="*/ 66008 h 1716690"/>
                <a:gd name="connsiteX453" fmla="*/ 1672685 w 2822638"/>
                <a:gd name="connsiteY453" fmla="*/ 59531 h 1716690"/>
                <a:gd name="connsiteX454" fmla="*/ 1680401 w 2822638"/>
                <a:gd name="connsiteY454" fmla="*/ 49244 h 1716690"/>
                <a:gd name="connsiteX455" fmla="*/ 1677734 w 2822638"/>
                <a:gd name="connsiteY455" fmla="*/ 37529 h 1716690"/>
                <a:gd name="connsiteX456" fmla="*/ 1666780 w 2822638"/>
                <a:gd name="connsiteY456" fmla="*/ 17621 h 1716690"/>
                <a:gd name="connsiteX457" fmla="*/ 1667256 w 2822638"/>
                <a:gd name="connsiteY457" fmla="*/ 4858 h 1716690"/>
                <a:gd name="connsiteX458" fmla="*/ 1672209 w 2822638"/>
                <a:gd name="connsiteY458" fmla="*/ 0 h 1716690"/>
                <a:gd name="connsiteX459" fmla="*/ 1679258 w 2822638"/>
                <a:gd name="connsiteY459" fmla="*/ 1238 h 1716690"/>
                <a:gd name="connsiteX460" fmla="*/ 1686211 w 2822638"/>
                <a:gd name="connsiteY460" fmla="*/ 6953 h 1716690"/>
                <a:gd name="connsiteX461" fmla="*/ 1688878 w 2822638"/>
                <a:gd name="connsiteY461" fmla="*/ 12002 h 1716690"/>
                <a:gd name="connsiteX462" fmla="*/ 1693450 w 2822638"/>
                <a:gd name="connsiteY462" fmla="*/ 25337 h 1716690"/>
                <a:gd name="connsiteX463" fmla="*/ 1695926 w 2822638"/>
                <a:gd name="connsiteY463" fmla="*/ 29623 h 1716690"/>
                <a:gd name="connsiteX464" fmla="*/ 1699451 w 2822638"/>
                <a:gd name="connsiteY464" fmla="*/ 31814 h 1716690"/>
                <a:gd name="connsiteX465" fmla="*/ 1701832 w 2822638"/>
                <a:gd name="connsiteY465" fmla="*/ 31242 h 1716690"/>
                <a:gd name="connsiteX466" fmla="*/ 1704404 w 2822638"/>
                <a:gd name="connsiteY466" fmla="*/ 29909 h 1716690"/>
                <a:gd name="connsiteX467" fmla="*/ 1708404 w 2822638"/>
                <a:gd name="connsiteY467" fmla="*/ 29718 h 1716690"/>
                <a:gd name="connsiteX468" fmla="*/ 1724025 w 2822638"/>
                <a:gd name="connsiteY468" fmla="*/ 38195 h 1716690"/>
                <a:gd name="connsiteX469" fmla="*/ 1747647 w 2822638"/>
                <a:gd name="connsiteY469" fmla="*/ 66961 h 1716690"/>
                <a:gd name="connsiteX470" fmla="*/ 1762982 w 2822638"/>
                <a:gd name="connsiteY470" fmla="*/ 76867 h 1716690"/>
                <a:gd name="connsiteX471" fmla="*/ 1776698 w 2822638"/>
                <a:gd name="connsiteY471" fmla="*/ 79915 h 1716690"/>
                <a:gd name="connsiteX472" fmla="*/ 1780508 w 2822638"/>
                <a:gd name="connsiteY472" fmla="*/ 82582 h 1716690"/>
                <a:gd name="connsiteX473" fmla="*/ 1783842 w 2822638"/>
                <a:gd name="connsiteY473" fmla="*/ 88106 h 1716690"/>
                <a:gd name="connsiteX474" fmla="*/ 1784414 w 2822638"/>
                <a:gd name="connsiteY474" fmla="*/ 92107 h 1716690"/>
                <a:gd name="connsiteX475" fmla="*/ 1784414 w 2822638"/>
                <a:gd name="connsiteY475" fmla="*/ 92869 h 1716690"/>
                <a:gd name="connsiteX476" fmla="*/ 1784890 w 2822638"/>
                <a:gd name="connsiteY476" fmla="*/ 97727 h 1716690"/>
                <a:gd name="connsiteX477" fmla="*/ 1786985 w 2822638"/>
                <a:gd name="connsiteY477" fmla="*/ 103537 h 1716690"/>
                <a:gd name="connsiteX478" fmla="*/ 1795177 w 2822638"/>
                <a:gd name="connsiteY478" fmla="*/ 114395 h 1716690"/>
                <a:gd name="connsiteX479" fmla="*/ 1803749 w 2822638"/>
                <a:gd name="connsiteY479" fmla="*/ 119729 h 1716690"/>
                <a:gd name="connsiteX480" fmla="*/ 1812893 w 2822638"/>
                <a:gd name="connsiteY480" fmla="*/ 121158 h 1716690"/>
                <a:gd name="connsiteX481" fmla="*/ 1822609 w 2822638"/>
                <a:gd name="connsiteY481" fmla="*/ 120301 h 1716690"/>
                <a:gd name="connsiteX482" fmla="*/ 1843564 w 2822638"/>
                <a:gd name="connsiteY482" fmla="*/ 113062 h 1716690"/>
                <a:gd name="connsiteX483" fmla="*/ 1847945 w 2822638"/>
                <a:gd name="connsiteY483" fmla="*/ 111538 h 1716690"/>
                <a:gd name="connsiteX484" fmla="*/ 1853851 w 2822638"/>
                <a:gd name="connsiteY484" fmla="*/ 111728 h 1716690"/>
                <a:gd name="connsiteX485" fmla="*/ 1859756 w 2822638"/>
                <a:gd name="connsiteY485" fmla="*/ 121920 h 1716690"/>
                <a:gd name="connsiteX486" fmla="*/ 1863376 w 2822638"/>
                <a:gd name="connsiteY486" fmla="*/ 136779 h 1716690"/>
                <a:gd name="connsiteX487" fmla="*/ 1868329 w 2822638"/>
                <a:gd name="connsiteY487" fmla="*/ 151448 h 1716690"/>
                <a:gd name="connsiteX488" fmla="*/ 1878140 w 2822638"/>
                <a:gd name="connsiteY488" fmla="*/ 160877 h 1716690"/>
                <a:gd name="connsiteX489" fmla="*/ 1959959 w 2822638"/>
                <a:gd name="connsiteY489" fmla="*/ 168212 h 1716690"/>
                <a:gd name="connsiteX490" fmla="*/ 1964531 w 2822638"/>
                <a:gd name="connsiteY490" fmla="*/ 170498 h 1716690"/>
                <a:gd name="connsiteX491" fmla="*/ 1967389 w 2822638"/>
                <a:gd name="connsiteY491" fmla="*/ 174117 h 1716690"/>
                <a:gd name="connsiteX492" fmla="*/ 1968627 w 2822638"/>
                <a:gd name="connsiteY492" fmla="*/ 181070 h 1716690"/>
                <a:gd name="connsiteX493" fmla="*/ 1967294 w 2822638"/>
                <a:gd name="connsiteY493" fmla="*/ 185452 h 1716690"/>
                <a:gd name="connsiteX494" fmla="*/ 1965103 w 2822638"/>
                <a:gd name="connsiteY494" fmla="*/ 189833 h 1716690"/>
                <a:gd name="connsiteX495" fmla="*/ 1963960 w 2822638"/>
                <a:gd name="connsiteY495" fmla="*/ 196501 h 1716690"/>
                <a:gd name="connsiteX496" fmla="*/ 1965103 w 2822638"/>
                <a:gd name="connsiteY496" fmla="*/ 211550 h 1716690"/>
                <a:gd name="connsiteX497" fmla="*/ 1968532 w 2822638"/>
                <a:gd name="connsiteY497" fmla="*/ 220599 h 1716690"/>
                <a:gd name="connsiteX498" fmla="*/ 2011585 w 2822638"/>
                <a:gd name="connsiteY498" fmla="*/ 256794 h 1716690"/>
                <a:gd name="connsiteX499" fmla="*/ 2024539 w 2822638"/>
                <a:gd name="connsiteY499" fmla="*/ 271939 h 1716690"/>
                <a:gd name="connsiteX500" fmla="*/ 2061401 w 2822638"/>
                <a:gd name="connsiteY500" fmla="*/ 332518 h 1716690"/>
                <a:gd name="connsiteX501" fmla="*/ 2074640 w 2822638"/>
                <a:gd name="connsiteY501" fmla="*/ 348234 h 1716690"/>
                <a:gd name="connsiteX502" fmla="*/ 2090738 w 2822638"/>
                <a:gd name="connsiteY502" fmla="*/ 359855 h 1716690"/>
                <a:gd name="connsiteX503" fmla="*/ 2095690 w 2822638"/>
                <a:gd name="connsiteY503" fmla="*/ 361950 h 1716690"/>
                <a:gd name="connsiteX504" fmla="*/ 2126552 w 2822638"/>
                <a:gd name="connsiteY504" fmla="*/ 375380 h 1716690"/>
                <a:gd name="connsiteX505" fmla="*/ 2126647 w 2822638"/>
                <a:gd name="connsiteY505" fmla="*/ 375380 h 1716690"/>
                <a:gd name="connsiteX506" fmla="*/ 2133124 w 2822638"/>
                <a:gd name="connsiteY506" fmla="*/ 381762 h 1716690"/>
                <a:gd name="connsiteX507" fmla="*/ 2146173 w 2822638"/>
                <a:gd name="connsiteY507" fmla="*/ 400431 h 1716690"/>
                <a:gd name="connsiteX508" fmla="*/ 2153412 w 2822638"/>
                <a:gd name="connsiteY508" fmla="*/ 408623 h 1716690"/>
                <a:gd name="connsiteX509" fmla="*/ 2159413 w 2822638"/>
                <a:gd name="connsiteY509" fmla="*/ 407575 h 1716690"/>
                <a:gd name="connsiteX510" fmla="*/ 2164747 w 2822638"/>
                <a:gd name="connsiteY510" fmla="*/ 402812 h 1716690"/>
                <a:gd name="connsiteX511" fmla="*/ 2169986 w 2822638"/>
                <a:gd name="connsiteY511" fmla="*/ 399669 h 1716690"/>
                <a:gd name="connsiteX512" fmla="*/ 2173700 w 2822638"/>
                <a:gd name="connsiteY512" fmla="*/ 400622 h 1716690"/>
                <a:gd name="connsiteX513" fmla="*/ 2180939 w 2822638"/>
                <a:gd name="connsiteY513" fmla="*/ 405860 h 1716690"/>
                <a:gd name="connsiteX514" fmla="*/ 2184654 w 2822638"/>
                <a:gd name="connsiteY514" fmla="*/ 407099 h 1716690"/>
                <a:gd name="connsiteX515" fmla="*/ 2188655 w 2822638"/>
                <a:gd name="connsiteY515" fmla="*/ 405289 h 1716690"/>
                <a:gd name="connsiteX516" fmla="*/ 2190464 w 2822638"/>
                <a:gd name="connsiteY516" fmla="*/ 400812 h 1716690"/>
                <a:gd name="connsiteX517" fmla="*/ 2191798 w 2822638"/>
                <a:gd name="connsiteY517" fmla="*/ 395478 h 1716690"/>
                <a:gd name="connsiteX518" fmla="*/ 2194274 w 2822638"/>
                <a:gd name="connsiteY518" fmla="*/ 390811 h 1716690"/>
                <a:gd name="connsiteX519" fmla="*/ 2205800 w 2822638"/>
                <a:gd name="connsiteY519" fmla="*/ 380619 h 1716690"/>
                <a:gd name="connsiteX520" fmla="*/ 2218468 w 2822638"/>
                <a:gd name="connsiteY520" fmla="*/ 372999 h 1716690"/>
                <a:gd name="connsiteX521" fmla="*/ 2231517 w 2822638"/>
                <a:gd name="connsiteY521" fmla="*/ 368713 h 1716690"/>
                <a:gd name="connsiteX522" fmla="*/ 2261711 w 2822638"/>
                <a:gd name="connsiteY522" fmla="*/ 370332 h 1716690"/>
                <a:gd name="connsiteX523" fmla="*/ 2268569 w 2822638"/>
                <a:gd name="connsiteY523" fmla="*/ 368237 h 1716690"/>
                <a:gd name="connsiteX524" fmla="*/ 2276570 w 2822638"/>
                <a:gd name="connsiteY524" fmla="*/ 361093 h 1716690"/>
                <a:gd name="connsiteX525" fmla="*/ 2281238 w 2822638"/>
                <a:gd name="connsiteY525" fmla="*/ 350996 h 1716690"/>
                <a:gd name="connsiteX526" fmla="*/ 2285238 w 2822638"/>
                <a:gd name="connsiteY526" fmla="*/ 340233 h 1716690"/>
                <a:gd name="connsiteX527" fmla="*/ 2291334 w 2822638"/>
                <a:gd name="connsiteY527" fmla="*/ 330994 h 1716690"/>
                <a:gd name="connsiteX528" fmla="*/ 2298573 w 2822638"/>
                <a:gd name="connsiteY528" fmla="*/ 327660 h 1716690"/>
                <a:gd name="connsiteX529" fmla="*/ 2303336 w 2822638"/>
                <a:gd name="connsiteY529" fmla="*/ 331375 h 1716690"/>
                <a:gd name="connsiteX530" fmla="*/ 2307717 w 2822638"/>
                <a:gd name="connsiteY530" fmla="*/ 336518 h 1716690"/>
                <a:gd name="connsiteX531" fmla="*/ 2313813 w 2822638"/>
                <a:gd name="connsiteY531" fmla="*/ 337661 h 1716690"/>
                <a:gd name="connsiteX532" fmla="*/ 2320671 w 2822638"/>
                <a:gd name="connsiteY532" fmla="*/ 336137 h 1716690"/>
                <a:gd name="connsiteX533" fmla="*/ 2327434 w 2822638"/>
                <a:gd name="connsiteY533" fmla="*/ 336328 h 1716690"/>
                <a:gd name="connsiteX534" fmla="*/ 2340864 w 2822638"/>
                <a:gd name="connsiteY534" fmla="*/ 340995 h 1716690"/>
                <a:gd name="connsiteX535" fmla="*/ 2350008 w 2822638"/>
                <a:gd name="connsiteY535" fmla="*/ 348329 h 1716690"/>
                <a:gd name="connsiteX536" fmla="*/ 2364296 w 2822638"/>
                <a:gd name="connsiteY536" fmla="*/ 370427 h 1716690"/>
                <a:gd name="connsiteX537" fmla="*/ 2372201 w 2822638"/>
                <a:gd name="connsiteY537" fmla="*/ 379667 h 1716690"/>
                <a:gd name="connsiteX538" fmla="*/ 2381441 w 2822638"/>
                <a:gd name="connsiteY538" fmla="*/ 384143 h 1716690"/>
                <a:gd name="connsiteX539" fmla="*/ 2412683 w 2822638"/>
                <a:gd name="connsiteY539" fmla="*/ 386144 h 1716690"/>
                <a:gd name="connsiteX540" fmla="*/ 2472785 w 2822638"/>
                <a:gd name="connsiteY540" fmla="*/ 408337 h 1716690"/>
                <a:gd name="connsiteX541" fmla="*/ 2485644 w 2822638"/>
                <a:gd name="connsiteY541" fmla="*/ 400050 h 171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Lst>
              <a:rect l="l" t="t" r="r" b="b"/>
              <a:pathLst>
                <a:path w="2822638" h="1716690">
                  <a:moveTo>
                    <a:pt x="2485644" y="400336"/>
                  </a:moveTo>
                  <a:lnTo>
                    <a:pt x="2553843" y="399669"/>
                  </a:lnTo>
                  <a:lnTo>
                    <a:pt x="2551748" y="426053"/>
                  </a:lnTo>
                  <a:lnTo>
                    <a:pt x="2552891" y="443198"/>
                  </a:lnTo>
                  <a:lnTo>
                    <a:pt x="2548700" y="458057"/>
                  </a:lnTo>
                  <a:lnTo>
                    <a:pt x="2547366" y="470726"/>
                  </a:lnTo>
                  <a:lnTo>
                    <a:pt x="2557082" y="481394"/>
                  </a:lnTo>
                  <a:lnTo>
                    <a:pt x="2597849" y="500729"/>
                  </a:lnTo>
                  <a:lnTo>
                    <a:pt x="2618708" y="524256"/>
                  </a:lnTo>
                  <a:lnTo>
                    <a:pt x="2623947" y="530257"/>
                  </a:lnTo>
                  <a:lnTo>
                    <a:pt x="2663381" y="554927"/>
                  </a:lnTo>
                  <a:lnTo>
                    <a:pt x="2670620" y="561404"/>
                  </a:lnTo>
                  <a:lnTo>
                    <a:pt x="2675477" y="571691"/>
                  </a:lnTo>
                  <a:lnTo>
                    <a:pt x="2677763" y="588550"/>
                  </a:lnTo>
                  <a:lnTo>
                    <a:pt x="2675858" y="628936"/>
                  </a:lnTo>
                  <a:lnTo>
                    <a:pt x="2673001" y="651034"/>
                  </a:lnTo>
                  <a:lnTo>
                    <a:pt x="2669286" y="666369"/>
                  </a:lnTo>
                  <a:lnTo>
                    <a:pt x="2657475" y="677609"/>
                  </a:lnTo>
                  <a:lnTo>
                    <a:pt x="2621280" y="695230"/>
                  </a:lnTo>
                  <a:lnTo>
                    <a:pt x="2613946" y="705993"/>
                  </a:lnTo>
                  <a:lnTo>
                    <a:pt x="2619375" y="719042"/>
                  </a:lnTo>
                  <a:lnTo>
                    <a:pt x="2629472" y="724376"/>
                  </a:lnTo>
                  <a:lnTo>
                    <a:pt x="2638616" y="731520"/>
                  </a:lnTo>
                  <a:lnTo>
                    <a:pt x="2640616" y="749903"/>
                  </a:lnTo>
                  <a:lnTo>
                    <a:pt x="2638711" y="757714"/>
                  </a:lnTo>
                  <a:lnTo>
                    <a:pt x="2632424" y="773144"/>
                  </a:lnTo>
                  <a:lnTo>
                    <a:pt x="2630043" y="781050"/>
                  </a:lnTo>
                  <a:lnTo>
                    <a:pt x="2628996" y="788289"/>
                  </a:lnTo>
                  <a:lnTo>
                    <a:pt x="2628138" y="802577"/>
                  </a:lnTo>
                  <a:lnTo>
                    <a:pt x="2626805" y="810673"/>
                  </a:lnTo>
                  <a:lnTo>
                    <a:pt x="2600897" y="866394"/>
                  </a:lnTo>
                  <a:lnTo>
                    <a:pt x="2592991" y="891350"/>
                  </a:lnTo>
                  <a:lnTo>
                    <a:pt x="2599277" y="893064"/>
                  </a:lnTo>
                  <a:lnTo>
                    <a:pt x="2605850" y="894874"/>
                  </a:lnTo>
                  <a:lnTo>
                    <a:pt x="2638139" y="876681"/>
                  </a:lnTo>
                  <a:lnTo>
                    <a:pt x="2654617" y="872109"/>
                  </a:lnTo>
                  <a:lnTo>
                    <a:pt x="2671953" y="877062"/>
                  </a:lnTo>
                  <a:lnTo>
                    <a:pt x="2680335" y="884206"/>
                  </a:lnTo>
                  <a:lnTo>
                    <a:pt x="2695671" y="901732"/>
                  </a:lnTo>
                  <a:lnTo>
                    <a:pt x="2704243" y="908590"/>
                  </a:lnTo>
                  <a:lnTo>
                    <a:pt x="2706338" y="918782"/>
                  </a:lnTo>
                  <a:lnTo>
                    <a:pt x="2699004" y="934974"/>
                  </a:lnTo>
                  <a:lnTo>
                    <a:pt x="2689670" y="951738"/>
                  </a:lnTo>
                  <a:lnTo>
                    <a:pt x="2685574" y="963644"/>
                  </a:lnTo>
                  <a:lnTo>
                    <a:pt x="2692241" y="975836"/>
                  </a:lnTo>
                  <a:lnTo>
                    <a:pt x="2730532" y="1003078"/>
                  </a:lnTo>
                  <a:lnTo>
                    <a:pt x="2734532" y="1015175"/>
                  </a:lnTo>
                  <a:lnTo>
                    <a:pt x="2734818" y="1046988"/>
                  </a:lnTo>
                  <a:lnTo>
                    <a:pt x="2736914" y="1061942"/>
                  </a:lnTo>
                  <a:lnTo>
                    <a:pt x="2742152" y="1073468"/>
                  </a:lnTo>
                  <a:lnTo>
                    <a:pt x="2749010" y="1081088"/>
                  </a:lnTo>
                  <a:lnTo>
                    <a:pt x="2780157" y="1096328"/>
                  </a:lnTo>
                  <a:lnTo>
                    <a:pt x="2787015" y="1101566"/>
                  </a:lnTo>
                  <a:lnTo>
                    <a:pt x="2789396" y="1109853"/>
                  </a:lnTo>
                  <a:lnTo>
                    <a:pt x="2786634" y="1116140"/>
                  </a:lnTo>
                  <a:lnTo>
                    <a:pt x="2776538" y="1125855"/>
                  </a:lnTo>
                  <a:lnTo>
                    <a:pt x="2774252" y="1134142"/>
                  </a:lnTo>
                  <a:lnTo>
                    <a:pt x="2775490" y="1141000"/>
                  </a:lnTo>
                  <a:lnTo>
                    <a:pt x="2778633" y="1147286"/>
                  </a:lnTo>
                  <a:lnTo>
                    <a:pt x="2798921" y="1173290"/>
                  </a:lnTo>
                  <a:lnTo>
                    <a:pt x="2801969" y="1179100"/>
                  </a:lnTo>
                  <a:lnTo>
                    <a:pt x="2803398" y="1186720"/>
                  </a:lnTo>
                  <a:lnTo>
                    <a:pt x="2801969" y="1210913"/>
                  </a:lnTo>
                  <a:lnTo>
                    <a:pt x="2803112" y="1227011"/>
                  </a:lnTo>
                  <a:lnTo>
                    <a:pt x="2805970" y="1241203"/>
                  </a:lnTo>
                  <a:lnTo>
                    <a:pt x="2821686" y="1289114"/>
                  </a:lnTo>
                  <a:lnTo>
                    <a:pt x="2822639" y="1296543"/>
                  </a:lnTo>
                  <a:lnTo>
                    <a:pt x="2821877" y="1306830"/>
                  </a:lnTo>
                  <a:lnTo>
                    <a:pt x="2819591" y="1312355"/>
                  </a:lnTo>
                  <a:lnTo>
                    <a:pt x="2816447" y="1316927"/>
                  </a:lnTo>
                  <a:lnTo>
                    <a:pt x="2813209" y="1324356"/>
                  </a:lnTo>
                  <a:lnTo>
                    <a:pt x="2809780" y="1340834"/>
                  </a:lnTo>
                  <a:lnTo>
                    <a:pt x="2807494" y="1357408"/>
                  </a:lnTo>
                  <a:lnTo>
                    <a:pt x="2803779" y="1372934"/>
                  </a:lnTo>
                  <a:lnTo>
                    <a:pt x="2795873" y="1386459"/>
                  </a:lnTo>
                  <a:lnTo>
                    <a:pt x="2781110" y="1376363"/>
                  </a:lnTo>
                  <a:lnTo>
                    <a:pt x="2764441" y="1382840"/>
                  </a:lnTo>
                  <a:lnTo>
                    <a:pt x="2757773" y="1387697"/>
                  </a:lnTo>
                  <a:lnTo>
                    <a:pt x="2747105" y="1395413"/>
                  </a:lnTo>
                  <a:lnTo>
                    <a:pt x="2730437" y="1403509"/>
                  </a:lnTo>
                  <a:lnTo>
                    <a:pt x="2714339" y="1406938"/>
                  </a:lnTo>
                  <a:lnTo>
                    <a:pt x="2709482" y="1409510"/>
                  </a:lnTo>
                  <a:lnTo>
                    <a:pt x="2703386" y="1415891"/>
                  </a:lnTo>
                  <a:lnTo>
                    <a:pt x="2699480" y="1423511"/>
                  </a:lnTo>
                  <a:lnTo>
                    <a:pt x="2696051" y="1432084"/>
                  </a:lnTo>
                  <a:lnTo>
                    <a:pt x="2691384" y="1441323"/>
                  </a:lnTo>
                  <a:lnTo>
                    <a:pt x="2664809" y="1461802"/>
                  </a:lnTo>
                  <a:lnTo>
                    <a:pt x="2652617" y="1474470"/>
                  </a:lnTo>
                  <a:lnTo>
                    <a:pt x="2650998" y="1491139"/>
                  </a:lnTo>
                  <a:lnTo>
                    <a:pt x="2638330" y="1513904"/>
                  </a:lnTo>
                  <a:lnTo>
                    <a:pt x="2599658" y="1539526"/>
                  </a:lnTo>
                  <a:lnTo>
                    <a:pt x="2588800" y="1570292"/>
                  </a:lnTo>
                  <a:lnTo>
                    <a:pt x="2586038" y="1603343"/>
                  </a:lnTo>
                  <a:lnTo>
                    <a:pt x="2582704" y="1618107"/>
                  </a:lnTo>
                  <a:lnTo>
                    <a:pt x="2579275" y="1628775"/>
                  </a:lnTo>
                  <a:lnTo>
                    <a:pt x="2568321" y="1630204"/>
                  </a:lnTo>
                  <a:lnTo>
                    <a:pt x="2519363" y="1625727"/>
                  </a:lnTo>
                  <a:lnTo>
                    <a:pt x="2506504" y="1621822"/>
                  </a:lnTo>
                  <a:lnTo>
                    <a:pt x="2494312" y="1614583"/>
                  </a:lnTo>
                  <a:lnTo>
                    <a:pt x="2484596" y="1603248"/>
                  </a:lnTo>
                  <a:lnTo>
                    <a:pt x="2476596" y="1612678"/>
                  </a:lnTo>
                  <a:lnTo>
                    <a:pt x="2458403" y="1630490"/>
                  </a:lnTo>
                  <a:lnTo>
                    <a:pt x="2450878" y="1633728"/>
                  </a:lnTo>
                  <a:lnTo>
                    <a:pt x="2440115" y="1627727"/>
                  </a:lnTo>
                  <a:lnTo>
                    <a:pt x="2415826" y="1607058"/>
                  </a:lnTo>
                  <a:lnTo>
                    <a:pt x="2407349" y="1602391"/>
                  </a:lnTo>
                  <a:lnTo>
                    <a:pt x="2391537" y="1599724"/>
                  </a:lnTo>
                  <a:lnTo>
                    <a:pt x="2341055" y="1606201"/>
                  </a:lnTo>
                  <a:lnTo>
                    <a:pt x="2340388" y="1606582"/>
                  </a:lnTo>
                  <a:lnTo>
                    <a:pt x="2332006" y="1611916"/>
                  </a:lnTo>
                  <a:lnTo>
                    <a:pt x="2309527" y="1639538"/>
                  </a:lnTo>
                  <a:lnTo>
                    <a:pt x="2287238" y="1680591"/>
                  </a:lnTo>
                  <a:lnTo>
                    <a:pt x="2279428" y="1689735"/>
                  </a:lnTo>
                  <a:lnTo>
                    <a:pt x="2248376" y="1705832"/>
                  </a:lnTo>
                  <a:lnTo>
                    <a:pt x="2239423" y="1706499"/>
                  </a:lnTo>
                  <a:lnTo>
                    <a:pt x="2218658" y="1698117"/>
                  </a:lnTo>
                  <a:lnTo>
                    <a:pt x="2208276" y="1696974"/>
                  </a:lnTo>
                  <a:lnTo>
                    <a:pt x="2198751" y="1702213"/>
                  </a:lnTo>
                  <a:lnTo>
                    <a:pt x="2190560" y="1716691"/>
                  </a:lnTo>
                  <a:lnTo>
                    <a:pt x="2168366" y="1714976"/>
                  </a:lnTo>
                  <a:lnTo>
                    <a:pt x="2146364" y="1708880"/>
                  </a:lnTo>
                  <a:lnTo>
                    <a:pt x="2092357" y="1682591"/>
                  </a:lnTo>
                  <a:lnTo>
                    <a:pt x="2067973" y="1664018"/>
                  </a:lnTo>
                  <a:lnTo>
                    <a:pt x="2047399" y="1626870"/>
                  </a:lnTo>
                  <a:lnTo>
                    <a:pt x="2038350" y="1605725"/>
                  </a:lnTo>
                  <a:lnTo>
                    <a:pt x="2028539" y="1590389"/>
                  </a:lnTo>
                  <a:lnTo>
                    <a:pt x="1989963" y="1556671"/>
                  </a:lnTo>
                  <a:lnTo>
                    <a:pt x="1965865" y="1529429"/>
                  </a:lnTo>
                  <a:lnTo>
                    <a:pt x="1943862" y="1514761"/>
                  </a:lnTo>
                  <a:lnTo>
                    <a:pt x="1908810" y="1491329"/>
                  </a:lnTo>
                  <a:lnTo>
                    <a:pt x="1879283" y="1457896"/>
                  </a:lnTo>
                  <a:lnTo>
                    <a:pt x="1867948" y="1444943"/>
                  </a:lnTo>
                  <a:lnTo>
                    <a:pt x="1845564" y="1429321"/>
                  </a:lnTo>
                  <a:lnTo>
                    <a:pt x="1840802" y="1424559"/>
                  </a:lnTo>
                  <a:lnTo>
                    <a:pt x="1837373" y="1417320"/>
                  </a:lnTo>
                  <a:lnTo>
                    <a:pt x="1830134" y="1393793"/>
                  </a:lnTo>
                  <a:lnTo>
                    <a:pt x="1827276" y="1387602"/>
                  </a:lnTo>
                  <a:lnTo>
                    <a:pt x="1822514" y="1385507"/>
                  </a:lnTo>
                  <a:lnTo>
                    <a:pt x="1799273" y="1387412"/>
                  </a:lnTo>
                  <a:lnTo>
                    <a:pt x="1792605" y="1386078"/>
                  </a:lnTo>
                  <a:lnTo>
                    <a:pt x="1773079" y="1376648"/>
                  </a:lnTo>
                  <a:lnTo>
                    <a:pt x="1746599" y="1381506"/>
                  </a:lnTo>
                  <a:lnTo>
                    <a:pt x="1705451" y="1374362"/>
                  </a:lnTo>
                  <a:lnTo>
                    <a:pt x="1612011" y="1358170"/>
                  </a:lnTo>
                  <a:lnTo>
                    <a:pt x="1597914" y="1347883"/>
                  </a:lnTo>
                  <a:lnTo>
                    <a:pt x="1586579" y="1326737"/>
                  </a:lnTo>
                  <a:lnTo>
                    <a:pt x="1579626" y="1304163"/>
                  </a:lnTo>
                  <a:lnTo>
                    <a:pt x="1575816" y="1297305"/>
                  </a:lnTo>
                  <a:lnTo>
                    <a:pt x="1562862" y="1282827"/>
                  </a:lnTo>
                  <a:lnTo>
                    <a:pt x="1558957" y="1275588"/>
                  </a:lnTo>
                  <a:lnTo>
                    <a:pt x="1554671" y="1262539"/>
                  </a:lnTo>
                  <a:lnTo>
                    <a:pt x="1544574" y="1219962"/>
                  </a:lnTo>
                  <a:lnTo>
                    <a:pt x="1534382" y="1190435"/>
                  </a:lnTo>
                  <a:lnTo>
                    <a:pt x="1527429" y="1178624"/>
                  </a:lnTo>
                  <a:lnTo>
                    <a:pt x="1519142" y="1175861"/>
                  </a:lnTo>
                  <a:lnTo>
                    <a:pt x="1513713" y="1181005"/>
                  </a:lnTo>
                  <a:lnTo>
                    <a:pt x="1512284" y="1188530"/>
                  </a:lnTo>
                  <a:lnTo>
                    <a:pt x="1511808" y="1196340"/>
                  </a:lnTo>
                  <a:lnTo>
                    <a:pt x="1509332" y="1202531"/>
                  </a:lnTo>
                  <a:lnTo>
                    <a:pt x="1506188" y="1203198"/>
                  </a:lnTo>
                  <a:lnTo>
                    <a:pt x="1497616" y="1199769"/>
                  </a:lnTo>
                  <a:lnTo>
                    <a:pt x="1493711" y="1199960"/>
                  </a:lnTo>
                  <a:lnTo>
                    <a:pt x="1458468" y="1215676"/>
                  </a:lnTo>
                  <a:lnTo>
                    <a:pt x="1444276" y="1221962"/>
                  </a:lnTo>
                  <a:lnTo>
                    <a:pt x="1428940" y="1234154"/>
                  </a:lnTo>
                  <a:lnTo>
                    <a:pt x="1397318" y="1277303"/>
                  </a:lnTo>
                  <a:lnTo>
                    <a:pt x="1389983" y="1285018"/>
                  </a:lnTo>
                  <a:lnTo>
                    <a:pt x="1367504" y="1298162"/>
                  </a:lnTo>
                  <a:lnTo>
                    <a:pt x="1354265" y="1303973"/>
                  </a:lnTo>
                  <a:lnTo>
                    <a:pt x="1341501" y="1300448"/>
                  </a:lnTo>
                  <a:lnTo>
                    <a:pt x="1316736" y="1282160"/>
                  </a:lnTo>
                  <a:lnTo>
                    <a:pt x="1304163" y="1277207"/>
                  </a:lnTo>
                  <a:lnTo>
                    <a:pt x="1292162" y="1279303"/>
                  </a:lnTo>
                  <a:lnTo>
                    <a:pt x="1245108" y="1303973"/>
                  </a:lnTo>
                  <a:lnTo>
                    <a:pt x="1234821" y="1305878"/>
                  </a:lnTo>
                  <a:lnTo>
                    <a:pt x="1234250" y="1305878"/>
                  </a:lnTo>
                  <a:cubicBezTo>
                    <a:pt x="1234250" y="1305878"/>
                    <a:pt x="1222439" y="1303687"/>
                    <a:pt x="1222439" y="1303687"/>
                  </a:cubicBezTo>
                  <a:lnTo>
                    <a:pt x="1209389" y="1296353"/>
                  </a:lnTo>
                  <a:lnTo>
                    <a:pt x="1172813" y="1267396"/>
                  </a:lnTo>
                  <a:lnTo>
                    <a:pt x="1129856" y="1253585"/>
                  </a:lnTo>
                  <a:lnTo>
                    <a:pt x="1124807" y="1251966"/>
                  </a:lnTo>
                  <a:lnTo>
                    <a:pt x="1111949" y="1251585"/>
                  </a:lnTo>
                  <a:lnTo>
                    <a:pt x="1085088" y="1257871"/>
                  </a:lnTo>
                  <a:lnTo>
                    <a:pt x="1072991" y="1255871"/>
                  </a:lnTo>
                  <a:lnTo>
                    <a:pt x="1072515" y="1253585"/>
                  </a:lnTo>
                  <a:lnTo>
                    <a:pt x="1072991" y="1249204"/>
                  </a:lnTo>
                  <a:lnTo>
                    <a:pt x="1072515" y="1243965"/>
                  </a:lnTo>
                  <a:lnTo>
                    <a:pt x="1069181" y="1239107"/>
                  </a:lnTo>
                  <a:lnTo>
                    <a:pt x="1065943" y="1237869"/>
                  </a:lnTo>
                  <a:lnTo>
                    <a:pt x="1055275" y="1239679"/>
                  </a:lnTo>
                  <a:lnTo>
                    <a:pt x="1028224" y="1238250"/>
                  </a:lnTo>
                  <a:lnTo>
                    <a:pt x="1015746" y="1241965"/>
                  </a:lnTo>
                  <a:lnTo>
                    <a:pt x="992314" y="1255967"/>
                  </a:lnTo>
                  <a:lnTo>
                    <a:pt x="978313" y="1254919"/>
                  </a:lnTo>
                  <a:lnTo>
                    <a:pt x="938022" y="1237679"/>
                  </a:lnTo>
                  <a:lnTo>
                    <a:pt x="911828" y="1226439"/>
                  </a:lnTo>
                  <a:lnTo>
                    <a:pt x="903161" y="1224725"/>
                  </a:lnTo>
                  <a:lnTo>
                    <a:pt x="858012" y="1235297"/>
                  </a:lnTo>
                  <a:lnTo>
                    <a:pt x="850868" y="1239869"/>
                  </a:lnTo>
                  <a:lnTo>
                    <a:pt x="854202" y="1247204"/>
                  </a:lnTo>
                  <a:lnTo>
                    <a:pt x="834676" y="1268349"/>
                  </a:lnTo>
                  <a:lnTo>
                    <a:pt x="815054" y="1273016"/>
                  </a:lnTo>
                  <a:lnTo>
                    <a:pt x="797338" y="1259205"/>
                  </a:lnTo>
                  <a:lnTo>
                    <a:pt x="783622" y="1224534"/>
                  </a:lnTo>
                  <a:lnTo>
                    <a:pt x="774097" y="1204246"/>
                  </a:lnTo>
                  <a:lnTo>
                    <a:pt x="761429" y="1197102"/>
                  </a:lnTo>
                  <a:lnTo>
                    <a:pt x="747617" y="1199674"/>
                  </a:lnTo>
                  <a:lnTo>
                    <a:pt x="736187" y="1207675"/>
                  </a:lnTo>
                  <a:lnTo>
                    <a:pt x="721900" y="1217676"/>
                  </a:lnTo>
                  <a:lnTo>
                    <a:pt x="666845" y="1240536"/>
                  </a:lnTo>
                  <a:lnTo>
                    <a:pt x="660940" y="1241393"/>
                  </a:lnTo>
                  <a:lnTo>
                    <a:pt x="654177" y="1238536"/>
                  </a:lnTo>
                  <a:lnTo>
                    <a:pt x="636937" y="1220248"/>
                  </a:lnTo>
                  <a:lnTo>
                    <a:pt x="626650" y="1214628"/>
                  </a:lnTo>
                  <a:lnTo>
                    <a:pt x="625697" y="1214152"/>
                  </a:lnTo>
                  <a:lnTo>
                    <a:pt x="600742" y="1208342"/>
                  </a:lnTo>
                  <a:lnTo>
                    <a:pt x="485204" y="1212247"/>
                  </a:lnTo>
                  <a:lnTo>
                    <a:pt x="477584" y="1209104"/>
                  </a:lnTo>
                  <a:lnTo>
                    <a:pt x="463106" y="1198245"/>
                  </a:lnTo>
                  <a:lnTo>
                    <a:pt x="455676" y="1194435"/>
                  </a:lnTo>
                  <a:lnTo>
                    <a:pt x="438150" y="1193197"/>
                  </a:lnTo>
                  <a:lnTo>
                    <a:pt x="395002" y="1213676"/>
                  </a:lnTo>
                  <a:lnTo>
                    <a:pt x="388049" y="1217009"/>
                  </a:lnTo>
                  <a:lnTo>
                    <a:pt x="278702" y="1268730"/>
                  </a:lnTo>
                  <a:lnTo>
                    <a:pt x="244221" y="1270254"/>
                  </a:lnTo>
                  <a:lnTo>
                    <a:pt x="229743" y="1277684"/>
                  </a:lnTo>
                  <a:lnTo>
                    <a:pt x="175355" y="1319689"/>
                  </a:lnTo>
                  <a:lnTo>
                    <a:pt x="169259" y="1321689"/>
                  </a:lnTo>
                  <a:lnTo>
                    <a:pt x="151638" y="1322546"/>
                  </a:lnTo>
                  <a:lnTo>
                    <a:pt x="139732" y="1328738"/>
                  </a:lnTo>
                  <a:lnTo>
                    <a:pt x="125254" y="1340930"/>
                  </a:lnTo>
                  <a:lnTo>
                    <a:pt x="111443" y="1356170"/>
                  </a:lnTo>
                  <a:lnTo>
                    <a:pt x="101632" y="1371600"/>
                  </a:lnTo>
                  <a:lnTo>
                    <a:pt x="94964" y="1394079"/>
                  </a:lnTo>
                  <a:lnTo>
                    <a:pt x="92107" y="1413320"/>
                  </a:lnTo>
                  <a:lnTo>
                    <a:pt x="86297" y="1426559"/>
                  </a:lnTo>
                  <a:lnTo>
                    <a:pt x="70676" y="1430941"/>
                  </a:lnTo>
                  <a:lnTo>
                    <a:pt x="47816" y="1431131"/>
                  </a:lnTo>
                  <a:lnTo>
                    <a:pt x="33052" y="1434846"/>
                  </a:lnTo>
                  <a:lnTo>
                    <a:pt x="33052" y="1434656"/>
                  </a:lnTo>
                  <a:lnTo>
                    <a:pt x="32766" y="1431417"/>
                  </a:lnTo>
                  <a:lnTo>
                    <a:pt x="28956" y="1405604"/>
                  </a:lnTo>
                  <a:lnTo>
                    <a:pt x="23527" y="1382649"/>
                  </a:lnTo>
                  <a:lnTo>
                    <a:pt x="6096" y="1338548"/>
                  </a:lnTo>
                  <a:lnTo>
                    <a:pt x="1905" y="1323404"/>
                  </a:lnTo>
                  <a:lnTo>
                    <a:pt x="191" y="1308354"/>
                  </a:lnTo>
                  <a:lnTo>
                    <a:pt x="952" y="1303973"/>
                  </a:lnTo>
                  <a:lnTo>
                    <a:pt x="4572" y="1290257"/>
                  </a:lnTo>
                  <a:lnTo>
                    <a:pt x="5525" y="1282256"/>
                  </a:lnTo>
                  <a:lnTo>
                    <a:pt x="5525" y="1274731"/>
                  </a:lnTo>
                  <a:lnTo>
                    <a:pt x="5048" y="1268444"/>
                  </a:lnTo>
                  <a:lnTo>
                    <a:pt x="952" y="1240822"/>
                  </a:lnTo>
                  <a:lnTo>
                    <a:pt x="0" y="1226725"/>
                  </a:lnTo>
                  <a:lnTo>
                    <a:pt x="762" y="1213199"/>
                  </a:lnTo>
                  <a:lnTo>
                    <a:pt x="4096" y="1202436"/>
                  </a:lnTo>
                  <a:lnTo>
                    <a:pt x="9335" y="1192911"/>
                  </a:lnTo>
                  <a:lnTo>
                    <a:pt x="11621" y="1187387"/>
                  </a:lnTo>
                  <a:lnTo>
                    <a:pt x="13526" y="1181005"/>
                  </a:lnTo>
                  <a:lnTo>
                    <a:pt x="14383" y="1173194"/>
                  </a:lnTo>
                  <a:lnTo>
                    <a:pt x="14383" y="1159383"/>
                  </a:lnTo>
                  <a:cubicBezTo>
                    <a:pt x="14383" y="1159383"/>
                    <a:pt x="16383" y="1152144"/>
                    <a:pt x="16383" y="1152144"/>
                  </a:cubicBezTo>
                  <a:lnTo>
                    <a:pt x="13526" y="1140238"/>
                  </a:lnTo>
                  <a:lnTo>
                    <a:pt x="12478" y="1127474"/>
                  </a:lnTo>
                  <a:lnTo>
                    <a:pt x="14764" y="1120902"/>
                  </a:lnTo>
                  <a:lnTo>
                    <a:pt x="21717" y="1127570"/>
                  </a:lnTo>
                  <a:lnTo>
                    <a:pt x="24194" y="1134904"/>
                  </a:lnTo>
                  <a:lnTo>
                    <a:pt x="26289" y="1153382"/>
                  </a:lnTo>
                  <a:lnTo>
                    <a:pt x="29718" y="1161764"/>
                  </a:lnTo>
                  <a:lnTo>
                    <a:pt x="24194" y="1171385"/>
                  </a:lnTo>
                  <a:lnTo>
                    <a:pt x="26861" y="1174052"/>
                  </a:lnTo>
                  <a:lnTo>
                    <a:pt x="29718" y="1175766"/>
                  </a:lnTo>
                  <a:lnTo>
                    <a:pt x="29718" y="1190625"/>
                  </a:lnTo>
                  <a:lnTo>
                    <a:pt x="24194" y="1199769"/>
                  </a:lnTo>
                  <a:lnTo>
                    <a:pt x="33052" y="1212533"/>
                  </a:lnTo>
                  <a:lnTo>
                    <a:pt x="36290" y="1214628"/>
                  </a:lnTo>
                  <a:lnTo>
                    <a:pt x="39529" y="1213009"/>
                  </a:lnTo>
                  <a:lnTo>
                    <a:pt x="42291" y="1208913"/>
                  </a:lnTo>
                  <a:lnTo>
                    <a:pt x="43339" y="1203389"/>
                  </a:lnTo>
                  <a:lnTo>
                    <a:pt x="38957" y="1188625"/>
                  </a:lnTo>
                  <a:lnTo>
                    <a:pt x="38195" y="1176147"/>
                  </a:lnTo>
                  <a:lnTo>
                    <a:pt x="38767" y="1164241"/>
                  </a:lnTo>
                  <a:lnTo>
                    <a:pt x="40291" y="1156716"/>
                  </a:lnTo>
                  <a:lnTo>
                    <a:pt x="38576" y="1151858"/>
                  </a:lnTo>
                  <a:lnTo>
                    <a:pt x="36862" y="1139476"/>
                  </a:lnTo>
                  <a:lnTo>
                    <a:pt x="34957" y="1132618"/>
                  </a:lnTo>
                  <a:lnTo>
                    <a:pt x="32861" y="1127379"/>
                  </a:lnTo>
                  <a:lnTo>
                    <a:pt x="30956" y="1124141"/>
                  </a:lnTo>
                  <a:lnTo>
                    <a:pt x="24098" y="1118140"/>
                  </a:lnTo>
                  <a:lnTo>
                    <a:pt x="19812" y="1116044"/>
                  </a:lnTo>
                  <a:lnTo>
                    <a:pt x="16288" y="1115568"/>
                  </a:lnTo>
                  <a:lnTo>
                    <a:pt x="13430" y="1113949"/>
                  </a:lnTo>
                  <a:lnTo>
                    <a:pt x="10763" y="1108424"/>
                  </a:lnTo>
                  <a:lnTo>
                    <a:pt x="9144" y="1100614"/>
                  </a:lnTo>
                  <a:lnTo>
                    <a:pt x="10287" y="1097471"/>
                  </a:lnTo>
                  <a:lnTo>
                    <a:pt x="12287" y="1094423"/>
                  </a:lnTo>
                  <a:lnTo>
                    <a:pt x="16288" y="1065467"/>
                  </a:lnTo>
                  <a:lnTo>
                    <a:pt x="30194" y="1024795"/>
                  </a:lnTo>
                  <a:lnTo>
                    <a:pt x="34957" y="1001744"/>
                  </a:lnTo>
                  <a:lnTo>
                    <a:pt x="37624" y="940975"/>
                  </a:lnTo>
                  <a:lnTo>
                    <a:pt x="36100" y="926878"/>
                  </a:lnTo>
                  <a:lnTo>
                    <a:pt x="33338" y="914210"/>
                  </a:lnTo>
                  <a:lnTo>
                    <a:pt x="32766" y="902113"/>
                  </a:lnTo>
                  <a:lnTo>
                    <a:pt x="37624" y="889730"/>
                  </a:lnTo>
                  <a:lnTo>
                    <a:pt x="69533" y="868299"/>
                  </a:lnTo>
                  <a:lnTo>
                    <a:pt x="73247" y="861727"/>
                  </a:lnTo>
                  <a:lnTo>
                    <a:pt x="98965" y="845915"/>
                  </a:lnTo>
                  <a:lnTo>
                    <a:pt x="106013" y="838391"/>
                  </a:lnTo>
                  <a:lnTo>
                    <a:pt x="120301" y="816388"/>
                  </a:lnTo>
                  <a:lnTo>
                    <a:pt x="124301" y="811816"/>
                  </a:lnTo>
                  <a:lnTo>
                    <a:pt x="129159" y="808958"/>
                  </a:lnTo>
                  <a:lnTo>
                    <a:pt x="140113" y="798862"/>
                  </a:lnTo>
                  <a:lnTo>
                    <a:pt x="152495" y="787337"/>
                  </a:lnTo>
                  <a:lnTo>
                    <a:pt x="161163" y="773620"/>
                  </a:lnTo>
                  <a:lnTo>
                    <a:pt x="168593" y="753142"/>
                  </a:lnTo>
                  <a:lnTo>
                    <a:pt x="173260" y="727615"/>
                  </a:lnTo>
                  <a:lnTo>
                    <a:pt x="173736" y="698468"/>
                  </a:lnTo>
                  <a:lnTo>
                    <a:pt x="172593" y="690848"/>
                  </a:lnTo>
                  <a:lnTo>
                    <a:pt x="168402" y="671608"/>
                  </a:lnTo>
                  <a:lnTo>
                    <a:pt x="169259" y="663893"/>
                  </a:lnTo>
                  <a:lnTo>
                    <a:pt x="172974" y="653701"/>
                  </a:lnTo>
                  <a:lnTo>
                    <a:pt x="173831" y="647510"/>
                  </a:lnTo>
                  <a:lnTo>
                    <a:pt x="172974" y="600647"/>
                  </a:lnTo>
                  <a:lnTo>
                    <a:pt x="173831" y="585597"/>
                  </a:lnTo>
                  <a:lnTo>
                    <a:pt x="176403" y="572738"/>
                  </a:lnTo>
                  <a:lnTo>
                    <a:pt x="181166" y="559975"/>
                  </a:lnTo>
                  <a:lnTo>
                    <a:pt x="187357" y="550164"/>
                  </a:lnTo>
                  <a:lnTo>
                    <a:pt x="194024" y="546164"/>
                  </a:lnTo>
                  <a:lnTo>
                    <a:pt x="199358" y="540258"/>
                  </a:lnTo>
                  <a:lnTo>
                    <a:pt x="213932" y="501301"/>
                  </a:lnTo>
                  <a:lnTo>
                    <a:pt x="241745" y="464249"/>
                  </a:lnTo>
                  <a:lnTo>
                    <a:pt x="284607" y="379762"/>
                  </a:lnTo>
                  <a:lnTo>
                    <a:pt x="296418" y="366332"/>
                  </a:lnTo>
                  <a:lnTo>
                    <a:pt x="312801" y="357378"/>
                  </a:lnTo>
                  <a:lnTo>
                    <a:pt x="384524" y="352425"/>
                  </a:lnTo>
                  <a:lnTo>
                    <a:pt x="401384" y="347091"/>
                  </a:lnTo>
                  <a:lnTo>
                    <a:pt x="477393" y="305467"/>
                  </a:lnTo>
                  <a:lnTo>
                    <a:pt x="589979" y="243650"/>
                  </a:lnTo>
                  <a:lnTo>
                    <a:pt x="606457" y="238411"/>
                  </a:lnTo>
                  <a:lnTo>
                    <a:pt x="615410" y="237744"/>
                  </a:lnTo>
                  <a:lnTo>
                    <a:pt x="619792" y="236220"/>
                  </a:lnTo>
                  <a:lnTo>
                    <a:pt x="624554" y="233267"/>
                  </a:lnTo>
                  <a:lnTo>
                    <a:pt x="629698" y="231172"/>
                  </a:lnTo>
                  <a:lnTo>
                    <a:pt x="635318" y="232410"/>
                  </a:lnTo>
                  <a:lnTo>
                    <a:pt x="639223" y="234887"/>
                  </a:lnTo>
                  <a:lnTo>
                    <a:pt x="639223" y="235744"/>
                  </a:lnTo>
                  <a:cubicBezTo>
                    <a:pt x="639223" y="235744"/>
                    <a:pt x="637127" y="237554"/>
                    <a:pt x="637127" y="237554"/>
                  </a:cubicBezTo>
                  <a:lnTo>
                    <a:pt x="635318" y="242792"/>
                  </a:lnTo>
                  <a:lnTo>
                    <a:pt x="631603" y="270320"/>
                  </a:lnTo>
                  <a:lnTo>
                    <a:pt x="630174" y="300323"/>
                  </a:lnTo>
                  <a:lnTo>
                    <a:pt x="631698" y="315087"/>
                  </a:lnTo>
                  <a:lnTo>
                    <a:pt x="635508" y="325755"/>
                  </a:lnTo>
                  <a:lnTo>
                    <a:pt x="657035" y="357950"/>
                  </a:lnTo>
                  <a:lnTo>
                    <a:pt x="743807" y="433769"/>
                  </a:lnTo>
                  <a:lnTo>
                    <a:pt x="771620" y="468821"/>
                  </a:lnTo>
                  <a:lnTo>
                    <a:pt x="803148" y="496538"/>
                  </a:lnTo>
                  <a:lnTo>
                    <a:pt x="823341" y="508254"/>
                  </a:lnTo>
                  <a:lnTo>
                    <a:pt x="836676" y="511397"/>
                  </a:lnTo>
                  <a:lnTo>
                    <a:pt x="841629" y="513683"/>
                  </a:lnTo>
                  <a:lnTo>
                    <a:pt x="842772" y="519303"/>
                  </a:lnTo>
                  <a:lnTo>
                    <a:pt x="842963" y="526447"/>
                  </a:lnTo>
                  <a:lnTo>
                    <a:pt x="844677" y="533591"/>
                  </a:lnTo>
                  <a:lnTo>
                    <a:pt x="853250" y="551307"/>
                  </a:lnTo>
                  <a:lnTo>
                    <a:pt x="854964" y="554831"/>
                  </a:lnTo>
                  <a:lnTo>
                    <a:pt x="858869" y="566642"/>
                  </a:lnTo>
                  <a:lnTo>
                    <a:pt x="861917" y="580835"/>
                  </a:lnTo>
                  <a:lnTo>
                    <a:pt x="864965" y="606171"/>
                  </a:lnTo>
                  <a:lnTo>
                    <a:pt x="868299" y="619316"/>
                  </a:lnTo>
                  <a:lnTo>
                    <a:pt x="874109" y="625031"/>
                  </a:lnTo>
                  <a:lnTo>
                    <a:pt x="877538" y="631698"/>
                  </a:lnTo>
                  <a:lnTo>
                    <a:pt x="888492" y="698183"/>
                  </a:lnTo>
                  <a:lnTo>
                    <a:pt x="892588" y="709327"/>
                  </a:lnTo>
                  <a:lnTo>
                    <a:pt x="898017" y="713804"/>
                  </a:lnTo>
                  <a:lnTo>
                    <a:pt x="904970" y="716566"/>
                  </a:lnTo>
                  <a:lnTo>
                    <a:pt x="923449" y="738283"/>
                  </a:lnTo>
                  <a:lnTo>
                    <a:pt x="955643" y="751427"/>
                  </a:lnTo>
                  <a:lnTo>
                    <a:pt x="988981" y="757809"/>
                  </a:lnTo>
                  <a:lnTo>
                    <a:pt x="993743" y="761810"/>
                  </a:lnTo>
                  <a:lnTo>
                    <a:pt x="1012793" y="789908"/>
                  </a:lnTo>
                  <a:lnTo>
                    <a:pt x="1016318" y="792861"/>
                  </a:lnTo>
                  <a:lnTo>
                    <a:pt x="1018889" y="795052"/>
                  </a:lnTo>
                  <a:lnTo>
                    <a:pt x="1037177" y="800862"/>
                  </a:lnTo>
                  <a:lnTo>
                    <a:pt x="1061752" y="803434"/>
                  </a:lnTo>
                  <a:lnTo>
                    <a:pt x="1128332" y="787051"/>
                  </a:lnTo>
                  <a:lnTo>
                    <a:pt x="1152049" y="775526"/>
                  </a:lnTo>
                  <a:lnTo>
                    <a:pt x="1162145" y="770572"/>
                  </a:lnTo>
                  <a:lnTo>
                    <a:pt x="1177100" y="757714"/>
                  </a:lnTo>
                  <a:lnTo>
                    <a:pt x="1184148" y="747427"/>
                  </a:lnTo>
                  <a:lnTo>
                    <a:pt x="1189101" y="737807"/>
                  </a:lnTo>
                  <a:lnTo>
                    <a:pt x="1194435" y="730663"/>
                  </a:lnTo>
                  <a:lnTo>
                    <a:pt x="1209580" y="726377"/>
                  </a:lnTo>
                  <a:lnTo>
                    <a:pt x="1224534" y="716470"/>
                  </a:lnTo>
                  <a:lnTo>
                    <a:pt x="1262634" y="691420"/>
                  </a:lnTo>
                  <a:lnTo>
                    <a:pt x="1265968" y="681228"/>
                  </a:lnTo>
                  <a:lnTo>
                    <a:pt x="1273493" y="672941"/>
                  </a:lnTo>
                  <a:lnTo>
                    <a:pt x="1282256" y="667226"/>
                  </a:lnTo>
                  <a:lnTo>
                    <a:pt x="1289018" y="664655"/>
                  </a:lnTo>
                  <a:lnTo>
                    <a:pt x="1289018" y="656939"/>
                  </a:lnTo>
                  <a:cubicBezTo>
                    <a:pt x="1289018" y="656939"/>
                    <a:pt x="1293019" y="651796"/>
                    <a:pt x="1293019" y="651796"/>
                  </a:cubicBezTo>
                  <a:lnTo>
                    <a:pt x="1302353" y="645033"/>
                  </a:lnTo>
                  <a:lnTo>
                    <a:pt x="1328261" y="614934"/>
                  </a:lnTo>
                  <a:lnTo>
                    <a:pt x="1336643" y="594836"/>
                  </a:lnTo>
                  <a:lnTo>
                    <a:pt x="1339882" y="565976"/>
                  </a:lnTo>
                  <a:lnTo>
                    <a:pt x="1338548" y="532543"/>
                  </a:lnTo>
                  <a:lnTo>
                    <a:pt x="1329214" y="442246"/>
                  </a:lnTo>
                  <a:lnTo>
                    <a:pt x="1328547" y="415385"/>
                  </a:lnTo>
                  <a:lnTo>
                    <a:pt x="1326737" y="399383"/>
                  </a:lnTo>
                  <a:lnTo>
                    <a:pt x="1322546" y="392240"/>
                  </a:lnTo>
                  <a:lnTo>
                    <a:pt x="1320260" y="383572"/>
                  </a:lnTo>
                  <a:lnTo>
                    <a:pt x="1321975" y="364522"/>
                  </a:lnTo>
                  <a:lnTo>
                    <a:pt x="1326547" y="337757"/>
                  </a:lnTo>
                  <a:lnTo>
                    <a:pt x="1321975" y="294989"/>
                  </a:lnTo>
                  <a:lnTo>
                    <a:pt x="1319879" y="285369"/>
                  </a:lnTo>
                  <a:lnTo>
                    <a:pt x="1302734" y="256508"/>
                  </a:lnTo>
                  <a:lnTo>
                    <a:pt x="1297210" y="242792"/>
                  </a:lnTo>
                  <a:lnTo>
                    <a:pt x="1297210" y="229648"/>
                  </a:lnTo>
                  <a:lnTo>
                    <a:pt x="1293019" y="195358"/>
                  </a:lnTo>
                  <a:lnTo>
                    <a:pt x="1291876" y="178022"/>
                  </a:lnTo>
                  <a:lnTo>
                    <a:pt x="1293019" y="168688"/>
                  </a:lnTo>
                  <a:lnTo>
                    <a:pt x="1295876" y="159830"/>
                  </a:lnTo>
                  <a:lnTo>
                    <a:pt x="1299782" y="151924"/>
                  </a:lnTo>
                  <a:lnTo>
                    <a:pt x="1316736" y="158877"/>
                  </a:lnTo>
                  <a:lnTo>
                    <a:pt x="1327880" y="158306"/>
                  </a:lnTo>
                  <a:lnTo>
                    <a:pt x="1336929" y="153162"/>
                  </a:lnTo>
                  <a:lnTo>
                    <a:pt x="1341311" y="145733"/>
                  </a:lnTo>
                  <a:lnTo>
                    <a:pt x="1347692" y="128302"/>
                  </a:lnTo>
                  <a:lnTo>
                    <a:pt x="1352550" y="122587"/>
                  </a:lnTo>
                  <a:lnTo>
                    <a:pt x="1367981" y="114395"/>
                  </a:lnTo>
                  <a:lnTo>
                    <a:pt x="1388459" y="95536"/>
                  </a:lnTo>
                  <a:lnTo>
                    <a:pt x="1396270" y="93821"/>
                  </a:lnTo>
                  <a:lnTo>
                    <a:pt x="1423607" y="96393"/>
                  </a:lnTo>
                  <a:lnTo>
                    <a:pt x="1447229" y="93726"/>
                  </a:lnTo>
                  <a:lnTo>
                    <a:pt x="1453325" y="88868"/>
                  </a:lnTo>
                  <a:lnTo>
                    <a:pt x="1460468" y="68580"/>
                  </a:lnTo>
                  <a:lnTo>
                    <a:pt x="1466183" y="60960"/>
                  </a:lnTo>
                  <a:lnTo>
                    <a:pt x="1478375" y="64103"/>
                  </a:lnTo>
                  <a:lnTo>
                    <a:pt x="1488472" y="70676"/>
                  </a:lnTo>
                  <a:lnTo>
                    <a:pt x="1498568" y="72390"/>
                  </a:lnTo>
                  <a:lnTo>
                    <a:pt x="1502664" y="68580"/>
                  </a:lnTo>
                  <a:lnTo>
                    <a:pt x="1510856" y="61055"/>
                  </a:lnTo>
                  <a:lnTo>
                    <a:pt x="1520285" y="54959"/>
                  </a:lnTo>
                  <a:lnTo>
                    <a:pt x="1550194" y="50578"/>
                  </a:lnTo>
                  <a:lnTo>
                    <a:pt x="1560100" y="43625"/>
                  </a:lnTo>
                  <a:lnTo>
                    <a:pt x="1583436" y="19526"/>
                  </a:lnTo>
                  <a:lnTo>
                    <a:pt x="1588865" y="13907"/>
                  </a:lnTo>
                  <a:lnTo>
                    <a:pt x="1597343" y="8477"/>
                  </a:lnTo>
                  <a:lnTo>
                    <a:pt x="1606487" y="5715"/>
                  </a:lnTo>
                  <a:lnTo>
                    <a:pt x="1624679" y="5239"/>
                  </a:lnTo>
                  <a:lnTo>
                    <a:pt x="1634776" y="12097"/>
                  </a:lnTo>
                  <a:lnTo>
                    <a:pt x="1640110" y="27242"/>
                  </a:lnTo>
                  <a:lnTo>
                    <a:pt x="1643634" y="45339"/>
                  </a:lnTo>
                  <a:lnTo>
                    <a:pt x="1648397" y="61151"/>
                  </a:lnTo>
                  <a:lnTo>
                    <a:pt x="1654112" y="66008"/>
                  </a:lnTo>
                  <a:lnTo>
                    <a:pt x="1660208" y="66008"/>
                  </a:lnTo>
                  <a:lnTo>
                    <a:pt x="1672685" y="59531"/>
                  </a:lnTo>
                  <a:lnTo>
                    <a:pt x="1680401" y="49244"/>
                  </a:lnTo>
                  <a:lnTo>
                    <a:pt x="1677734" y="37529"/>
                  </a:lnTo>
                  <a:lnTo>
                    <a:pt x="1666780" y="17621"/>
                  </a:lnTo>
                  <a:lnTo>
                    <a:pt x="1667256" y="4858"/>
                  </a:lnTo>
                  <a:lnTo>
                    <a:pt x="1672209" y="0"/>
                  </a:lnTo>
                  <a:lnTo>
                    <a:pt x="1679258" y="1238"/>
                  </a:lnTo>
                  <a:lnTo>
                    <a:pt x="1686211" y="6953"/>
                  </a:lnTo>
                  <a:lnTo>
                    <a:pt x="1688878" y="12002"/>
                  </a:lnTo>
                  <a:lnTo>
                    <a:pt x="1693450" y="25337"/>
                  </a:lnTo>
                  <a:lnTo>
                    <a:pt x="1695926" y="29623"/>
                  </a:lnTo>
                  <a:lnTo>
                    <a:pt x="1699451" y="31814"/>
                  </a:lnTo>
                  <a:lnTo>
                    <a:pt x="1701832" y="31242"/>
                  </a:lnTo>
                  <a:lnTo>
                    <a:pt x="1704404" y="29909"/>
                  </a:lnTo>
                  <a:lnTo>
                    <a:pt x="1708404" y="29718"/>
                  </a:lnTo>
                  <a:lnTo>
                    <a:pt x="1724025" y="38195"/>
                  </a:lnTo>
                  <a:lnTo>
                    <a:pt x="1747647" y="66961"/>
                  </a:lnTo>
                  <a:lnTo>
                    <a:pt x="1762982" y="76867"/>
                  </a:lnTo>
                  <a:lnTo>
                    <a:pt x="1776698" y="79915"/>
                  </a:lnTo>
                  <a:lnTo>
                    <a:pt x="1780508" y="82582"/>
                  </a:lnTo>
                  <a:lnTo>
                    <a:pt x="1783842" y="88106"/>
                  </a:lnTo>
                  <a:lnTo>
                    <a:pt x="1784414" y="92107"/>
                  </a:lnTo>
                  <a:lnTo>
                    <a:pt x="1784414" y="92869"/>
                  </a:lnTo>
                  <a:cubicBezTo>
                    <a:pt x="1784414" y="92869"/>
                    <a:pt x="1784890" y="97727"/>
                    <a:pt x="1784890" y="97727"/>
                  </a:cubicBezTo>
                  <a:lnTo>
                    <a:pt x="1786985" y="103537"/>
                  </a:lnTo>
                  <a:lnTo>
                    <a:pt x="1795177" y="114395"/>
                  </a:lnTo>
                  <a:lnTo>
                    <a:pt x="1803749" y="119729"/>
                  </a:lnTo>
                  <a:lnTo>
                    <a:pt x="1812893" y="121158"/>
                  </a:lnTo>
                  <a:lnTo>
                    <a:pt x="1822609" y="120301"/>
                  </a:lnTo>
                  <a:lnTo>
                    <a:pt x="1843564" y="113062"/>
                  </a:lnTo>
                  <a:lnTo>
                    <a:pt x="1847945" y="111538"/>
                  </a:lnTo>
                  <a:lnTo>
                    <a:pt x="1853851" y="111728"/>
                  </a:lnTo>
                  <a:lnTo>
                    <a:pt x="1859756" y="121920"/>
                  </a:lnTo>
                  <a:lnTo>
                    <a:pt x="1863376" y="136779"/>
                  </a:lnTo>
                  <a:lnTo>
                    <a:pt x="1868329" y="151448"/>
                  </a:lnTo>
                  <a:lnTo>
                    <a:pt x="1878140" y="160877"/>
                  </a:lnTo>
                  <a:lnTo>
                    <a:pt x="1959959" y="168212"/>
                  </a:lnTo>
                  <a:lnTo>
                    <a:pt x="1964531" y="170498"/>
                  </a:lnTo>
                  <a:lnTo>
                    <a:pt x="1967389" y="174117"/>
                  </a:lnTo>
                  <a:lnTo>
                    <a:pt x="1968627" y="181070"/>
                  </a:lnTo>
                  <a:lnTo>
                    <a:pt x="1967294" y="185452"/>
                  </a:lnTo>
                  <a:lnTo>
                    <a:pt x="1965103" y="189833"/>
                  </a:lnTo>
                  <a:lnTo>
                    <a:pt x="1963960" y="196501"/>
                  </a:lnTo>
                  <a:lnTo>
                    <a:pt x="1965103" y="211550"/>
                  </a:lnTo>
                  <a:lnTo>
                    <a:pt x="1968532" y="220599"/>
                  </a:lnTo>
                  <a:lnTo>
                    <a:pt x="2011585" y="256794"/>
                  </a:lnTo>
                  <a:lnTo>
                    <a:pt x="2024539" y="271939"/>
                  </a:lnTo>
                  <a:lnTo>
                    <a:pt x="2061401" y="332518"/>
                  </a:lnTo>
                  <a:lnTo>
                    <a:pt x="2074640" y="348234"/>
                  </a:lnTo>
                  <a:lnTo>
                    <a:pt x="2090738" y="359855"/>
                  </a:lnTo>
                  <a:lnTo>
                    <a:pt x="2095690" y="361950"/>
                  </a:lnTo>
                  <a:lnTo>
                    <a:pt x="2126552" y="375380"/>
                  </a:lnTo>
                  <a:lnTo>
                    <a:pt x="2126647" y="375380"/>
                  </a:lnTo>
                  <a:cubicBezTo>
                    <a:pt x="2126647" y="375380"/>
                    <a:pt x="2133124" y="381762"/>
                    <a:pt x="2133124" y="381762"/>
                  </a:cubicBezTo>
                  <a:lnTo>
                    <a:pt x="2146173" y="400431"/>
                  </a:lnTo>
                  <a:lnTo>
                    <a:pt x="2153412" y="408623"/>
                  </a:lnTo>
                  <a:lnTo>
                    <a:pt x="2159413" y="407575"/>
                  </a:lnTo>
                  <a:lnTo>
                    <a:pt x="2164747" y="402812"/>
                  </a:lnTo>
                  <a:lnTo>
                    <a:pt x="2169986" y="399669"/>
                  </a:lnTo>
                  <a:lnTo>
                    <a:pt x="2173700" y="400622"/>
                  </a:lnTo>
                  <a:lnTo>
                    <a:pt x="2180939" y="405860"/>
                  </a:lnTo>
                  <a:lnTo>
                    <a:pt x="2184654" y="407099"/>
                  </a:lnTo>
                  <a:lnTo>
                    <a:pt x="2188655" y="405289"/>
                  </a:lnTo>
                  <a:lnTo>
                    <a:pt x="2190464" y="400812"/>
                  </a:lnTo>
                  <a:lnTo>
                    <a:pt x="2191798" y="395478"/>
                  </a:lnTo>
                  <a:lnTo>
                    <a:pt x="2194274" y="390811"/>
                  </a:lnTo>
                  <a:lnTo>
                    <a:pt x="2205800" y="380619"/>
                  </a:lnTo>
                  <a:lnTo>
                    <a:pt x="2218468" y="372999"/>
                  </a:lnTo>
                  <a:lnTo>
                    <a:pt x="2231517" y="368713"/>
                  </a:lnTo>
                  <a:lnTo>
                    <a:pt x="2261711" y="370332"/>
                  </a:lnTo>
                  <a:lnTo>
                    <a:pt x="2268569" y="368237"/>
                  </a:lnTo>
                  <a:lnTo>
                    <a:pt x="2276570" y="361093"/>
                  </a:lnTo>
                  <a:lnTo>
                    <a:pt x="2281238" y="350996"/>
                  </a:lnTo>
                  <a:lnTo>
                    <a:pt x="2285238" y="340233"/>
                  </a:lnTo>
                  <a:lnTo>
                    <a:pt x="2291334" y="330994"/>
                  </a:lnTo>
                  <a:lnTo>
                    <a:pt x="2298573" y="327660"/>
                  </a:lnTo>
                  <a:lnTo>
                    <a:pt x="2303336" y="331375"/>
                  </a:lnTo>
                  <a:lnTo>
                    <a:pt x="2307717" y="336518"/>
                  </a:lnTo>
                  <a:lnTo>
                    <a:pt x="2313813" y="337661"/>
                  </a:lnTo>
                  <a:lnTo>
                    <a:pt x="2320671" y="336137"/>
                  </a:lnTo>
                  <a:lnTo>
                    <a:pt x="2327434" y="336328"/>
                  </a:lnTo>
                  <a:lnTo>
                    <a:pt x="2340864" y="340995"/>
                  </a:lnTo>
                  <a:lnTo>
                    <a:pt x="2350008" y="348329"/>
                  </a:lnTo>
                  <a:lnTo>
                    <a:pt x="2364296" y="370427"/>
                  </a:lnTo>
                  <a:lnTo>
                    <a:pt x="2372201" y="379667"/>
                  </a:lnTo>
                  <a:lnTo>
                    <a:pt x="2381441" y="384143"/>
                  </a:lnTo>
                  <a:lnTo>
                    <a:pt x="2412683" y="386144"/>
                  </a:lnTo>
                  <a:lnTo>
                    <a:pt x="2472785" y="408337"/>
                  </a:lnTo>
                  <a:lnTo>
                    <a:pt x="2485644" y="400050"/>
                  </a:lnTo>
                </a:path>
              </a:pathLst>
            </a:custGeom>
            <a:grpFill/>
            <a:ln w="9525" cap="sq">
              <a:noFill/>
              <a:prstDash val="solid"/>
              <a:bevel/>
            </a:ln>
          </p:spPr>
          <p:txBody>
            <a:bodyPr rtlCol="0" anchor="ctr"/>
            <a:lstStyle/>
            <a:p>
              <a:endParaRPr lang="cs-CZ"/>
            </a:p>
          </p:txBody>
        </p:sp>
        <p:sp>
          <p:nvSpPr>
            <p:cNvPr id="158" name="Freeform: Shape 157">
              <a:extLst>
                <a:ext uri="{FF2B5EF4-FFF2-40B4-BE49-F238E27FC236}">
                  <a16:creationId xmlns:a16="http://schemas.microsoft.com/office/drawing/2014/main" id="{C0465CB9-40A0-5529-1DE8-3BE21FB142E1}"/>
                </a:ext>
              </a:extLst>
            </p:cNvPr>
            <p:cNvSpPr/>
            <p:nvPr/>
          </p:nvSpPr>
          <p:spPr>
            <a:xfrm>
              <a:off x="7970755" y="7363870"/>
              <a:ext cx="13811" cy="52292"/>
            </a:xfrm>
            <a:custGeom>
              <a:avLst/>
              <a:gdLst>
                <a:gd name="connsiteX0" fmla="*/ 1905 w 13811"/>
                <a:gd name="connsiteY0" fmla="*/ 52292 h 52292"/>
                <a:gd name="connsiteX1" fmla="*/ 1905 w 13811"/>
                <a:gd name="connsiteY1" fmla="*/ 38481 h 52292"/>
                <a:gd name="connsiteX2" fmla="*/ 3905 w 13811"/>
                <a:gd name="connsiteY2" fmla="*/ 31242 h 52292"/>
                <a:gd name="connsiteX3" fmla="*/ 1048 w 13811"/>
                <a:gd name="connsiteY3" fmla="*/ 19336 h 52292"/>
                <a:gd name="connsiteX4" fmla="*/ 0 w 13811"/>
                <a:gd name="connsiteY4" fmla="*/ 6572 h 52292"/>
                <a:gd name="connsiteX5" fmla="*/ 2286 w 13811"/>
                <a:gd name="connsiteY5" fmla="*/ 0 h 52292"/>
                <a:gd name="connsiteX6" fmla="*/ 9239 w 13811"/>
                <a:gd name="connsiteY6" fmla="*/ 6668 h 52292"/>
                <a:gd name="connsiteX7" fmla="*/ 11716 w 13811"/>
                <a:gd name="connsiteY7" fmla="*/ 14002 h 52292"/>
                <a:gd name="connsiteX8" fmla="*/ 13811 w 13811"/>
                <a:gd name="connsiteY8" fmla="*/ 32480 h 52292"/>
                <a:gd name="connsiteX9" fmla="*/ 9239 w 13811"/>
                <a:gd name="connsiteY9" fmla="*/ 34290 h 52292"/>
                <a:gd name="connsiteX10" fmla="*/ 8477 w 13811"/>
                <a:gd name="connsiteY10" fmla="*/ 44387 h 52292"/>
                <a:gd name="connsiteX11" fmla="*/ 7525 w 13811"/>
                <a:gd name="connsiteY11" fmla="*/ 51340 h 52292"/>
                <a:gd name="connsiteX12" fmla="*/ 2000 w 13811"/>
                <a:gd name="connsiteY12" fmla="*/ 52197 h 5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1" h="52292">
                  <a:moveTo>
                    <a:pt x="1905" y="52292"/>
                  </a:moveTo>
                  <a:lnTo>
                    <a:pt x="1905" y="38481"/>
                  </a:lnTo>
                  <a:cubicBezTo>
                    <a:pt x="1905" y="38481"/>
                    <a:pt x="3905" y="31242"/>
                    <a:pt x="3905" y="31242"/>
                  </a:cubicBezTo>
                  <a:lnTo>
                    <a:pt x="1048" y="19336"/>
                  </a:lnTo>
                  <a:lnTo>
                    <a:pt x="0" y="6572"/>
                  </a:lnTo>
                  <a:lnTo>
                    <a:pt x="2286" y="0"/>
                  </a:lnTo>
                  <a:lnTo>
                    <a:pt x="9239" y="6668"/>
                  </a:lnTo>
                  <a:lnTo>
                    <a:pt x="11716" y="14002"/>
                  </a:lnTo>
                  <a:lnTo>
                    <a:pt x="13811" y="32480"/>
                  </a:lnTo>
                  <a:lnTo>
                    <a:pt x="9239" y="34290"/>
                  </a:lnTo>
                  <a:lnTo>
                    <a:pt x="8477" y="44387"/>
                  </a:lnTo>
                  <a:lnTo>
                    <a:pt x="7525" y="51340"/>
                  </a:lnTo>
                  <a:lnTo>
                    <a:pt x="2000" y="52197"/>
                  </a:lnTo>
                </a:path>
              </a:pathLst>
            </a:custGeom>
            <a:grpFill/>
            <a:ln w="9525" cap="sq">
              <a:noFill/>
              <a:prstDash val="solid"/>
              <a:bevel/>
            </a:ln>
          </p:spPr>
          <p:txBody>
            <a:bodyPr rtlCol="0" anchor="ctr"/>
            <a:lstStyle/>
            <a:p>
              <a:endParaRPr lang="cs-CZ"/>
            </a:p>
          </p:txBody>
        </p:sp>
        <p:sp>
          <p:nvSpPr>
            <p:cNvPr id="159" name="Freeform: Shape 158">
              <a:extLst>
                <a:ext uri="{FF2B5EF4-FFF2-40B4-BE49-F238E27FC236}">
                  <a16:creationId xmlns:a16="http://schemas.microsoft.com/office/drawing/2014/main" id="{D95DEF1E-A78D-A353-AA56-9FDE363AE596}"/>
                </a:ext>
              </a:extLst>
            </p:cNvPr>
            <p:cNvSpPr/>
            <p:nvPr/>
          </p:nvSpPr>
          <p:spPr>
            <a:xfrm>
              <a:off x="9837846" y="6766843"/>
              <a:ext cx="943070" cy="1192434"/>
            </a:xfrm>
            <a:custGeom>
              <a:avLst/>
              <a:gdLst>
                <a:gd name="connsiteX0" fmla="*/ 942023 w 943070"/>
                <a:gd name="connsiteY0" fmla="*/ 764953 h 1192434"/>
                <a:gd name="connsiteX1" fmla="*/ 926306 w 943070"/>
                <a:gd name="connsiteY1" fmla="*/ 716947 h 1192434"/>
                <a:gd name="connsiteX2" fmla="*/ 923544 w 943070"/>
                <a:gd name="connsiteY2" fmla="*/ 702755 h 1192434"/>
                <a:gd name="connsiteX3" fmla="*/ 922401 w 943070"/>
                <a:gd name="connsiteY3" fmla="*/ 686657 h 1192434"/>
                <a:gd name="connsiteX4" fmla="*/ 923830 w 943070"/>
                <a:gd name="connsiteY4" fmla="*/ 662464 h 1192434"/>
                <a:gd name="connsiteX5" fmla="*/ 922401 w 943070"/>
                <a:gd name="connsiteY5" fmla="*/ 654844 h 1192434"/>
                <a:gd name="connsiteX6" fmla="*/ 919353 w 943070"/>
                <a:gd name="connsiteY6" fmla="*/ 649034 h 1192434"/>
                <a:gd name="connsiteX7" fmla="*/ 899160 w 943070"/>
                <a:gd name="connsiteY7" fmla="*/ 623030 h 1192434"/>
                <a:gd name="connsiteX8" fmla="*/ 896017 w 943070"/>
                <a:gd name="connsiteY8" fmla="*/ 616839 h 1192434"/>
                <a:gd name="connsiteX9" fmla="*/ 894779 w 943070"/>
                <a:gd name="connsiteY9" fmla="*/ 609981 h 1192434"/>
                <a:gd name="connsiteX10" fmla="*/ 897065 w 943070"/>
                <a:gd name="connsiteY10" fmla="*/ 601694 h 1192434"/>
                <a:gd name="connsiteX11" fmla="*/ 907161 w 943070"/>
                <a:gd name="connsiteY11" fmla="*/ 591979 h 1192434"/>
                <a:gd name="connsiteX12" fmla="*/ 909923 w 943070"/>
                <a:gd name="connsiteY12" fmla="*/ 585692 h 1192434"/>
                <a:gd name="connsiteX13" fmla="*/ 907542 w 943070"/>
                <a:gd name="connsiteY13" fmla="*/ 577406 h 1192434"/>
                <a:gd name="connsiteX14" fmla="*/ 900684 w 943070"/>
                <a:gd name="connsiteY14" fmla="*/ 572167 h 1192434"/>
                <a:gd name="connsiteX15" fmla="*/ 869537 w 943070"/>
                <a:gd name="connsiteY15" fmla="*/ 556927 h 1192434"/>
                <a:gd name="connsiteX16" fmla="*/ 862679 w 943070"/>
                <a:gd name="connsiteY16" fmla="*/ 549307 h 1192434"/>
                <a:gd name="connsiteX17" fmla="*/ 857441 w 943070"/>
                <a:gd name="connsiteY17" fmla="*/ 537782 h 1192434"/>
                <a:gd name="connsiteX18" fmla="*/ 855345 w 943070"/>
                <a:gd name="connsiteY18" fmla="*/ 522827 h 1192434"/>
                <a:gd name="connsiteX19" fmla="*/ 855059 w 943070"/>
                <a:gd name="connsiteY19" fmla="*/ 490918 h 1192434"/>
                <a:gd name="connsiteX20" fmla="*/ 851059 w 943070"/>
                <a:gd name="connsiteY20" fmla="*/ 478822 h 1192434"/>
                <a:gd name="connsiteX21" fmla="*/ 812673 w 943070"/>
                <a:gd name="connsiteY21" fmla="*/ 451580 h 1192434"/>
                <a:gd name="connsiteX22" fmla="*/ 806006 w 943070"/>
                <a:gd name="connsiteY22" fmla="*/ 439388 h 1192434"/>
                <a:gd name="connsiteX23" fmla="*/ 810197 w 943070"/>
                <a:gd name="connsiteY23" fmla="*/ 427482 h 1192434"/>
                <a:gd name="connsiteX24" fmla="*/ 819531 w 943070"/>
                <a:gd name="connsiteY24" fmla="*/ 410718 h 1192434"/>
                <a:gd name="connsiteX25" fmla="*/ 826865 w 943070"/>
                <a:gd name="connsiteY25" fmla="*/ 394430 h 1192434"/>
                <a:gd name="connsiteX26" fmla="*/ 824770 w 943070"/>
                <a:gd name="connsiteY26" fmla="*/ 384334 h 1192434"/>
                <a:gd name="connsiteX27" fmla="*/ 816197 w 943070"/>
                <a:gd name="connsiteY27" fmla="*/ 377476 h 1192434"/>
                <a:gd name="connsiteX28" fmla="*/ 800862 w 943070"/>
                <a:gd name="connsiteY28" fmla="*/ 359950 h 1192434"/>
                <a:gd name="connsiteX29" fmla="*/ 792575 w 943070"/>
                <a:gd name="connsiteY29" fmla="*/ 352901 h 1192434"/>
                <a:gd name="connsiteX30" fmla="*/ 775240 w 943070"/>
                <a:gd name="connsiteY30" fmla="*/ 347853 h 1192434"/>
                <a:gd name="connsiteX31" fmla="*/ 758761 w 943070"/>
                <a:gd name="connsiteY31" fmla="*/ 352520 h 1192434"/>
                <a:gd name="connsiteX32" fmla="*/ 726472 w 943070"/>
                <a:gd name="connsiteY32" fmla="*/ 370713 h 1192434"/>
                <a:gd name="connsiteX33" fmla="*/ 719900 w 943070"/>
                <a:gd name="connsiteY33" fmla="*/ 368903 h 1192434"/>
                <a:gd name="connsiteX34" fmla="*/ 713708 w 943070"/>
                <a:gd name="connsiteY34" fmla="*/ 367189 h 1192434"/>
                <a:gd name="connsiteX35" fmla="*/ 721614 w 943070"/>
                <a:gd name="connsiteY35" fmla="*/ 342233 h 1192434"/>
                <a:gd name="connsiteX36" fmla="*/ 747522 w 943070"/>
                <a:gd name="connsiteY36" fmla="*/ 286512 h 1192434"/>
                <a:gd name="connsiteX37" fmla="*/ 748856 w 943070"/>
                <a:gd name="connsiteY37" fmla="*/ 278416 h 1192434"/>
                <a:gd name="connsiteX38" fmla="*/ 749713 w 943070"/>
                <a:gd name="connsiteY38" fmla="*/ 264128 h 1192434"/>
                <a:gd name="connsiteX39" fmla="*/ 750665 w 943070"/>
                <a:gd name="connsiteY39" fmla="*/ 256889 h 1192434"/>
                <a:gd name="connsiteX40" fmla="*/ 753142 w 943070"/>
                <a:gd name="connsiteY40" fmla="*/ 248984 h 1192434"/>
                <a:gd name="connsiteX41" fmla="*/ 759428 w 943070"/>
                <a:gd name="connsiteY41" fmla="*/ 233553 h 1192434"/>
                <a:gd name="connsiteX42" fmla="*/ 761333 w 943070"/>
                <a:gd name="connsiteY42" fmla="*/ 225743 h 1192434"/>
                <a:gd name="connsiteX43" fmla="*/ 759333 w 943070"/>
                <a:gd name="connsiteY43" fmla="*/ 207359 h 1192434"/>
                <a:gd name="connsiteX44" fmla="*/ 750189 w 943070"/>
                <a:gd name="connsiteY44" fmla="*/ 200216 h 1192434"/>
                <a:gd name="connsiteX45" fmla="*/ 740093 w 943070"/>
                <a:gd name="connsiteY45" fmla="*/ 194882 h 1192434"/>
                <a:gd name="connsiteX46" fmla="*/ 734663 w 943070"/>
                <a:gd name="connsiteY46" fmla="*/ 181737 h 1192434"/>
                <a:gd name="connsiteX47" fmla="*/ 741998 w 943070"/>
                <a:gd name="connsiteY47" fmla="*/ 170974 h 1192434"/>
                <a:gd name="connsiteX48" fmla="*/ 778193 w 943070"/>
                <a:gd name="connsiteY48" fmla="*/ 153353 h 1192434"/>
                <a:gd name="connsiteX49" fmla="*/ 790004 w 943070"/>
                <a:gd name="connsiteY49" fmla="*/ 142018 h 1192434"/>
                <a:gd name="connsiteX50" fmla="*/ 793718 w 943070"/>
                <a:gd name="connsiteY50" fmla="*/ 126682 h 1192434"/>
                <a:gd name="connsiteX51" fmla="*/ 796576 w 943070"/>
                <a:gd name="connsiteY51" fmla="*/ 104584 h 1192434"/>
                <a:gd name="connsiteX52" fmla="*/ 798481 w 943070"/>
                <a:gd name="connsiteY52" fmla="*/ 64199 h 1192434"/>
                <a:gd name="connsiteX53" fmla="*/ 796195 w 943070"/>
                <a:gd name="connsiteY53" fmla="*/ 47434 h 1192434"/>
                <a:gd name="connsiteX54" fmla="*/ 791337 w 943070"/>
                <a:gd name="connsiteY54" fmla="*/ 37052 h 1192434"/>
                <a:gd name="connsiteX55" fmla="*/ 784098 w 943070"/>
                <a:gd name="connsiteY55" fmla="*/ 30575 h 1192434"/>
                <a:gd name="connsiteX56" fmla="*/ 744665 w 943070"/>
                <a:gd name="connsiteY56" fmla="*/ 6001 h 1192434"/>
                <a:gd name="connsiteX57" fmla="*/ 739426 w 943070"/>
                <a:gd name="connsiteY57" fmla="*/ 0 h 1192434"/>
                <a:gd name="connsiteX58" fmla="*/ 737140 w 943070"/>
                <a:gd name="connsiteY58" fmla="*/ 17145 h 1192434"/>
                <a:gd name="connsiteX59" fmla="*/ 734568 w 943070"/>
                <a:gd name="connsiteY59" fmla="*/ 21336 h 1192434"/>
                <a:gd name="connsiteX60" fmla="*/ 730853 w 943070"/>
                <a:gd name="connsiteY60" fmla="*/ 26099 h 1192434"/>
                <a:gd name="connsiteX61" fmla="*/ 726948 w 943070"/>
                <a:gd name="connsiteY61" fmla="*/ 27432 h 1192434"/>
                <a:gd name="connsiteX62" fmla="*/ 723043 w 943070"/>
                <a:gd name="connsiteY62" fmla="*/ 30766 h 1192434"/>
                <a:gd name="connsiteX63" fmla="*/ 702755 w 943070"/>
                <a:gd name="connsiteY63" fmla="*/ 42291 h 1192434"/>
                <a:gd name="connsiteX64" fmla="*/ 697706 w 943070"/>
                <a:gd name="connsiteY64" fmla="*/ 53245 h 1192434"/>
                <a:gd name="connsiteX65" fmla="*/ 691515 w 943070"/>
                <a:gd name="connsiteY65" fmla="*/ 57245 h 1192434"/>
                <a:gd name="connsiteX66" fmla="*/ 685324 w 943070"/>
                <a:gd name="connsiteY66" fmla="*/ 70295 h 1192434"/>
                <a:gd name="connsiteX67" fmla="*/ 674180 w 943070"/>
                <a:gd name="connsiteY67" fmla="*/ 69532 h 1192434"/>
                <a:gd name="connsiteX68" fmla="*/ 671132 w 943070"/>
                <a:gd name="connsiteY68" fmla="*/ 69914 h 1192434"/>
                <a:gd name="connsiteX69" fmla="*/ 664369 w 943070"/>
                <a:gd name="connsiteY69" fmla="*/ 66008 h 1192434"/>
                <a:gd name="connsiteX70" fmla="*/ 658654 w 943070"/>
                <a:gd name="connsiteY70" fmla="*/ 59531 h 1192434"/>
                <a:gd name="connsiteX71" fmla="*/ 648462 w 943070"/>
                <a:gd name="connsiteY71" fmla="*/ 59246 h 1192434"/>
                <a:gd name="connsiteX72" fmla="*/ 627221 w 943070"/>
                <a:gd name="connsiteY72" fmla="*/ 67247 h 1192434"/>
                <a:gd name="connsiteX73" fmla="*/ 607219 w 943070"/>
                <a:gd name="connsiteY73" fmla="*/ 51626 h 1192434"/>
                <a:gd name="connsiteX74" fmla="*/ 595979 w 943070"/>
                <a:gd name="connsiteY74" fmla="*/ 56959 h 1192434"/>
                <a:gd name="connsiteX75" fmla="*/ 576453 w 943070"/>
                <a:gd name="connsiteY75" fmla="*/ 79057 h 1192434"/>
                <a:gd name="connsiteX76" fmla="*/ 565690 w 943070"/>
                <a:gd name="connsiteY76" fmla="*/ 77438 h 1192434"/>
                <a:gd name="connsiteX77" fmla="*/ 562927 w 943070"/>
                <a:gd name="connsiteY77" fmla="*/ 79248 h 1192434"/>
                <a:gd name="connsiteX78" fmla="*/ 560260 w 943070"/>
                <a:gd name="connsiteY78" fmla="*/ 81820 h 1192434"/>
                <a:gd name="connsiteX79" fmla="*/ 558165 w 943070"/>
                <a:gd name="connsiteY79" fmla="*/ 84582 h 1192434"/>
                <a:gd name="connsiteX80" fmla="*/ 554927 w 943070"/>
                <a:gd name="connsiteY80" fmla="*/ 87916 h 1192434"/>
                <a:gd name="connsiteX81" fmla="*/ 547307 w 943070"/>
                <a:gd name="connsiteY81" fmla="*/ 87630 h 1192434"/>
                <a:gd name="connsiteX82" fmla="*/ 540830 w 943070"/>
                <a:gd name="connsiteY82" fmla="*/ 92393 h 1192434"/>
                <a:gd name="connsiteX83" fmla="*/ 529971 w 943070"/>
                <a:gd name="connsiteY83" fmla="*/ 93726 h 1192434"/>
                <a:gd name="connsiteX84" fmla="*/ 519779 w 943070"/>
                <a:gd name="connsiteY84" fmla="*/ 112871 h 1192434"/>
                <a:gd name="connsiteX85" fmla="*/ 504539 w 943070"/>
                <a:gd name="connsiteY85" fmla="*/ 134112 h 1192434"/>
                <a:gd name="connsiteX86" fmla="*/ 494348 w 943070"/>
                <a:gd name="connsiteY86" fmla="*/ 144494 h 1192434"/>
                <a:gd name="connsiteX87" fmla="*/ 472154 w 943070"/>
                <a:gd name="connsiteY87" fmla="*/ 174022 h 1192434"/>
                <a:gd name="connsiteX88" fmla="*/ 467201 w 943070"/>
                <a:gd name="connsiteY88" fmla="*/ 180785 h 1192434"/>
                <a:gd name="connsiteX89" fmla="*/ 460915 w 943070"/>
                <a:gd name="connsiteY89" fmla="*/ 187643 h 1192434"/>
                <a:gd name="connsiteX90" fmla="*/ 450818 w 943070"/>
                <a:gd name="connsiteY90" fmla="*/ 209645 h 1192434"/>
                <a:gd name="connsiteX91" fmla="*/ 441579 w 943070"/>
                <a:gd name="connsiteY91" fmla="*/ 220409 h 1192434"/>
                <a:gd name="connsiteX92" fmla="*/ 430816 w 943070"/>
                <a:gd name="connsiteY92" fmla="*/ 227933 h 1192434"/>
                <a:gd name="connsiteX93" fmla="*/ 414719 w 943070"/>
                <a:gd name="connsiteY93" fmla="*/ 243173 h 1192434"/>
                <a:gd name="connsiteX94" fmla="*/ 417767 w 943070"/>
                <a:gd name="connsiteY94" fmla="*/ 251841 h 1192434"/>
                <a:gd name="connsiteX95" fmla="*/ 418909 w 943070"/>
                <a:gd name="connsiteY95" fmla="*/ 254127 h 1192434"/>
                <a:gd name="connsiteX96" fmla="*/ 414528 w 943070"/>
                <a:gd name="connsiteY96" fmla="*/ 268129 h 1192434"/>
                <a:gd name="connsiteX97" fmla="*/ 418338 w 943070"/>
                <a:gd name="connsiteY97" fmla="*/ 272987 h 1192434"/>
                <a:gd name="connsiteX98" fmla="*/ 421577 w 943070"/>
                <a:gd name="connsiteY98" fmla="*/ 271463 h 1192434"/>
                <a:gd name="connsiteX99" fmla="*/ 431102 w 943070"/>
                <a:gd name="connsiteY99" fmla="*/ 271748 h 1192434"/>
                <a:gd name="connsiteX100" fmla="*/ 434721 w 943070"/>
                <a:gd name="connsiteY100" fmla="*/ 274701 h 1192434"/>
                <a:gd name="connsiteX101" fmla="*/ 436817 w 943070"/>
                <a:gd name="connsiteY101" fmla="*/ 277939 h 1192434"/>
                <a:gd name="connsiteX102" fmla="*/ 435864 w 943070"/>
                <a:gd name="connsiteY102" fmla="*/ 286131 h 1192434"/>
                <a:gd name="connsiteX103" fmla="*/ 434435 w 943070"/>
                <a:gd name="connsiteY103" fmla="*/ 293370 h 1192434"/>
                <a:gd name="connsiteX104" fmla="*/ 434531 w 943070"/>
                <a:gd name="connsiteY104" fmla="*/ 299371 h 1192434"/>
                <a:gd name="connsiteX105" fmla="*/ 439388 w 943070"/>
                <a:gd name="connsiteY105" fmla="*/ 304800 h 1192434"/>
                <a:gd name="connsiteX106" fmla="*/ 451104 w 943070"/>
                <a:gd name="connsiteY106" fmla="*/ 312611 h 1192434"/>
                <a:gd name="connsiteX107" fmla="*/ 454438 w 943070"/>
                <a:gd name="connsiteY107" fmla="*/ 317945 h 1192434"/>
                <a:gd name="connsiteX108" fmla="*/ 457771 w 943070"/>
                <a:gd name="connsiteY108" fmla="*/ 333851 h 1192434"/>
                <a:gd name="connsiteX109" fmla="*/ 463201 w 943070"/>
                <a:gd name="connsiteY109" fmla="*/ 342900 h 1192434"/>
                <a:gd name="connsiteX110" fmla="*/ 462725 w 943070"/>
                <a:gd name="connsiteY110" fmla="*/ 348234 h 1192434"/>
                <a:gd name="connsiteX111" fmla="*/ 461582 w 943070"/>
                <a:gd name="connsiteY111" fmla="*/ 351949 h 1192434"/>
                <a:gd name="connsiteX112" fmla="*/ 450818 w 943070"/>
                <a:gd name="connsiteY112" fmla="*/ 365379 h 1192434"/>
                <a:gd name="connsiteX113" fmla="*/ 447294 w 943070"/>
                <a:gd name="connsiteY113" fmla="*/ 369951 h 1192434"/>
                <a:gd name="connsiteX114" fmla="*/ 441198 w 943070"/>
                <a:gd name="connsiteY114" fmla="*/ 376523 h 1192434"/>
                <a:gd name="connsiteX115" fmla="*/ 433007 w 943070"/>
                <a:gd name="connsiteY115" fmla="*/ 385858 h 1192434"/>
                <a:gd name="connsiteX116" fmla="*/ 384524 w 943070"/>
                <a:gd name="connsiteY116" fmla="*/ 464439 h 1192434"/>
                <a:gd name="connsiteX117" fmla="*/ 380429 w 943070"/>
                <a:gd name="connsiteY117" fmla="*/ 483108 h 1192434"/>
                <a:gd name="connsiteX118" fmla="*/ 379952 w 943070"/>
                <a:gd name="connsiteY118" fmla="*/ 485585 h 1192434"/>
                <a:gd name="connsiteX119" fmla="*/ 382429 w 943070"/>
                <a:gd name="connsiteY119" fmla="*/ 495395 h 1192434"/>
                <a:gd name="connsiteX120" fmla="*/ 382619 w 943070"/>
                <a:gd name="connsiteY120" fmla="*/ 500920 h 1192434"/>
                <a:gd name="connsiteX121" fmla="*/ 383762 w 943070"/>
                <a:gd name="connsiteY121" fmla="*/ 508635 h 1192434"/>
                <a:gd name="connsiteX122" fmla="*/ 382238 w 943070"/>
                <a:gd name="connsiteY122" fmla="*/ 517398 h 1192434"/>
                <a:gd name="connsiteX123" fmla="*/ 383286 w 943070"/>
                <a:gd name="connsiteY123" fmla="*/ 525304 h 1192434"/>
                <a:gd name="connsiteX124" fmla="*/ 386715 w 943070"/>
                <a:gd name="connsiteY124" fmla="*/ 529495 h 1192434"/>
                <a:gd name="connsiteX125" fmla="*/ 388239 w 943070"/>
                <a:gd name="connsiteY125" fmla="*/ 533210 h 1192434"/>
                <a:gd name="connsiteX126" fmla="*/ 386810 w 943070"/>
                <a:gd name="connsiteY126" fmla="*/ 535496 h 1192434"/>
                <a:gd name="connsiteX127" fmla="*/ 371570 w 943070"/>
                <a:gd name="connsiteY127" fmla="*/ 543401 h 1192434"/>
                <a:gd name="connsiteX128" fmla="*/ 366427 w 943070"/>
                <a:gd name="connsiteY128" fmla="*/ 549497 h 1192434"/>
                <a:gd name="connsiteX129" fmla="*/ 363569 w 943070"/>
                <a:gd name="connsiteY129" fmla="*/ 555784 h 1192434"/>
                <a:gd name="connsiteX130" fmla="*/ 369189 w 943070"/>
                <a:gd name="connsiteY130" fmla="*/ 569595 h 1192434"/>
                <a:gd name="connsiteX131" fmla="*/ 360902 w 943070"/>
                <a:gd name="connsiteY131" fmla="*/ 580644 h 1192434"/>
                <a:gd name="connsiteX132" fmla="*/ 354711 w 943070"/>
                <a:gd name="connsiteY132" fmla="*/ 578549 h 1192434"/>
                <a:gd name="connsiteX133" fmla="*/ 324041 w 943070"/>
                <a:gd name="connsiteY133" fmla="*/ 580263 h 1192434"/>
                <a:gd name="connsiteX134" fmla="*/ 311372 w 943070"/>
                <a:gd name="connsiteY134" fmla="*/ 606457 h 1192434"/>
                <a:gd name="connsiteX135" fmla="*/ 310896 w 943070"/>
                <a:gd name="connsiteY135" fmla="*/ 609981 h 1192434"/>
                <a:gd name="connsiteX136" fmla="*/ 310610 w 943070"/>
                <a:gd name="connsiteY136" fmla="*/ 613505 h 1192434"/>
                <a:gd name="connsiteX137" fmla="*/ 312230 w 943070"/>
                <a:gd name="connsiteY137" fmla="*/ 614267 h 1192434"/>
                <a:gd name="connsiteX138" fmla="*/ 312134 w 943070"/>
                <a:gd name="connsiteY138" fmla="*/ 614934 h 1192434"/>
                <a:gd name="connsiteX139" fmla="*/ 311849 w 943070"/>
                <a:gd name="connsiteY139" fmla="*/ 619030 h 1192434"/>
                <a:gd name="connsiteX140" fmla="*/ 297466 w 943070"/>
                <a:gd name="connsiteY140" fmla="*/ 620839 h 1192434"/>
                <a:gd name="connsiteX141" fmla="*/ 290132 w 943070"/>
                <a:gd name="connsiteY141" fmla="*/ 618363 h 1192434"/>
                <a:gd name="connsiteX142" fmla="*/ 285655 w 943070"/>
                <a:gd name="connsiteY142" fmla="*/ 615601 h 1192434"/>
                <a:gd name="connsiteX143" fmla="*/ 273939 w 943070"/>
                <a:gd name="connsiteY143" fmla="*/ 613982 h 1192434"/>
                <a:gd name="connsiteX144" fmla="*/ 264700 w 943070"/>
                <a:gd name="connsiteY144" fmla="*/ 615315 h 1192434"/>
                <a:gd name="connsiteX145" fmla="*/ 258032 w 943070"/>
                <a:gd name="connsiteY145" fmla="*/ 618935 h 1192434"/>
                <a:gd name="connsiteX146" fmla="*/ 253175 w 943070"/>
                <a:gd name="connsiteY146" fmla="*/ 623316 h 1192434"/>
                <a:gd name="connsiteX147" fmla="*/ 249365 w 943070"/>
                <a:gd name="connsiteY147" fmla="*/ 628079 h 1192434"/>
                <a:gd name="connsiteX148" fmla="*/ 240221 w 943070"/>
                <a:gd name="connsiteY148" fmla="*/ 635603 h 1192434"/>
                <a:gd name="connsiteX149" fmla="*/ 220790 w 943070"/>
                <a:gd name="connsiteY149" fmla="*/ 645795 h 1192434"/>
                <a:gd name="connsiteX150" fmla="*/ 217170 w 943070"/>
                <a:gd name="connsiteY150" fmla="*/ 629031 h 1192434"/>
                <a:gd name="connsiteX151" fmla="*/ 205550 w 943070"/>
                <a:gd name="connsiteY151" fmla="*/ 612458 h 1192434"/>
                <a:gd name="connsiteX152" fmla="*/ 204597 w 943070"/>
                <a:gd name="connsiteY152" fmla="*/ 606266 h 1192434"/>
                <a:gd name="connsiteX153" fmla="*/ 202597 w 943070"/>
                <a:gd name="connsiteY153" fmla="*/ 602647 h 1192434"/>
                <a:gd name="connsiteX154" fmla="*/ 200025 w 943070"/>
                <a:gd name="connsiteY154" fmla="*/ 600075 h 1192434"/>
                <a:gd name="connsiteX155" fmla="*/ 192786 w 943070"/>
                <a:gd name="connsiteY155" fmla="*/ 598456 h 1192434"/>
                <a:gd name="connsiteX156" fmla="*/ 179832 w 943070"/>
                <a:gd name="connsiteY156" fmla="*/ 602647 h 1192434"/>
                <a:gd name="connsiteX157" fmla="*/ 170307 w 943070"/>
                <a:gd name="connsiteY157" fmla="*/ 611981 h 1192434"/>
                <a:gd name="connsiteX158" fmla="*/ 157353 w 943070"/>
                <a:gd name="connsiteY158" fmla="*/ 630079 h 1192434"/>
                <a:gd name="connsiteX159" fmla="*/ 154115 w 943070"/>
                <a:gd name="connsiteY159" fmla="*/ 640842 h 1192434"/>
                <a:gd name="connsiteX160" fmla="*/ 139351 w 943070"/>
                <a:gd name="connsiteY160" fmla="*/ 660940 h 1192434"/>
                <a:gd name="connsiteX161" fmla="*/ 114109 w 943070"/>
                <a:gd name="connsiteY161" fmla="*/ 677037 h 1192434"/>
                <a:gd name="connsiteX162" fmla="*/ 122015 w 943070"/>
                <a:gd name="connsiteY162" fmla="*/ 677418 h 1192434"/>
                <a:gd name="connsiteX163" fmla="*/ 136017 w 943070"/>
                <a:gd name="connsiteY163" fmla="*/ 689134 h 1192434"/>
                <a:gd name="connsiteX164" fmla="*/ 140779 w 943070"/>
                <a:gd name="connsiteY164" fmla="*/ 695420 h 1192434"/>
                <a:gd name="connsiteX165" fmla="*/ 142208 w 943070"/>
                <a:gd name="connsiteY165" fmla="*/ 701040 h 1192434"/>
                <a:gd name="connsiteX166" fmla="*/ 143066 w 943070"/>
                <a:gd name="connsiteY166" fmla="*/ 707327 h 1192434"/>
                <a:gd name="connsiteX167" fmla="*/ 143446 w 943070"/>
                <a:gd name="connsiteY167" fmla="*/ 722090 h 1192434"/>
                <a:gd name="connsiteX168" fmla="*/ 144685 w 943070"/>
                <a:gd name="connsiteY168" fmla="*/ 725710 h 1192434"/>
                <a:gd name="connsiteX169" fmla="*/ 150209 w 943070"/>
                <a:gd name="connsiteY169" fmla="*/ 737235 h 1192434"/>
                <a:gd name="connsiteX170" fmla="*/ 151352 w 943070"/>
                <a:gd name="connsiteY170" fmla="*/ 740950 h 1192434"/>
                <a:gd name="connsiteX171" fmla="*/ 150971 w 943070"/>
                <a:gd name="connsiteY171" fmla="*/ 754571 h 1192434"/>
                <a:gd name="connsiteX172" fmla="*/ 151352 w 943070"/>
                <a:gd name="connsiteY172" fmla="*/ 758190 h 1192434"/>
                <a:gd name="connsiteX173" fmla="*/ 152400 w 943070"/>
                <a:gd name="connsiteY173" fmla="*/ 759905 h 1192434"/>
                <a:gd name="connsiteX174" fmla="*/ 154305 w 943070"/>
                <a:gd name="connsiteY174" fmla="*/ 762095 h 1192434"/>
                <a:gd name="connsiteX175" fmla="*/ 156020 w 943070"/>
                <a:gd name="connsiteY175" fmla="*/ 763524 h 1192434"/>
                <a:gd name="connsiteX176" fmla="*/ 156686 w 943070"/>
                <a:gd name="connsiteY176" fmla="*/ 762952 h 1192434"/>
                <a:gd name="connsiteX177" fmla="*/ 156591 w 943070"/>
                <a:gd name="connsiteY177" fmla="*/ 768763 h 1192434"/>
                <a:gd name="connsiteX178" fmla="*/ 155734 w 943070"/>
                <a:gd name="connsiteY178" fmla="*/ 773811 h 1192434"/>
                <a:gd name="connsiteX179" fmla="*/ 154591 w 943070"/>
                <a:gd name="connsiteY179" fmla="*/ 778097 h 1192434"/>
                <a:gd name="connsiteX180" fmla="*/ 154019 w 943070"/>
                <a:gd name="connsiteY180" fmla="*/ 781717 h 1192434"/>
                <a:gd name="connsiteX181" fmla="*/ 153257 w 943070"/>
                <a:gd name="connsiteY181" fmla="*/ 797623 h 1192434"/>
                <a:gd name="connsiteX182" fmla="*/ 154972 w 943070"/>
                <a:gd name="connsiteY182" fmla="*/ 803719 h 1192434"/>
                <a:gd name="connsiteX183" fmla="*/ 160687 w 943070"/>
                <a:gd name="connsiteY183" fmla="*/ 806101 h 1192434"/>
                <a:gd name="connsiteX184" fmla="*/ 165068 w 943070"/>
                <a:gd name="connsiteY184" fmla="*/ 806768 h 1192434"/>
                <a:gd name="connsiteX185" fmla="*/ 172784 w 943070"/>
                <a:gd name="connsiteY185" fmla="*/ 809720 h 1192434"/>
                <a:gd name="connsiteX186" fmla="*/ 176784 w 943070"/>
                <a:gd name="connsiteY186" fmla="*/ 810387 h 1192434"/>
                <a:gd name="connsiteX187" fmla="*/ 182594 w 943070"/>
                <a:gd name="connsiteY187" fmla="*/ 814388 h 1192434"/>
                <a:gd name="connsiteX188" fmla="*/ 196787 w 943070"/>
                <a:gd name="connsiteY188" fmla="*/ 833628 h 1192434"/>
                <a:gd name="connsiteX189" fmla="*/ 207454 w 943070"/>
                <a:gd name="connsiteY189" fmla="*/ 848106 h 1192434"/>
                <a:gd name="connsiteX190" fmla="*/ 210693 w 943070"/>
                <a:gd name="connsiteY190" fmla="*/ 857250 h 1192434"/>
                <a:gd name="connsiteX191" fmla="*/ 212312 w 943070"/>
                <a:gd name="connsiteY191" fmla="*/ 867918 h 1192434"/>
                <a:gd name="connsiteX192" fmla="*/ 213074 w 943070"/>
                <a:gd name="connsiteY192" fmla="*/ 886301 h 1192434"/>
                <a:gd name="connsiteX193" fmla="*/ 214122 w 943070"/>
                <a:gd name="connsiteY193" fmla="*/ 896398 h 1192434"/>
                <a:gd name="connsiteX194" fmla="*/ 202787 w 943070"/>
                <a:gd name="connsiteY194" fmla="*/ 876014 h 1192434"/>
                <a:gd name="connsiteX195" fmla="*/ 202311 w 943070"/>
                <a:gd name="connsiteY195" fmla="*/ 870394 h 1192434"/>
                <a:gd name="connsiteX196" fmla="*/ 203740 w 943070"/>
                <a:gd name="connsiteY196" fmla="*/ 867442 h 1192434"/>
                <a:gd name="connsiteX197" fmla="*/ 204502 w 943070"/>
                <a:gd name="connsiteY197" fmla="*/ 862870 h 1192434"/>
                <a:gd name="connsiteX198" fmla="*/ 203263 w 943070"/>
                <a:gd name="connsiteY198" fmla="*/ 859727 h 1192434"/>
                <a:gd name="connsiteX199" fmla="*/ 201549 w 943070"/>
                <a:gd name="connsiteY199" fmla="*/ 856679 h 1192434"/>
                <a:gd name="connsiteX200" fmla="*/ 198406 w 943070"/>
                <a:gd name="connsiteY200" fmla="*/ 854488 h 1192434"/>
                <a:gd name="connsiteX201" fmla="*/ 189548 w 943070"/>
                <a:gd name="connsiteY201" fmla="*/ 850678 h 1192434"/>
                <a:gd name="connsiteX202" fmla="*/ 179832 w 943070"/>
                <a:gd name="connsiteY202" fmla="*/ 848487 h 1192434"/>
                <a:gd name="connsiteX203" fmla="*/ 174403 w 943070"/>
                <a:gd name="connsiteY203" fmla="*/ 844963 h 1192434"/>
                <a:gd name="connsiteX204" fmla="*/ 165163 w 943070"/>
                <a:gd name="connsiteY204" fmla="*/ 845725 h 1192434"/>
                <a:gd name="connsiteX205" fmla="*/ 159829 w 943070"/>
                <a:gd name="connsiteY205" fmla="*/ 847439 h 1192434"/>
                <a:gd name="connsiteX206" fmla="*/ 133731 w 943070"/>
                <a:gd name="connsiteY206" fmla="*/ 870109 h 1192434"/>
                <a:gd name="connsiteX207" fmla="*/ 138589 w 943070"/>
                <a:gd name="connsiteY207" fmla="*/ 877157 h 1192434"/>
                <a:gd name="connsiteX208" fmla="*/ 139256 w 943070"/>
                <a:gd name="connsiteY208" fmla="*/ 879062 h 1192434"/>
                <a:gd name="connsiteX209" fmla="*/ 138970 w 943070"/>
                <a:gd name="connsiteY209" fmla="*/ 885444 h 1192434"/>
                <a:gd name="connsiteX210" fmla="*/ 130016 w 943070"/>
                <a:gd name="connsiteY210" fmla="*/ 892969 h 1192434"/>
                <a:gd name="connsiteX211" fmla="*/ 126587 w 943070"/>
                <a:gd name="connsiteY211" fmla="*/ 891350 h 1192434"/>
                <a:gd name="connsiteX212" fmla="*/ 121920 w 943070"/>
                <a:gd name="connsiteY212" fmla="*/ 890778 h 1192434"/>
                <a:gd name="connsiteX213" fmla="*/ 117634 w 943070"/>
                <a:gd name="connsiteY213" fmla="*/ 894683 h 1192434"/>
                <a:gd name="connsiteX214" fmla="*/ 115633 w 943070"/>
                <a:gd name="connsiteY214" fmla="*/ 899065 h 1192434"/>
                <a:gd name="connsiteX215" fmla="*/ 110585 w 943070"/>
                <a:gd name="connsiteY215" fmla="*/ 906685 h 1192434"/>
                <a:gd name="connsiteX216" fmla="*/ 102584 w 943070"/>
                <a:gd name="connsiteY216" fmla="*/ 914400 h 1192434"/>
                <a:gd name="connsiteX217" fmla="*/ 97631 w 943070"/>
                <a:gd name="connsiteY217" fmla="*/ 915352 h 1192434"/>
                <a:gd name="connsiteX218" fmla="*/ 94012 w 943070"/>
                <a:gd name="connsiteY218" fmla="*/ 913733 h 1192434"/>
                <a:gd name="connsiteX219" fmla="*/ 89535 w 943070"/>
                <a:gd name="connsiteY219" fmla="*/ 906209 h 1192434"/>
                <a:gd name="connsiteX220" fmla="*/ 82677 w 943070"/>
                <a:gd name="connsiteY220" fmla="*/ 900684 h 1192434"/>
                <a:gd name="connsiteX221" fmla="*/ 75629 w 943070"/>
                <a:gd name="connsiteY221" fmla="*/ 905447 h 1192434"/>
                <a:gd name="connsiteX222" fmla="*/ 72771 w 943070"/>
                <a:gd name="connsiteY222" fmla="*/ 908685 h 1192434"/>
                <a:gd name="connsiteX223" fmla="*/ 61913 w 943070"/>
                <a:gd name="connsiteY223" fmla="*/ 917734 h 1192434"/>
                <a:gd name="connsiteX224" fmla="*/ 56959 w 943070"/>
                <a:gd name="connsiteY224" fmla="*/ 918591 h 1192434"/>
                <a:gd name="connsiteX225" fmla="*/ 50863 w 943070"/>
                <a:gd name="connsiteY225" fmla="*/ 912305 h 1192434"/>
                <a:gd name="connsiteX226" fmla="*/ 46958 w 943070"/>
                <a:gd name="connsiteY226" fmla="*/ 905732 h 1192434"/>
                <a:gd name="connsiteX227" fmla="*/ 14002 w 943070"/>
                <a:gd name="connsiteY227" fmla="*/ 875919 h 1192434"/>
                <a:gd name="connsiteX228" fmla="*/ 15240 w 943070"/>
                <a:gd name="connsiteY228" fmla="*/ 885158 h 1192434"/>
                <a:gd name="connsiteX229" fmla="*/ 16574 w 943070"/>
                <a:gd name="connsiteY229" fmla="*/ 888873 h 1192434"/>
                <a:gd name="connsiteX230" fmla="*/ 21622 w 943070"/>
                <a:gd name="connsiteY230" fmla="*/ 896588 h 1192434"/>
                <a:gd name="connsiteX231" fmla="*/ 22765 w 943070"/>
                <a:gd name="connsiteY231" fmla="*/ 899731 h 1192434"/>
                <a:gd name="connsiteX232" fmla="*/ 25051 w 943070"/>
                <a:gd name="connsiteY232" fmla="*/ 904494 h 1192434"/>
                <a:gd name="connsiteX233" fmla="*/ 20765 w 943070"/>
                <a:gd name="connsiteY233" fmla="*/ 909352 h 1192434"/>
                <a:gd name="connsiteX234" fmla="*/ 19145 w 943070"/>
                <a:gd name="connsiteY234" fmla="*/ 915924 h 1192434"/>
                <a:gd name="connsiteX235" fmla="*/ 16383 w 943070"/>
                <a:gd name="connsiteY235" fmla="*/ 921068 h 1192434"/>
                <a:gd name="connsiteX236" fmla="*/ 5906 w 943070"/>
                <a:gd name="connsiteY236" fmla="*/ 928021 h 1192434"/>
                <a:gd name="connsiteX237" fmla="*/ 95 w 943070"/>
                <a:gd name="connsiteY237" fmla="*/ 933545 h 1192434"/>
                <a:gd name="connsiteX238" fmla="*/ 0 w 943070"/>
                <a:gd name="connsiteY238" fmla="*/ 933640 h 1192434"/>
                <a:gd name="connsiteX239" fmla="*/ 29528 w 943070"/>
                <a:gd name="connsiteY239" fmla="*/ 967073 h 1192434"/>
                <a:gd name="connsiteX240" fmla="*/ 64579 w 943070"/>
                <a:gd name="connsiteY240" fmla="*/ 990505 h 1192434"/>
                <a:gd name="connsiteX241" fmla="*/ 86487 w 943070"/>
                <a:gd name="connsiteY241" fmla="*/ 1005173 h 1192434"/>
                <a:gd name="connsiteX242" fmla="*/ 110585 w 943070"/>
                <a:gd name="connsiteY242" fmla="*/ 1032415 h 1192434"/>
                <a:gd name="connsiteX243" fmla="*/ 149162 w 943070"/>
                <a:gd name="connsiteY243" fmla="*/ 1066133 h 1192434"/>
                <a:gd name="connsiteX244" fmla="*/ 158972 w 943070"/>
                <a:gd name="connsiteY244" fmla="*/ 1081469 h 1192434"/>
                <a:gd name="connsiteX245" fmla="*/ 168021 w 943070"/>
                <a:gd name="connsiteY245" fmla="*/ 1102614 h 1192434"/>
                <a:gd name="connsiteX246" fmla="*/ 188595 w 943070"/>
                <a:gd name="connsiteY246" fmla="*/ 1139762 h 1192434"/>
                <a:gd name="connsiteX247" fmla="*/ 212979 w 943070"/>
                <a:gd name="connsiteY247" fmla="*/ 1158335 h 1192434"/>
                <a:gd name="connsiteX248" fmla="*/ 266986 w 943070"/>
                <a:gd name="connsiteY248" fmla="*/ 1184624 h 1192434"/>
                <a:gd name="connsiteX249" fmla="*/ 288893 w 943070"/>
                <a:gd name="connsiteY249" fmla="*/ 1190720 h 1192434"/>
                <a:gd name="connsiteX250" fmla="*/ 311182 w 943070"/>
                <a:gd name="connsiteY250" fmla="*/ 1192435 h 1192434"/>
                <a:gd name="connsiteX251" fmla="*/ 319373 w 943070"/>
                <a:gd name="connsiteY251" fmla="*/ 1177957 h 1192434"/>
                <a:gd name="connsiteX252" fmla="*/ 328898 w 943070"/>
                <a:gd name="connsiteY252" fmla="*/ 1172718 h 1192434"/>
                <a:gd name="connsiteX253" fmla="*/ 339376 w 943070"/>
                <a:gd name="connsiteY253" fmla="*/ 1173861 h 1192434"/>
                <a:gd name="connsiteX254" fmla="*/ 360045 w 943070"/>
                <a:gd name="connsiteY254" fmla="*/ 1182148 h 1192434"/>
                <a:gd name="connsiteX255" fmla="*/ 368999 w 943070"/>
                <a:gd name="connsiteY255" fmla="*/ 1181481 h 1192434"/>
                <a:gd name="connsiteX256" fmla="*/ 400050 w 943070"/>
                <a:gd name="connsiteY256" fmla="*/ 1165479 h 1192434"/>
                <a:gd name="connsiteX257" fmla="*/ 407861 w 943070"/>
                <a:gd name="connsiteY257" fmla="*/ 1156335 h 1192434"/>
                <a:gd name="connsiteX258" fmla="*/ 430149 w 943070"/>
                <a:gd name="connsiteY258" fmla="*/ 1115187 h 1192434"/>
                <a:gd name="connsiteX259" fmla="*/ 452628 w 943070"/>
                <a:gd name="connsiteY259" fmla="*/ 1087565 h 1192434"/>
                <a:gd name="connsiteX260" fmla="*/ 461010 w 943070"/>
                <a:gd name="connsiteY260" fmla="*/ 1082231 h 1192434"/>
                <a:gd name="connsiteX261" fmla="*/ 461677 w 943070"/>
                <a:gd name="connsiteY261" fmla="*/ 1081850 h 1192434"/>
                <a:gd name="connsiteX262" fmla="*/ 512159 w 943070"/>
                <a:gd name="connsiteY262" fmla="*/ 1075373 h 1192434"/>
                <a:gd name="connsiteX263" fmla="*/ 527971 w 943070"/>
                <a:gd name="connsiteY263" fmla="*/ 1077944 h 1192434"/>
                <a:gd name="connsiteX264" fmla="*/ 536448 w 943070"/>
                <a:gd name="connsiteY264" fmla="*/ 1082612 h 1192434"/>
                <a:gd name="connsiteX265" fmla="*/ 560737 w 943070"/>
                <a:gd name="connsiteY265" fmla="*/ 1103376 h 1192434"/>
                <a:gd name="connsiteX266" fmla="*/ 571500 w 943070"/>
                <a:gd name="connsiteY266" fmla="*/ 1109377 h 1192434"/>
                <a:gd name="connsiteX267" fmla="*/ 579025 w 943070"/>
                <a:gd name="connsiteY267" fmla="*/ 1106138 h 1192434"/>
                <a:gd name="connsiteX268" fmla="*/ 597218 w 943070"/>
                <a:gd name="connsiteY268" fmla="*/ 1088327 h 1192434"/>
                <a:gd name="connsiteX269" fmla="*/ 605218 w 943070"/>
                <a:gd name="connsiteY269" fmla="*/ 1078802 h 1192434"/>
                <a:gd name="connsiteX270" fmla="*/ 614934 w 943070"/>
                <a:gd name="connsiteY270" fmla="*/ 1090232 h 1192434"/>
                <a:gd name="connsiteX271" fmla="*/ 627031 w 943070"/>
                <a:gd name="connsiteY271" fmla="*/ 1097471 h 1192434"/>
                <a:gd name="connsiteX272" fmla="*/ 639890 w 943070"/>
                <a:gd name="connsiteY272" fmla="*/ 1101376 h 1192434"/>
                <a:gd name="connsiteX273" fmla="*/ 688848 w 943070"/>
                <a:gd name="connsiteY273" fmla="*/ 1105853 h 1192434"/>
                <a:gd name="connsiteX274" fmla="*/ 699802 w 943070"/>
                <a:gd name="connsiteY274" fmla="*/ 1104424 h 1192434"/>
                <a:gd name="connsiteX275" fmla="*/ 703231 w 943070"/>
                <a:gd name="connsiteY275" fmla="*/ 1093851 h 1192434"/>
                <a:gd name="connsiteX276" fmla="*/ 706660 w 943070"/>
                <a:gd name="connsiteY276" fmla="*/ 1078992 h 1192434"/>
                <a:gd name="connsiteX277" fmla="*/ 709327 w 943070"/>
                <a:gd name="connsiteY277" fmla="*/ 1046035 h 1192434"/>
                <a:gd name="connsiteX278" fmla="*/ 720185 w 943070"/>
                <a:gd name="connsiteY278" fmla="*/ 1015270 h 1192434"/>
                <a:gd name="connsiteX279" fmla="*/ 758952 w 943070"/>
                <a:gd name="connsiteY279" fmla="*/ 989552 h 1192434"/>
                <a:gd name="connsiteX280" fmla="*/ 764953 w 943070"/>
                <a:gd name="connsiteY280" fmla="*/ 978694 h 1192434"/>
                <a:gd name="connsiteX281" fmla="*/ 771620 w 943070"/>
                <a:gd name="connsiteY281" fmla="*/ 966883 h 1192434"/>
                <a:gd name="connsiteX282" fmla="*/ 773240 w 943070"/>
                <a:gd name="connsiteY282" fmla="*/ 950119 h 1192434"/>
                <a:gd name="connsiteX283" fmla="*/ 785432 w 943070"/>
                <a:gd name="connsiteY283" fmla="*/ 937546 h 1192434"/>
                <a:gd name="connsiteX284" fmla="*/ 811911 w 943070"/>
                <a:gd name="connsiteY284" fmla="*/ 917067 h 1192434"/>
                <a:gd name="connsiteX285" fmla="*/ 816674 w 943070"/>
                <a:gd name="connsiteY285" fmla="*/ 907828 h 1192434"/>
                <a:gd name="connsiteX286" fmla="*/ 820102 w 943070"/>
                <a:gd name="connsiteY286" fmla="*/ 899255 h 1192434"/>
                <a:gd name="connsiteX287" fmla="*/ 823913 w 943070"/>
                <a:gd name="connsiteY287" fmla="*/ 891635 h 1192434"/>
                <a:gd name="connsiteX288" fmla="*/ 830009 w 943070"/>
                <a:gd name="connsiteY288" fmla="*/ 885254 h 1192434"/>
                <a:gd name="connsiteX289" fmla="*/ 834961 w 943070"/>
                <a:gd name="connsiteY289" fmla="*/ 882777 h 1192434"/>
                <a:gd name="connsiteX290" fmla="*/ 851059 w 943070"/>
                <a:gd name="connsiteY290" fmla="*/ 879253 h 1192434"/>
                <a:gd name="connsiteX291" fmla="*/ 867727 w 943070"/>
                <a:gd name="connsiteY291" fmla="*/ 871156 h 1192434"/>
                <a:gd name="connsiteX292" fmla="*/ 878300 w 943070"/>
                <a:gd name="connsiteY292" fmla="*/ 863441 h 1192434"/>
                <a:gd name="connsiteX293" fmla="*/ 884968 w 943070"/>
                <a:gd name="connsiteY293" fmla="*/ 858584 h 1192434"/>
                <a:gd name="connsiteX294" fmla="*/ 901636 w 943070"/>
                <a:gd name="connsiteY294" fmla="*/ 852106 h 1192434"/>
                <a:gd name="connsiteX295" fmla="*/ 916400 w 943070"/>
                <a:gd name="connsiteY295" fmla="*/ 862203 h 1192434"/>
                <a:gd name="connsiteX296" fmla="*/ 924306 w 943070"/>
                <a:gd name="connsiteY296" fmla="*/ 848677 h 1192434"/>
                <a:gd name="connsiteX297" fmla="*/ 928021 w 943070"/>
                <a:gd name="connsiteY297" fmla="*/ 833247 h 1192434"/>
                <a:gd name="connsiteX298" fmla="*/ 930211 w 943070"/>
                <a:gd name="connsiteY298" fmla="*/ 816673 h 1192434"/>
                <a:gd name="connsiteX299" fmla="*/ 933641 w 943070"/>
                <a:gd name="connsiteY299" fmla="*/ 800195 h 1192434"/>
                <a:gd name="connsiteX300" fmla="*/ 936879 w 943070"/>
                <a:gd name="connsiteY300" fmla="*/ 792766 h 1192434"/>
                <a:gd name="connsiteX301" fmla="*/ 939927 w 943070"/>
                <a:gd name="connsiteY301" fmla="*/ 788194 h 1192434"/>
                <a:gd name="connsiteX302" fmla="*/ 942308 w 943070"/>
                <a:gd name="connsiteY302" fmla="*/ 782764 h 1192434"/>
                <a:gd name="connsiteX303" fmla="*/ 943070 w 943070"/>
                <a:gd name="connsiteY303" fmla="*/ 772382 h 1192434"/>
                <a:gd name="connsiteX304" fmla="*/ 942023 w 943070"/>
                <a:gd name="connsiteY304" fmla="*/ 764953 h 1192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Lst>
              <a:rect l="l" t="t" r="r" b="b"/>
              <a:pathLst>
                <a:path w="943070" h="1192434">
                  <a:moveTo>
                    <a:pt x="942023" y="764953"/>
                  </a:moveTo>
                  <a:lnTo>
                    <a:pt x="926306" y="716947"/>
                  </a:lnTo>
                  <a:lnTo>
                    <a:pt x="923544" y="702755"/>
                  </a:lnTo>
                  <a:lnTo>
                    <a:pt x="922401" y="686657"/>
                  </a:lnTo>
                  <a:lnTo>
                    <a:pt x="923830" y="662464"/>
                  </a:lnTo>
                  <a:lnTo>
                    <a:pt x="922401" y="654844"/>
                  </a:lnTo>
                  <a:lnTo>
                    <a:pt x="919353" y="649034"/>
                  </a:lnTo>
                  <a:lnTo>
                    <a:pt x="899160" y="623030"/>
                  </a:lnTo>
                  <a:lnTo>
                    <a:pt x="896017" y="616839"/>
                  </a:lnTo>
                  <a:lnTo>
                    <a:pt x="894779" y="609981"/>
                  </a:lnTo>
                  <a:lnTo>
                    <a:pt x="897065" y="601694"/>
                  </a:lnTo>
                  <a:lnTo>
                    <a:pt x="907161" y="591979"/>
                  </a:lnTo>
                  <a:lnTo>
                    <a:pt x="909923" y="585692"/>
                  </a:lnTo>
                  <a:lnTo>
                    <a:pt x="907542" y="577406"/>
                  </a:lnTo>
                  <a:lnTo>
                    <a:pt x="900684" y="572167"/>
                  </a:lnTo>
                  <a:lnTo>
                    <a:pt x="869537" y="556927"/>
                  </a:lnTo>
                  <a:lnTo>
                    <a:pt x="862679" y="549307"/>
                  </a:lnTo>
                  <a:lnTo>
                    <a:pt x="857441" y="537782"/>
                  </a:lnTo>
                  <a:lnTo>
                    <a:pt x="855345" y="522827"/>
                  </a:lnTo>
                  <a:lnTo>
                    <a:pt x="855059" y="490918"/>
                  </a:lnTo>
                  <a:lnTo>
                    <a:pt x="851059" y="478822"/>
                  </a:lnTo>
                  <a:lnTo>
                    <a:pt x="812673" y="451580"/>
                  </a:lnTo>
                  <a:lnTo>
                    <a:pt x="806006" y="439388"/>
                  </a:lnTo>
                  <a:lnTo>
                    <a:pt x="810197" y="427482"/>
                  </a:lnTo>
                  <a:lnTo>
                    <a:pt x="819531" y="410718"/>
                  </a:lnTo>
                  <a:lnTo>
                    <a:pt x="826865" y="394430"/>
                  </a:lnTo>
                  <a:lnTo>
                    <a:pt x="824770" y="384334"/>
                  </a:lnTo>
                  <a:lnTo>
                    <a:pt x="816197" y="377476"/>
                  </a:lnTo>
                  <a:lnTo>
                    <a:pt x="800862" y="359950"/>
                  </a:lnTo>
                  <a:lnTo>
                    <a:pt x="792575" y="352901"/>
                  </a:lnTo>
                  <a:lnTo>
                    <a:pt x="775240" y="347853"/>
                  </a:lnTo>
                  <a:lnTo>
                    <a:pt x="758761" y="352520"/>
                  </a:lnTo>
                  <a:lnTo>
                    <a:pt x="726472" y="370713"/>
                  </a:lnTo>
                  <a:lnTo>
                    <a:pt x="719900" y="368903"/>
                  </a:lnTo>
                  <a:lnTo>
                    <a:pt x="713708" y="367189"/>
                  </a:lnTo>
                  <a:lnTo>
                    <a:pt x="721614" y="342233"/>
                  </a:lnTo>
                  <a:lnTo>
                    <a:pt x="747522" y="286512"/>
                  </a:lnTo>
                  <a:lnTo>
                    <a:pt x="748856" y="278416"/>
                  </a:lnTo>
                  <a:lnTo>
                    <a:pt x="749713" y="264128"/>
                  </a:lnTo>
                  <a:lnTo>
                    <a:pt x="750665" y="256889"/>
                  </a:lnTo>
                  <a:lnTo>
                    <a:pt x="753142" y="248984"/>
                  </a:lnTo>
                  <a:lnTo>
                    <a:pt x="759428" y="233553"/>
                  </a:lnTo>
                  <a:lnTo>
                    <a:pt x="761333" y="225743"/>
                  </a:lnTo>
                  <a:lnTo>
                    <a:pt x="759333" y="207359"/>
                  </a:lnTo>
                  <a:lnTo>
                    <a:pt x="750189" y="200216"/>
                  </a:lnTo>
                  <a:lnTo>
                    <a:pt x="740093" y="194882"/>
                  </a:lnTo>
                  <a:lnTo>
                    <a:pt x="734663" y="181737"/>
                  </a:lnTo>
                  <a:lnTo>
                    <a:pt x="741998" y="170974"/>
                  </a:lnTo>
                  <a:lnTo>
                    <a:pt x="778193" y="153353"/>
                  </a:lnTo>
                  <a:lnTo>
                    <a:pt x="790004" y="142018"/>
                  </a:lnTo>
                  <a:lnTo>
                    <a:pt x="793718" y="126682"/>
                  </a:lnTo>
                  <a:lnTo>
                    <a:pt x="796576" y="104584"/>
                  </a:lnTo>
                  <a:lnTo>
                    <a:pt x="798481" y="64199"/>
                  </a:lnTo>
                  <a:lnTo>
                    <a:pt x="796195" y="47434"/>
                  </a:lnTo>
                  <a:lnTo>
                    <a:pt x="791337" y="37052"/>
                  </a:lnTo>
                  <a:lnTo>
                    <a:pt x="784098" y="30575"/>
                  </a:lnTo>
                  <a:lnTo>
                    <a:pt x="744665" y="6001"/>
                  </a:lnTo>
                  <a:lnTo>
                    <a:pt x="739426" y="0"/>
                  </a:lnTo>
                  <a:lnTo>
                    <a:pt x="737140" y="17145"/>
                  </a:lnTo>
                  <a:lnTo>
                    <a:pt x="734568" y="21336"/>
                  </a:lnTo>
                  <a:lnTo>
                    <a:pt x="730853" y="26099"/>
                  </a:lnTo>
                  <a:lnTo>
                    <a:pt x="726948" y="27432"/>
                  </a:lnTo>
                  <a:lnTo>
                    <a:pt x="723043" y="30766"/>
                  </a:lnTo>
                  <a:lnTo>
                    <a:pt x="702755" y="42291"/>
                  </a:lnTo>
                  <a:lnTo>
                    <a:pt x="697706" y="53245"/>
                  </a:lnTo>
                  <a:lnTo>
                    <a:pt x="691515" y="57245"/>
                  </a:lnTo>
                  <a:lnTo>
                    <a:pt x="685324" y="70295"/>
                  </a:lnTo>
                  <a:lnTo>
                    <a:pt x="674180" y="69532"/>
                  </a:lnTo>
                  <a:lnTo>
                    <a:pt x="671132" y="69914"/>
                  </a:lnTo>
                  <a:lnTo>
                    <a:pt x="664369" y="66008"/>
                  </a:lnTo>
                  <a:lnTo>
                    <a:pt x="658654" y="59531"/>
                  </a:lnTo>
                  <a:lnTo>
                    <a:pt x="648462" y="59246"/>
                  </a:lnTo>
                  <a:lnTo>
                    <a:pt x="627221" y="67247"/>
                  </a:lnTo>
                  <a:lnTo>
                    <a:pt x="607219" y="51626"/>
                  </a:lnTo>
                  <a:lnTo>
                    <a:pt x="595979" y="56959"/>
                  </a:lnTo>
                  <a:lnTo>
                    <a:pt x="576453" y="79057"/>
                  </a:lnTo>
                  <a:lnTo>
                    <a:pt x="565690" y="77438"/>
                  </a:lnTo>
                  <a:lnTo>
                    <a:pt x="562927" y="79248"/>
                  </a:lnTo>
                  <a:lnTo>
                    <a:pt x="560260" y="81820"/>
                  </a:lnTo>
                  <a:lnTo>
                    <a:pt x="558165" y="84582"/>
                  </a:lnTo>
                  <a:lnTo>
                    <a:pt x="554927" y="87916"/>
                  </a:lnTo>
                  <a:lnTo>
                    <a:pt x="547307" y="87630"/>
                  </a:lnTo>
                  <a:lnTo>
                    <a:pt x="540830" y="92393"/>
                  </a:lnTo>
                  <a:lnTo>
                    <a:pt x="529971" y="93726"/>
                  </a:lnTo>
                  <a:lnTo>
                    <a:pt x="519779" y="112871"/>
                  </a:lnTo>
                  <a:lnTo>
                    <a:pt x="504539" y="134112"/>
                  </a:lnTo>
                  <a:lnTo>
                    <a:pt x="494348" y="144494"/>
                  </a:lnTo>
                  <a:lnTo>
                    <a:pt x="472154" y="174022"/>
                  </a:lnTo>
                  <a:lnTo>
                    <a:pt x="467201" y="180785"/>
                  </a:lnTo>
                  <a:lnTo>
                    <a:pt x="460915" y="187643"/>
                  </a:lnTo>
                  <a:lnTo>
                    <a:pt x="450818" y="209645"/>
                  </a:lnTo>
                  <a:lnTo>
                    <a:pt x="441579" y="220409"/>
                  </a:lnTo>
                  <a:lnTo>
                    <a:pt x="430816" y="227933"/>
                  </a:lnTo>
                  <a:lnTo>
                    <a:pt x="414719" y="243173"/>
                  </a:lnTo>
                  <a:lnTo>
                    <a:pt x="417767" y="251841"/>
                  </a:lnTo>
                  <a:lnTo>
                    <a:pt x="418909" y="254127"/>
                  </a:lnTo>
                  <a:lnTo>
                    <a:pt x="414528" y="268129"/>
                  </a:lnTo>
                  <a:lnTo>
                    <a:pt x="418338" y="272987"/>
                  </a:lnTo>
                  <a:lnTo>
                    <a:pt x="421577" y="271463"/>
                  </a:lnTo>
                  <a:lnTo>
                    <a:pt x="431102" y="271748"/>
                  </a:lnTo>
                  <a:lnTo>
                    <a:pt x="434721" y="274701"/>
                  </a:lnTo>
                  <a:lnTo>
                    <a:pt x="436817" y="277939"/>
                  </a:lnTo>
                  <a:lnTo>
                    <a:pt x="435864" y="286131"/>
                  </a:lnTo>
                  <a:lnTo>
                    <a:pt x="434435" y="293370"/>
                  </a:lnTo>
                  <a:lnTo>
                    <a:pt x="434531" y="299371"/>
                  </a:lnTo>
                  <a:lnTo>
                    <a:pt x="439388" y="304800"/>
                  </a:lnTo>
                  <a:lnTo>
                    <a:pt x="451104" y="312611"/>
                  </a:lnTo>
                  <a:lnTo>
                    <a:pt x="454438" y="317945"/>
                  </a:lnTo>
                  <a:lnTo>
                    <a:pt x="457771" y="333851"/>
                  </a:lnTo>
                  <a:lnTo>
                    <a:pt x="463201" y="342900"/>
                  </a:lnTo>
                  <a:lnTo>
                    <a:pt x="462725" y="348234"/>
                  </a:lnTo>
                  <a:lnTo>
                    <a:pt x="461582" y="351949"/>
                  </a:lnTo>
                  <a:lnTo>
                    <a:pt x="450818" y="365379"/>
                  </a:lnTo>
                  <a:lnTo>
                    <a:pt x="447294" y="369951"/>
                  </a:lnTo>
                  <a:lnTo>
                    <a:pt x="441198" y="376523"/>
                  </a:lnTo>
                  <a:lnTo>
                    <a:pt x="433007" y="385858"/>
                  </a:lnTo>
                  <a:lnTo>
                    <a:pt x="384524" y="464439"/>
                  </a:lnTo>
                  <a:lnTo>
                    <a:pt x="380429" y="483108"/>
                  </a:lnTo>
                  <a:lnTo>
                    <a:pt x="379952" y="485585"/>
                  </a:lnTo>
                  <a:lnTo>
                    <a:pt x="382429" y="495395"/>
                  </a:lnTo>
                  <a:lnTo>
                    <a:pt x="382619" y="500920"/>
                  </a:lnTo>
                  <a:lnTo>
                    <a:pt x="383762" y="508635"/>
                  </a:lnTo>
                  <a:lnTo>
                    <a:pt x="382238" y="517398"/>
                  </a:lnTo>
                  <a:lnTo>
                    <a:pt x="383286" y="525304"/>
                  </a:lnTo>
                  <a:lnTo>
                    <a:pt x="386715" y="529495"/>
                  </a:lnTo>
                  <a:lnTo>
                    <a:pt x="388239" y="533210"/>
                  </a:lnTo>
                  <a:lnTo>
                    <a:pt x="386810" y="535496"/>
                  </a:lnTo>
                  <a:lnTo>
                    <a:pt x="371570" y="543401"/>
                  </a:lnTo>
                  <a:lnTo>
                    <a:pt x="366427" y="549497"/>
                  </a:lnTo>
                  <a:lnTo>
                    <a:pt x="363569" y="555784"/>
                  </a:lnTo>
                  <a:lnTo>
                    <a:pt x="369189" y="569595"/>
                  </a:lnTo>
                  <a:lnTo>
                    <a:pt x="360902" y="580644"/>
                  </a:lnTo>
                  <a:lnTo>
                    <a:pt x="354711" y="578549"/>
                  </a:lnTo>
                  <a:lnTo>
                    <a:pt x="324041" y="580263"/>
                  </a:lnTo>
                  <a:lnTo>
                    <a:pt x="311372" y="606457"/>
                  </a:lnTo>
                  <a:lnTo>
                    <a:pt x="310896" y="609981"/>
                  </a:lnTo>
                  <a:lnTo>
                    <a:pt x="310610" y="613505"/>
                  </a:lnTo>
                  <a:lnTo>
                    <a:pt x="312230" y="614267"/>
                  </a:lnTo>
                  <a:lnTo>
                    <a:pt x="312134" y="614934"/>
                  </a:lnTo>
                  <a:lnTo>
                    <a:pt x="311849" y="619030"/>
                  </a:lnTo>
                  <a:lnTo>
                    <a:pt x="297466" y="620839"/>
                  </a:lnTo>
                  <a:lnTo>
                    <a:pt x="290132" y="618363"/>
                  </a:lnTo>
                  <a:lnTo>
                    <a:pt x="285655" y="615601"/>
                  </a:lnTo>
                  <a:lnTo>
                    <a:pt x="273939" y="613982"/>
                  </a:lnTo>
                  <a:lnTo>
                    <a:pt x="264700" y="615315"/>
                  </a:lnTo>
                  <a:lnTo>
                    <a:pt x="258032" y="618935"/>
                  </a:lnTo>
                  <a:lnTo>
                    <a:pt x="253175" y="623316"/>
                  </a:lnTo>
                  <a:lnTo>
                    <a:pt x="249365" y="628079"/>
                  </a:lnTo>
                  <a:lnTo>
                    <a:pt x="240221" y="635603"/>
                  </a:lnTo>
                  <a:lnTo>
                    <a:pt x="220790" y="645795"/>
                  </a:lnTo>
                  <a:lnTo>
                    <a:pt x="217170" y="629031"/>
                  </a:lnTo>
                  <a:lnTo>
                    <a:pt x="205550" y="612458"/>
                  </a:lnTo>
                  <a:lnTo>
                    <a:pt x="204597" y="606266"/>
                  </a:lnTo>
                  <a:lnTo>
                    <a:pt x="202597" y="602647"/>
                  </a:lnTo>
                  <a:lnTo>
                    <a:pt x="200025" y="600075"/>
                  </a:lnTo>
                  <a:lnTo>
                    <a:pt x="192786" y="598456"/>
                  </a:lnTo>
                  <a:lnTo>
                    <a:pt x="179832" y="602647"/>
                  </a:lnTo>
                  <a:lnTo>
                    <a:pt x="170307" y="611981"/>
                  </a:lnTo>
                  <a:lnTo>
                    <a:pt x="157353" y="630079"/>
                  </a:lnTo>
                  <a:lnTo>
                    <a:pt x="154115" y="640842"/>
                  </a:lnTo>
                  <a:lnTo>
                    <a:pt x="139351" y="660940"/>
                  </a:lnTo>
                  <a:lnTo>
                    <a:pt x="114109" y="677037"/>
                  </a:lnTo>
                  <a:lnTo>
                    <a:pt x="122015" y="677418"/>
                  </a:lnTo>
                  <a:lnTo>
                    <a:pt x="136017" y="689134"/>
                  </a:lnTo>
                  <a:lnTo>
                    <a:pt x="140779" y="695420"/>
                  </a:lnTo>
                  <a:lnTo>
                    <a:pt x="142208" y="701040"/>
                  </a:lnTo>
                  <a:lnTo>
                    <a:pt x="143066" y="707327"/>
                  </a:lnTo>
                  <a:lnTo>
                    <a:pt x="143446" y="722090"/>
                  </a:lnTo>
                  <a:lnTo>
                    <a:pt x="144685" y="725710"/>
                  </a:lnTo>
                  <a:lnTo>
                    <a:pt x="150209" y="737235"/>
                  </a:lnTo>
                  <a:lnTo>
                    <a:pt x="151352" y="740950"/>
                  </a:lnTo>
                  <a:lnTo>
                    <a:pt x="150971" y="754571"/>
                  </a:lnTo>
                  <a:lnTo>
                    <a:pt x="151352" y="758190"/>
                  </a:lnTo>
                  <a:lnTo>
                    <a:pt x="152400" y="759905"/>
                  </a:lnTo>
                  <a:lnTo>
                    <a:pt x="154305" y="762095"/>
                  </a:lnTo>
                  <a:lnTo>
                    <a:pt x="156020" y="763524"/>
                  </a:lnTo>
                  <a:lnTo>
                    <a:pt x="156686" y="762952"/>
                  </a:lnTo>
                  <a:lnTo>
                    <a:pt x="156591" y="768763"/>
                  </a:lnTo>
                  <a:lnTo>
                    <a:pt x="155734" y="773811"/>
                  </a:lnTo>
                  <a:lnTo>
                    <a:pt x="154591" y="778097"/>
                  </a:lnTo>
                  <a:lnTo>
                    <a:pt x="154019" y="781717"/>
                  </a:lnTo>
                  <a:lnTo>
                    <a:pt x="153257" y="797623"/>
                  </a:lnTo>
                  <a:lnTo>
                    <a:pt x="154972" y="803719"/>
                  </a:lnTo>
                  <a:lnTo>
                    <a:pt x="160687" y="806101"/>
                  </a:lnTo>
                  <a:lnTo>
                    <a:pt x="165068" y="806768"/>
                  </a:lnTo>
                  <a:lnTo>
                    <a:pt x="172784" y="809720"/>
                  </a:lnTo>
                  <a:lnTo>
                    <a:pt x="176784" y="810387"/>
                  </a:lnTo>
                  <a:lnTo>
                    <a:pt x="182594" y="814388"/>
                  </a:lnTo>
                  <a:lnTo>
                    <a:pt x="196787" y="833628"/>
                  </a:lnTo>
                  <a:lnTo>
                    <a:pt x="207454" y="848106"/>
                  </a:lnTo>
                  <a:lnTo>
                    <a:pt x="210693" y="857250"/>
                  </a:lnTo>
                  <a:lnTo>
                    <a:pt x="212312" y="867918"/>
                  </a:lnTo>
                  <a:lnTo>
                    <a:pt x="213074" y="886301"/>
                  </a:lnTo>
                  <a:lnTo>
                    <a:pt x="214122" y="896398"/>
                  </a:lnTo>
                  <a:lnTo>
                    <a:pt x="202787" y="876014"/>
                  </a:lnTo>
                  <a:lnTo>
                    <a:pt x="202311" y="870394"/>
                  </a:lnTo>
                  <a:lnTo>
                    <a:pt x="203740" y="867442"/>
                  </a:lnTo>
                  <a:lnTo>
                    <a:pt x="204502" y="862870"/>
                  </a:lnTo>
                  <a:lnTo>
                    <a:pt x="203263" y="859727"/>
                  </a:lnTo>
                  <a:lnTo>
                    <a:pt x="201549" y="856679"/>
                  </a:lnTo>
                  <a:lnTo>
                    <a:pt x="198406" y="854488"/>
                  </a:lnTo>
                  <a:lnTo>
                    <a:pt x="189548" y="850678"/>
                  </a:lnTo>
                  <a:lnTo>
                    <a:pt x="179832" y="848487"/>
                  </a:lnTo>
                  <a:lnTo>
                    <a:pt x="174403" y="844963"/>
                  </a:lnTo>
                  <a:lnTo>
                    <a:pt x="165163" y="845725"/>
                  </a:lnTo>
                  <a:lnTo>
                    <a:pt x="159829" y="847439"/>
                  </a:lnTo>
                  <a:lnTo>
                    <a:pt x="133731" y="870109"/>
                  </a:lnTo>
                  <a:lnTo>
                    <a:pt x="138589" y="877157"/>
                  </a:lnTo>
                  <a:lnTo>
                    <a:pt x="139256" y="879062"/>
                  </a:lnTo>
                  <a:lnTo>
                    <a:pt x="138970" y="885444"/>
                  </a:lnTo>
                  <a:lnTo>
                    <a:pt x="130016" y="892969"/>
                  </a:lnTo>
                  <a:lnTo>
                    <a:pt x="126587" y="891350"/>
                  </a:lnTo>
                  <a:lnTo>
                    <a:pt x="121920" y="890778"/>
                  </a:lnTo>
                  <a:lnTo>
                    <a:pt x="117634" y="894683"/>
                  </a:lnTo>
                  <a:lnTo>
                    <a:pt x="115633" y="899065"/>
                  </a:lnTo>
                  <a:lnTo>
                    <a:pt x="110585" y="906685"/>
                  </a:lnTo>
                  <a:lnTo>
                    <a:pt x="102584" y="914400"/>
                  </a:lnTo>
                  <a:lnTo>
                    <a:pt x="97631" y="915352"/>
                  </a:lnTo>
                  <a:lnTo>
                    <a:pt x="94012" y="913733"/>
                  </a:lnTo>
                  <a:lnTo>
                    <a:pt x="89535" y="906209"/>
                  </a:lnTo>
                  <a:lnTo>
                    <a:pt x="82677" y="900684"/>
                  </a:lnTo>
                  <a:lnTo>
                    <a:pt x="75629" y="905447"/>
                  </a:lnTo>
                  <a:lnTo>
                    <a:pt x="72771" y="908685"/>
                  </a:lnTo>
                  <a:lnTo>
                    <a:pt x="61913" y="917734"/>
                  </a:lnTo>
                  <a:lnTo>
                    <a:pt x="56959" y="918591"/>
                  </a:lnTo>
                  <a:lnTo>
                    <a:pt x="50863" y="912305"/>
                  </a:lnTo>
                  <a:lnTo>
                    <a:pt x="46958" y="905732"/>
                  </a:lnTo>
                  <a:lnTo>
                    <a:pt x="14002" y="875919"/>
                  </a:lnTo>
                  <a:lnTo>
                    <a:pt x="15240" y="885158"/>
                  </a:lnTo>
                  <a:lnTo>
                    <a:pt x="16574" y="888873"/>
                  </a:lnTo>
                  <a:lnTo>
                    <a:pt x="21622" y="896588"/>
                  </a:lnTo>
                  <a:lnTo>
                    <a:pt x="22765" y="899731"/>
                  </a:lnTo>
                  <a:lnTo>
                    <a:pt x="25051" y="904494"/>
                  </a:lnTo>
                  <a:lnTo>
                    <a:pt x="20765" y="909352"/>
                  </a:lnTo>
                  <a:lnTo>
                    <a:pt x="19145" y="915924"/>
                  </a:lnTo>
                  <a:lnTo>
                    <a:pt x="16383" y="921068"/>
                  </a:lnTo>
                  <a:lnTo>
                    <a:pt x="5906" y="928021"/>
                  </a:lnTo>
                  <a:lnTo>
                    <a:pt x="95" y="933545"/>
                  </a:lnTo>
                  <a:lnTo>
                    <a:pt x="0" y="933640"/>
                  </a:lnTo>
                  <a:lnTo>
                    <a:pt x="29528" y="967073"/>
                  </a:lnTo>
                  <a:lnTo>
                    <a:pt x="64579" y="990505"/>
                  </a:lnTo>
                  <a:lnTo>
                    <a:pt x="86487" y="1005173"/>
                  </a:lnTo>
                  <a:lnTo>
                    <a:pt x="110585" y="1032415"/>
                  </a:lnTo>
                  <a:lnTo>
                    <a:pt x="149162" y="1066133"/>
                  </a:lnTo>
                  <a:lnTo>
                    <a:pt x="158972" y="1081469"/>
                  </a:lnTo>
                  <a:lnTo>
                    <a:pt x="168021" y="1102614"/>
                  </a:lnTo>
                  <a:lnTo>
                    <a:pt x="188595" y="1139762"/>
                  </a:lnTo>
                  <a:lnTo>
                    <a:pt x="212979" y="1158335"/>
                  </a:lnTo>
                  <a:lnTo>
                    <a:pt x="266986" y="1184624"/>
                  </a:lnTo>
                  <a:lnTo>
                    <a:pt x="288893" y="1190720"/>
                  </a:lnTo>
                  <a:lnTo>
                    <a:pt x="311182" y="1192435"/>
                  </a:lnTo>
                  <a:lnTo>
                    <a:pt x="319373" y="1177957"/>
                  </a:lnTo>
                  <a:lnTo>
                    <a:pt x="328898" y="1172718"/>
                  </a:lnTo>
                  <a:lnTo>
                    <a:pt x="339376" y="1173861"/>
                  </a:lnTo>
                  <a:lnTo>
                    <a:pt x="360045" y="1182148"/>
                  </a:lnTo>
                  <a:lnTo>
                    <a:pt x="368999" y="1181481"/>
                  </a:lnTo>
                  <a:lnTo>
                    <a:pt x="400050" y="1165479"/>
                  </a:lnTo>
                  <a:lnTo>
                    <a:pt x="407861" y="1156335"/>
                  </a:lnTo>
                  <a:lnTo>
                    <a:pt x="430149" y="1115187"/>
                  </a:lnTo>
                  <a:lnTo>
                    <a:pt x="452628" y="1087565"/>
                  </a:lnTo>
                  <a:lnTo>
                    <a:pt x="461010" y="1082231"/>
                  </a:lnTo>
                  <a:lnTo>
                    <a:pt x="461677" y="1081850"/>
                  </a:lnTo>
                  <a:lnTo>
                    <a:pt x="512159" y="1075373"/>
                  </a:lnTo>
                  <a:lnTo>
                    <a:pt x="527971" y="1077944"/>
                  </a:lnTo>
                  <a:lnTo>
                    <a:pt x="536448" y="1082612"/>
                  </a:lnTo>
                  <a:lnTo>
                    <a:pt x="560737" y="1103376"/>
                  </a:lnTo>
                  <a:lnTo>
                    <a:pt x="571500" y="1109377"/>
                  </a:lnTo>
                  <a:lnTo>
                    <a:pt x="579025" y="1106138"/>
                  </a:lnTo>
                  <a:lnTo>
                    <a:pt x="597218" y="1088327"/>
                  </a:lnTo>
                  <a:lnTo>
                    <a:pt x="605218" y="1078802"/>
                  </a:lnTo>
                  <a:lnTo>
                    <a:pt x="614934" y="1090232"/>
                  </a:lnTo>
                  <a:lnTo>
                    <a:pt x="627031" y="1097471"/>
                  </a:lnTo>
                  <a:lnTo>
                    <a:pt x="639890" y="1101376"/>
                  </a:lnTo>
                  <a:lnTo>
                    <a:pt x="688848" y="1105853"/>
                  </a:lnTo>
                  <a:lnTo>
                    <a:pt x="699802" y="1104424"/>
                  </a:lnTo>
                  <a:lnTo>
                    <a:pt x="703231" y="1093851"/>
                  </a:lnTo>
                  <a:lnTo>
                    <a:pt x="706660" y="1078992"/>
                  </a:lnTo>
                  <a:lnTo>
                    <a:pt x="709327" y="1046035"/>
                  </a:lnTo>
                  <a:lnTo>
                    <a:pt x="720185" y="1015270"/>
                  </a:lnTo>
                  <a:lnTo>
                    <a:pt x="758952" y="989552"/>
                  </a:lnTo>
                  <a:lnTo>
                    <a:pt x="764953" y="978694"/>
                  </a:lnTo>
                  <a:lnTo>
                    <a:pt x="771620" y="966883"/>
                  </a:lnTo>
                  <a:lnTo>
                    <a:pt x="773240" y="950119"/>
                  </a:lnTo>
                  <a:lnTo>
                    <a:pt x="785432" y="937546"/>
                  </a:lnTo>
                  <a:lnTo>
                    <a:pt x="811911" y="917067"/>
                  </a:lnTo>
                  <a:lnTo>
                    <a:pt x="816674" y="907828"/>
                  </a:lnTo>
                  <a:lnTo>
                    <a:pt x="820102" y="899255"/>
                  </a:lnTo>
                  <a:lnTo>
                    <a:pt x="823913" y="891635"/>
                  </a:lnTo>
                  <a:lnTo>
                    <a:pt x="830009" y="885254"/>
                  </a:lnTo>
                  <a:lnTo>
                    <a:pt x="834961" y="882777"/>
                  </a:lnTo>
                  <a:lnTo>
                    <a:pt x="851059" y="879253"/>
                  </a:lnTo>
                  <a:lnTo>
                    <a:pt x="867727" y="871156"/>
                  </a:lnTo>
                  <a:lnTo>
                    <a:pt x="878300" y="863441"/>
                  </a:lnTo>
                  <a:lnTo>
                    <a:pt x="884968" y="858584"/>
                  </a:lnTo>
                  <a:lnTo>
                    <a:pt x="901636" y="852106"/>
                  </a:lnTo>
                  <a:lnTo>
                    <a:pt x="916400" y="862203"/>
                  </a:lnTo>
                  <a:lnTo>
                    <a:pt x="924306" y="848677"/>
                  </a:lnTo>
                  <a:lnTo>
                    <a:pt x="928021" y="833247"/>
                  </a:lnTo>
                  <a:lnTo>
                    <a:pt x="930211" y="816673"/>
                  </a:lnTo>
                  <a:lnTo>
                    <a:pt x="933641" y="800195"/>
                  </a:lnTo>
                  <a:lnTo>
                    <a:pt x="936879" y="792766"/>
                  </a:lnTo>
                  <a:lnTo>
                    <a:pt x="939927" y="788194"/>
                  </a:lnTo>
                  <a:lnTo>
                    <a:pt x="942308" y="782764"/>
                  </a:lnTo>
                  <a:lnTo>
                    <a:pt x="943070" y="772382"/>
                  </a:lnTo>
                  <a:lnTo>
                    <a:pt x="942023" y="764953"/>
                  </a:lnTo>
                  <a:close/>
                </a:path>
              </a:pathLst>
            </a:custGeom>
            <a:grpFill/>
            <a:ln w="9525" cap="sq">
              <a:noFill/>
              <a:prstDash val="solid"/>
              <a:bevel/>
            </a:ln>
          </p:spPr>
          <p:txBody>
            <a:bodyPr rtlCol="0" anchor="ctr"/>
            <a:lstStyle/>
            <a:p>
              <a:endParaRPr lang="cs-CZ"/>
            </a:p>
          </p:txBody>
        </p:sp>
        <p:sp>
          <p:nvSpPr>
            <p:cNvPr id="160" name="Freeform: Shape 159">
              <a:extLst>
                <a:ext uri="{FF2B5EF4-FFF2-40B4-BE49-F238E27FC236}">
                  <a16:creationId xmlns:a16="http://schemas.microsoft.com/office/drawing/2014/main" id="{1B4F636B-DD35-8378-81DB-9843C8D0F4B2}"/>
                </a:ext>
              </a:extLst>
            </p:cNvPr>
            <p:cNvSpPr/>
            <p:nvPr/>
          </p:nvSpPr>
          <p:spPr>
            <a:xfrm>
              <a:off x="7958277" y="6474045"/>
              <a:ext cx="853440" cy="1203769"/>
            </a:xfrm>
            <a:custGeom>
              <a:avLst/>
              <a:gdLst>
                <a:gd name="connsiteX0" fmla="*/ 844772 w 853440"/>
                <a:gd name="connsiteY0" fmla="*/ 302324 h 1203769"/>
                <a:gd name="connsiteX1" fmla="*/ 843058 w 853440"/>
                <a:gd name="connsiteY1" fmla="*/ 295180 h 1203769"/>
                <a:gd name="connsiteX2" fmla="*/ 842867 w 853440"/>
                <a:gd name="connsiteY2" fmla="*/ 288036 h 1203769"/>
                <a:gd name="connsiteX3" fmla="*/ 841724 w 853440"/>
                <a:gd name="connsiteY3" fmla="*/ 282416 h 1203769"/>
                <a:gd name="connsiteX4" fmla="*/ 836771 w 853440"/>
                <a:gd name="connsiteY4" fmla="*/ 280130 h 1203769"/>
                <a:gd name="connsiteX5" fmla="*/ 823532 w 853440"/>
                <a:gd name="connsiteY5" fmla="*/ 276987 h 1203769"/>
                <a:gd name="connsiteX6" fmla="*/ 803243 w 853440"/>
                <a:gd name="connsiteY6" fmla="*/ 265271 h 1203769"/>
                <a:gd name="connsiteX7" fmla="*/ 788956 w 853440"/>
                <a:gd name="connsiteY7" fmla="*/ 252698 h 1203769"/>
                <a:gd name="connsiteX8" fmla="*/ 771716 w 853440"/>
                <a:gd name="connsiteY8" fmla="*/ 237554 h 1203769"/>
                <a:gd name="connsiteX9" fmla="*/ 743903 w 853440"/>
                <a:gd name="connsiteY9" fmla="*/ 202502 h 1203769"/>
                <a:gd name="connsiteX10" fmla="*/ 657130 w 853440"/>
                <a:gd name="connsiteY10" fmla="*/ 126683 h 1203769"/>
                <a:gd name="connsiteX11" fmla="*/ 635603 w 853440"/>
                <a:gd name="connsiteY11" fmla="*/ 94488 h 1203769"/>
                <a:gd name="connsiteX12" fmla="*/ 631793 w 853440"/>
                <a:gd name="connsiteY12" fmla="*/ 83820 h 1203769"/>
                <a:gd name="connsiteX13" fmla="*/ 630269 w 853440"/>
                <a:gd name="connsiteY13" fmla="*/ 69056 h 1203769"/>
                <a:gd name="connsiteX14" fmla="*/ 631698 w 853440"/>
                <a:gd name="connsiteY14" fmla="*/ 39148 h 1203769"/>
                <a:gd name="connsiteX15" fmla="*/ 635413 w 853440"/>
                <a:gd name="connsiteY15" fmla="*/ 11620 h 1203769"/>
                <a:gd name="connsiteX16" fmla="*/ 637222 w 853440"/>
                <a:gd name="connsiteY16" fmla="*/ 6382 h 1203769"/>
                <a:gd name="connsiteX17" fmla="*/ 639223 w 853440"/>
                <a:gd name="connsiteY17" fmla="*/ 4572 h 1203769"/>
                <a:gd name="connsiteX18" fmla="*/ 639318 w 853440"/>
                <a:gd name="connsiteY18" fmla="*/ 3715 h 1203769"/>
                <a:gd name="connsiteX19" fmla="*/ 635413 w 853440"/>
                <a:gd name="connsiteY19" fmla="*/ 1238 h 1203769"/>
                <a:gd name="connsiteX20" fmla="*/ 629793 w 853440"/>
                <a:gd name="connsiteY20" fmla="*/ 0 h 1203769"/>
                <a:gd name="connsiteX21" fmla="*/ 624650 w 853440"/>
                <a:gd name="connsiteY21" fmla="*/ 2095 h 1203769"/>
                <a:gd name="connsiteX22" fmla="*/ 619887 w 853440"/>
                <a:gd name="connsiteY22" fmla="*/ 5143 h 1203769"/>
                <a:gd name="connsiteX23" fmla="*/ 615506 w 853440"/>
                <a:gd name="connsiteY23" fmla="*/ 6668 h 1203769"/>
                <a:gd name="connsiteX24" fmla="*/ 606552 w 853440"/>
                <a:gd name="connsiteY24" fmla="*/ 7334 h 1203769"/>
                <a:gd name="connsiteX25" fmla="*/ 589979 w 853440"/>
                <a:gd name="connsiteY25" fmla="*/ 12573 h 1203769"/>
                <a:gd name="connsiteX26" fmla="*/ 477393 w 853440"/>
                <a:gd name="connsiteY26" fmla="*/ 74486 h 1203769"/>
                <a:gd name="connsiteX27" fmla="*/ 401383 w 853440"/>
                <a:gd name="connsiteY27" fmla="*/ 116110 h 1203769"/>
                <a:gd name="connsiteX28" fmla="*/ 384524 w 853440"/>
                <a:gd name="connsiteY28" fmla="*/ 121444 h 1203769"/>
                <a:gd name="connsiteX29" fmla="*/ 312706 w 853440"/>
                <a:gd name="connsiteY29" fmla="*/ 126397 h 1203769"/>
                <a:gd name="connsiteX30" fmla="*/ 296418 w 853440"/>
                <a:gd name="connsiteY30" fmla="*/ 135350 h 1203769"/>
                <a:gd name="connsiteX31" fmla="*/ 284512 w 853440"/>
                <a:gd name="connsiteY31" fmla="*/ 148781 h 1203769"/>
                <a:gd name="connsiteX32" fmla="*/ 254318 w 853440"/>
                <a:gd name="connsiteY32" fmla="*/ 208312 h 1203769"/>
                <a:gd name="connsiteX33" fmla="*/ 241649 w 853440"/>
                <a:gd name="connsiteY33" fmla="*/ 233267 h 1203769"/>
                <a:gd name="connsiteX34" fmla="*/ 213836 w 853440"/>
                <a:gd name="connsiteY34" fmla="*/ 270224 h 1203769"/>
                <a:gd name="connsiteX35" fmla="*/ 211455 w 853440"/>
                <a:gd name="connsiteY35" fmla="*/ 276701 h 1203769"/>
                <a:gd name="connsiteX36" fmla="*/ 199263 w 853440"/>
                <a:gd name="connsiteY36" fmla="*/ 309182 h 1203769"/>
                <a:gd name="connsiteX37" fmla="*/ 193929 w 853440"/>
                <a:gd name="connsiteY37" fmla="*/ 315087 h 1203769"/>
                <a:gd name="connsiteX38" fmla="*/ 187262 w 853440"/>
                <a:gd name="connsiteY38" fmla="*/ 318992 h 1203769"/>
                <a:gd name="connsiteX39" fmla="*/ 181070 w 853440"/>
                <a:gd name="connsiteY39" fmla="*/ 328803 h 1203769"/>
                <a:gd name="connsiteX40" fmla="*/ 176403 w 853440"/>
                <a:gd name="connsiteY40" fmla="*/ 341567 h 1203769"/>
                <a:gd name="connsiteX41" fmla="*/ 173831 w 853440"/>
                <a:gd name="connsiteY41" fmla="*/ 354425 h 1203769"/>
                <a:gd name="connsiteX42" fmla="*/ 172974 w 853440"/>
                <a:gd name="connsiteY42" fmla="*/ 369475 h 1203769"/>
                <a:gd name="connsiteX43" fmla="*/ 173831 w 853440"/>
                <a:gd name="connsiteY43" fmla="*/ 416338 h 1203769"/>
                <a:gd name="connsiteX44" fmla="*/ 172974 w 853440"/>
                <a:gd name="connsiteY44" fmla="*/ 422529 h 1203769"/>
                <a:gd name="connsiteX45" fmla="*/ 169259 w 853440"/>
                <a:gd name="connsiteY45" fmla="*/ 432721 h 1203769"/>
                <a:gd name="connsiteX46" fmla="*/ 168402 w 853440"/>
                <a:gd name="connsiteY46" fmla="*/ 440436 h 1203769"/>
                <a:gd name="connsiteX47" fmla="*/ 172688 w 853440"/>
                <a:gd name="connsiteY47" fmla="*/ 459677 h 1203769"/>
                <a:gd name="connsiteX48" fmla="*/ 173831 w 853440"/>
                <a:gd name="connsiteY48" fmla="*/ 467297 h 1203769"/>
                <a:gd name="connsiteX49" fmla="*/ 173355 w 853440"/>
                <a:gd name="connsiteY49" fmla="*/ 496443 h 1203769"/>
                <a:gd name="connsiteX50" fmla="*/ 168688 w 853440"/>
                <a:gd name="connsiteY50" fmla="*/ 521970 h 1203769"/>
                <a:gd name="connsiteX51" fmla="*/ 161258 w 853440"/>
                <a:gd name="connsiteY51" fmla="*/ 542449 h 1203769"/>
                <a:gd name="connsiteX52" fmla="*/ 152495 w 853440"/>
                <a:gd name="connsiteY52" fmla="*/ 556165 h 1203769"/>
                <a:gd name="connsiteX53" fmla="*/ 140018 w 853440"/>
                <a:gd name="connsiteY53" fmla="*/ 567690 h 1203769"/>
                <a:gd name="connsiteX54" fmla="*/ 129159 w 853440"/>
                <a:gd name="connsiteY54" fmla="*/ 577691 h 1203769"/>
                <a:gd name="connsiteX55" fmla="*/ 124301 w 853440"/>
                <a:gd name="connsiteY55" fmla="*/ 580644 h 1203769"/>
                <a:gd name="connsiteX56" fmla="*/ 120396 w 853440"/>
                <a:gd name="connsiteY56" fmla="*/ 585121 h 1203769"/>
                <a:gd name="connsiteX57" fmla="*/ 106109 w 853440"/>
                <a:gd name="connsiteY57" fmla="*/ 607219 h 1203769"/>
                <a:gd name="connsiteX58" fmla="*/ 99060 w 853440"/>
                <a:gd name="connsiteY58" fmla="*/ 614744 h 1203769"/>
                <a:gd name="connsiteX59" fmla="*/ 73343 w 853440"/>
                <a:gd name="connsiteY59" fmla="*/ 630460 h 1203769"/>
                <a:gd name="connsiteX60" fmla="*/ 69628 w 853440"/>
                <a:gd name="connsiteY60" fmla="*/ 637032 h 1203769"/>
                <a:gd name="connsiteX61" fmla="*/ 37624 w 853440"/>
                <a:gd name="connsiteY61" fmla="*/ 658463 h 1203769"/>
                <a:gd name="connsiteX62" fmla="*/ 32766 w 853440"/>
                <a:gd name="connsiteY62" fmla="*/ 670846 h 1203769"/>
                <a:gd name="connsiteX63" fmla="*/ 33338 w 853440"/>
                <a:gd name="connsiteY63" fmla="*/ 682943 h 1203769"/>
                <a:gd name="connsiteX64" fmla="*/ 36100 w 853440"/>
                <a:gd name="connsiteY64" fmla="*/ 695611 h 1203769"/>
                <a:gd name="connsiteX65" fmla="*/ 37624 w 853440"/>
                <a:gd name="connsiteY65" fmla="*/ 709708 h 1203769"/>
                <a:gd name="connsiteX66" fmla="*/ 34957 w 853440"/>
                <a:gd name="connsiteY66" fmla="*/ 770477 h 1203769"/>
                <a:gd name="connsiteX67" fmla="*/ 30290 w 853440"/>
                <a:gd name="connsiteY67" fmla="*/ 793528 h 1203769"/>
                <a:gd name="connsiteX68" fmla="*/ 20288 w 853440"/>
                <a:gd name="connsiteY68" fmla="*/ 822674 h 1203769"/>
                <a:gd name="connsiteX69" fmla="*/ 16383 w 853440"/>
                <a:gd name="connsiteY69" fmla="*/ 834200 h 1203769"/>
                <a:gd name="connsiteX70" fmla="*/ 12383 w 853440"/>
                <a:gd name="connsiteY70" fmla="*/ 863156 h 1203769"/>
                <a:gd name="connsiteX71" fmla="*/ 10382 w 853440"/>
                <a:gd name="connsiteY71" fmla="*/ 866204 h 1203769"/>
                <a:gd name="connsiteX72" fmla="*/ 9239 w 853440"/>
                <a:gd name="connsiteY72" fmla="*/ 869442 h 1203769"/>
                <a:gd name="connsiteX73" fmla="*/ 10859 w 853440"/>
                <a:gd name="connsiteY73" fmla="*/ 877252 h 1203769"/>
                <a:gd name="connsiteX74" fmla="*/ 13526 w 853440"/>
                <a:gd name="connsiteY74" fmla="*/ 882777 h 1203769"/>
                <a:gd name="connsiteX75" fmla="*/ 16383 w 853440"/>
                <a:gd name="connsiteY75" fmla="*/ 884301 h 1203769"/>
                <a:gd name="connsiteX76" fmla="*/ 19907 w 853440"/>
                <a:gd name="connsiteY76" fmla="*/ 884777 h 1203769"/>
                <a:gd name="connsiteX77" fmla="*/ 24194 w 853440"/>
                <a:gd name="connsiteY77" fmla="*/ 886873 h 1203769"/>
                <a:gd name="connsiteX78" fmla="*/ 31052 w 853440"/>
                <a:gd name="connsiteY78" fmla="*/ 892874 h 1203769"/>
                <a:gd name="connsiteX79" fmla="*/ 32861 w 853440"/>
                <a:gd name="connsiteY79" fmla="*/ 896112 h 1203769"/>
                <a:gd name="connsiteX80" fmla="*/ 34957 w 853440"/>
                <a:gd name="connsiteY80" fmla="*/ 901351 h 1203769"/>
                <a:gd name="connsiteX81" fmla="*/ 36862 w 853440"/>
                <a:gd name="connsiteY81" fmla="*/ 908209 h 1203769"/>
                <a:gd name="connsiteX82" fmla="*/ 38576 w 853440"/>
                <a:gd name="connsiteY82" fmla="*/ 920591 h 1203769"/>
                <a:gd name="connsiteX83" fmla="*/ 40386 w 853440"/>
                <a:gd name="connsiteY83" fmla="*/ 925354 h 1203769"/>
                <a:gd name="connsiteX84" fmla="*/ 38767 w 853440"/>
                <a:gd name="connsiteY84" fmla="*/ 932974 h 1203769"/>
                <a:gd name="connsiteX85" fmla="*/ 38195 w 853440"/>
                <a:gd name="connsiteY85" fmla="*/ 944880 h 1203769"/>
                <a:gd name="connsiteX86" fmla="*/ 38957 w 853440"/>
                <a:gd name="connsiteY86" fmla="*/ 957453 h 1203769"/>
                <a:gd name="connsiteX87" fmla="*/ 43339 w 853440"/>
                <a:gd name="connsiteY87" fmla="*/ 972217 h 1203769"/>
                <a:gd name="connsiteX88" fmla="*/ 42291 w 853440"/>
                <a:gd name="connsiteY88" fmla="*/ 977741 h 1203769"/>
                <a:gd name="connsiteX89" fmla="*/ 39624 w 853440"/>
                <a:gd name="connsiteY89" fmla="*/ 981837 h 1203769"/>
                <a:gd name="connsiteX90" fmla="*/ 36290 w 853440"/>
                <a:gd name="connsiteY90" fmla="*/ 983552 h 1203769"/>
                <a:gd name="connsiteX91" fmla="*/ 33052 w 853440"/>
                <a:gd name="connsiteY91" fmla="*/ 981456 h 1203769"/>
                <a:gd name="connsiteX92" fmla="*/ 24194 w 853440"/>
                <a:gd name="connsiteY92" fmla="*/ 968693 h 1203769"/>
                <a:gd name="connsiteX93" fmla="*/ 29718 w 853440"/>
                <a:gd name="connsiteY93" fmla="*/ 959549 h 1203769"/>
                <a:gd name="connsiteX94" fmla="*/ 29718 w 853440"/>
                <a:gd name="connsiteY94" fmla="*/ 954691 h 1203769"/>
                <a:gd name="connsiteX95" fmla="*/ 29718 w 853440"/>
                <a:gd name="connsiteY95" fmla="*/ 944690 h 1203769"/>
                <a:gd name="connsiteX96" fmla="*/ 26861 w 853440"/>
                <a:gd name="connsiteY96" fmla="*/ 942975 h 1203769"/>
                <a:gd name="connsiteX97" fmla="*/ 24194 w 853440"/>
                <a:gd name="connsiteY97" fmla="*/ 940308 h 1203769"/>
                <a:gd name="connsiteX98" fmla="*/ 29718 w 853440"/>
                <a:gd name="connsiteY98" fmla="*/ 930688 h 1203769"/>
                <a:gd name="connsiteX99" fmla="*/ 26194 w 853440"/>
                <a:gd name="connsiteY99" fmla="*/ 922306 h 1203769"/>
                <a:gd name="connsiteX100" fmla="*/ 21622 w 853440"/>
                <a:gd name="connsiteY100" fmla="*/ 924116 h 1203769"/>
                <a:gd name="connsiteX101" fmla="*/ 20860 w 853440"/>
                <a:gd name="connsiteY101" fmla="*/ 934212 h 1203769"/>
                <a:gd name="connsiteX102" fmla="*/ 19907 w 853440"/>
                <a:gd name="connsiteY102" fmla="*/ 941261 h 1203769"/>
                <a:gd name="connsiteX103" fmla="*/ 14383 w 853440"/>
                <a:gd name="connsiteY103" fmla="*/ 942118 h 1203769"/>
                <a:gd name="connsiteX104" fmla="*/ 13526 w 853440"/>
                <a:gd name="connsiteY104" fmla="*/ 949833 h 1203769"/>
                <a:gd name="connsiteX105" fmla="*/ 11621 w 853440"/>
                <a:gd name="connsiteY105" fmla="*/ 956310 h 1203769"/>
                <a:gd name="connsiteX106" fmla="*/ 9335 w 853440"/>
                <a:gd name="connsiteY106" fmla="*/ 961739 h 1203769"/>
                <a:gd name="connsiteX107" fmla="*/ 4096 w 853440"/>
                <a:gd name="connsiteY107" fmla="*/ 971264 h 1203769"/>
                <a:gd name="connsiteX108" fmla="*/ 762 w 853440"/>
                <a:gd name="connsiteY108" fmla="*/ 982123 h 1203769"/>
                <a:gd name="connsiteX109" fmla="*/ 0 w 853440"/>
                <a:gd name="connsiteY109" fmla="*/ 995553 h 1203769"/>
                <a:gd name="connsiteX110" fmla="*/ 953 w 853440"/>
                <a:gd name="connsiteY110" fmla="*/ 1009650 h 1203769"/>
                <a:gd name="connsiteX111" fmla="*/ 5048 w 853440"/>
                <a:gd name="connsiteY111" fmla="*/ 1037273 h 1203769"/>
                <a:gd name="connsiteX112" fmla="*/ 5525 w 853440"/>
                <a:gd name="connsiteY112" fmla="*/ 1043654 h 1203769"/>
                <a:gd name="connsiteX113" fmla="*/ 5525 w 853440"/>
                <a:gd name="connsiteY113" fmla="*/ 1051179 h 1203769"/>
                <a:gd name="connsiteX114" fmla="*/ 4572 w 853440"/>
                <a:gd name="connsiteY114" fmla="*/ 1059180 h 1203769"/>
                <a:gd name="connsiteX115" fmla="*/ 953 w 853440"/>
                <a:gd name="connsiteY115" fmla="*/ 1072896 h 1203769"/>
                <a:gd name="connsiteX116" fmla="*/ 191 w 853440"/>
                <a:gd name="connsiteY116" fmla="*/ 1077278 h 1203769"/>
                <a:gd name="connsiteX117" fmla="*/ 1905 w 853440"/>
                <a:gd name="connsiteY117" fmla="*/ 1092327 h 1203769"/>
                <a:gd name="connsiteX118" fmla="*/ 6096 w 853440"/>
                <a:gd name="connsiteY118" fmla="*/ 1107472 h 1203769"/>
                <a:gd name="connsiteX119" fmla="*/ 23527 w 853440"/>
                <a:gd name="connsiteY119" fmla="*/ 1151573 h 1203769"/>
                <a:gd name="connsiteX120" fmla="*/ 28956 w 853440"/>
                <a:gd name="connsiteY120" fmla="*/ 1174433 h 1203769"/>
                <a:gd name="connsiteX121" fmla="*/ 32766 w 853440"/>
                <a:gd name="connsiteY121" fmla="*/ 1200341 h 1203769"/>
                <a:gd name="connsiteX122" fmla="*/ 33052 w 853440"/>
                <a:gd name="connsiteY122" fmla="*/ 1203484 h 1203769"/>
                <a:gd name="connsiteX123" fmla="*/ 33052 w 853440"/>
                <a:gd name="connsiteY123" fmla="*/ 1203770 h 1203769"/>
                <a:gd name="connsiteX124" fmla="*/ 47816 w 853440"/>
                <a:gd name="connsiteY124" fmla="*/ 1200055 h 1203769"/>
                <a:gd name="connsiteX125" fmla="*/ 70771 w 853440"/>
                <a:gd name="connsiteY125" fmla="*/ 1199864 h 1203769"/>
                <a:gd name="connsiteX126" fmla="*/ 86392 w 853440"/>
                <a:gd name="connsiteY126" fmla="*/ 1195483 h 1203769"/>
                <a:gd name="connsiteX127" fmla="*/ 92202 w 853440"/>
                <a:gd name="connsiteY127" fmla="*/ 1182243 h 1203769"/>
                <a:gd name="connsiteX128" fmla="*/ 95060 w 853440"/>
                <a:gd name="connsiteY128" fmla="*/ 1163003 h 1203769"/>
                <a:gd name="connsiteX129" fmla="*/ 101727 w 853440"/>
                <a:gd name="connsiteY129" fmla="*/ 1140524 h 1203769"/>
                <a:gd name="connsiteX130" fmla="*/ 111538 w 853440"/>
                <a:gd name="connsiteY130" fmla="*/ 1125093 h 1203769"/>
                <a:gd name="connsiteX131" fmla="*/ 125349 w 853440"/>
                <a:gd name="connsiteY131" fmla="*/ 1109853 h 1203769"/>
                <a:gd name="connsiteX132" fmla="*/ 139827 w 853440"/>
                <a:gd name="connsiteY132" fmla="*/ 1097661 h 1203769"/>
                <a:gd name="connsiteX133" fmla="*/ 151829 w 853440"/>
                <a:gd name="connsiteY133" fmla="*/ 1091470 h 1203769"/>
                <a:gd name="connsiteX134" fmla="*/ 169450 w 853440"/>
                <a:gd name="connsiteY134" fmla="*/ 1090613 h 1203769"/>
                <a:gd name="connsiteX135" fmla="*/ 175546 w 853440"/>
                <a:gd name="connsiteY135" fmla="*/ 1088517 h 1203769"/>
                <a:gd name="connsiteX136" fmla="*/ 201359 w 853440"/>
                <a:gd name="connsiteY136" fmla="*/ 1068610 h 1203769"/>
                <a:gd name="connsiteX137" fmla="*/ 229934 w 853440"/>
                <a:gd name="connsiteY137" fmla="*/ 1046512 h 1203769"/>
                <a:gd name="connsiteX138" fmla="*/ 244316 w 853440"/>
                <a:gd name="connsiteY138" fmla="*/ 1039082 h 1203769"/>
                <a:gd name="connsiteX139" fmla="*/ 278797 w 853440"/>
                <a:gd name="connsiteY139" fmla="*/ 1037558 h 1203769"/>
                <a:gd name="connsiteX140" fmla="*/ 299085 w 853440"/>
                <a:gd name="connsiteY140" fmla="*/ 1027938 h 1203769"/>
                <a:gd name="connsiteX141" fmla="*/ 388144 w 853440"/>
                <a:gd name="connsiteY141" fmla="*/ 985838 h 1203769"/>
                <a:gd name="connsiteX142" fmla="*/ 395097 w 853440"/>
                <a:gd name="connsiteY142" fmla="*/ 982599 h 1203769"/>
                <a:gd name="connsiteX143" fmla="*/ 438341 w 853440"/>
                <a:gd name="connsiteY143" fmla="*/ 962120 h 1203769"/>
                <a:gd name="connsiteX144" fmla="*/ 455867 w 853440"/>
                <a:gd name="connsiteY144" fmla="*/ 963359 h 1203769"/>
                <a:gd name="connsiteX145" fmla="*/ 463201 w 853440"/>
                <a:gd name="connsiteY145" fmla="*/ 967169 h 1203769"/>
                <a:gd name="connsiteX146" fmla="*/ 477679 w 853440"/>
                <a:gd name="connsiteY146" fmla="*/ 978027 h 1203769"/>
                <a:gd name="connsiteX147" fmla="*/ 485299 w 853440"/>
                <a:gd name="connsiteY147" fmla="*/ 981170 h 1203769"/>
                <a:gd name="connsiteX148" fmla="*/ 600932 w 853440"/>
                <a:gd name="connsiteY148" fmla="*/ 977265 h 1203769"/>
                <a:gd name="connsiteX149" fmla="*/ 625888 w 853440"/>
                <a:gd name="connsiteY149" fmla="*/ 982980 h 1203769"/>
                <a:gd name="connsiteX150" fmla="*/ 626840 w 853440"/>
                <a:gd name="connsiteY150" fmla="*/ 983552 h 1203769"/>
                <a:gd name="connsiteX151" fmla="*/ 637127 w 853440"/>
                <a:gd name="connsiteY151" fmla="*/ 989076 h 1203769"/>
                <a:gd name="connsiteX152" fmla="*/ 654368 w 853440"/>
                <a:gd name="connsiteY152" fmla="*/ 1007364 h 1203769"/>
                <a:gd name="connsiteX153" fmla="*/ 661130 w 853440"/>
                <a:gd name="connsiteY153" fmla="*/ 1010221 h 1203769"/>
                <a:gd name="connsiteX154" fmla="*/ 667036 w 853440"/>
                <a:gd name="connsiteY154" fmla="*/ 1009269 h 1203769"/>
                <a:gd name="connsiteX155" fmla="*/ 722090 w 853440"/>
                <a:gd name="connsiteY155" fmla="*/ 986409 h 1203769"/>
                <a:gd name="connsiteX156" fmla="*/ 736378 w 853440"/>
                <a:gd name="connsiteY156" fmla="*/ 976408 h 1203769"/>
                <a:gd name="connsiteX157" fmla="*/ 735997 w 853440"/>
                <a:gd name="connsiteY157" fmla="*/ 976313 h 1203769"/>
                <a:gd name="connsiteX158" fmla="*/ 721709 w 853440"/>
                <a:gd name="connsiteY158" fmla="*/ 972502 h 1203769"/>
                <a:gd name="connsiteX159" fmla="*/ 707708 w 853440"/>
                <a:gd name="connsiteY159" fmla="*/ 961454 h 1203769"/>
                <a:gd name="connsiteX160" fmla="*/ 700564 w 853440"/>
                <a:gd name="connsiteY160" fmla="*/ 958977 h 1203769"/>
                <a:gd name="connsiteX161" fmla="*/ 684562 w 853440"/>
                <a:gd name="connsiteY161" fmla="*/ 957072 h 1203769"/>
                <a:gd name="connsiteX162" fmla="*/ 688467 w 853440"/>
                <a:gd name="connsiteY162" fmla="*/ 943547 h 1203769"/>
                <a:gd name="connsiteX163" fmla="*/ 690944 w 853440"/>
                <a:gd name="connsiteY163" fmla="*/ 939641 h 1203769"/>
                <a:gd name="connsiteX164" fmla="*/ 692944 w 853440"/>
                <a:gd name="connsiteY164" fmla="*/ 935165 h 1203769"/>
                <a:gd name="connsiteX165" fmla="*/ 691706 w 853440"/>
                <a:gd name="connsiteY165" fmla="*/ 926402 h 1203769"/>
                <a:gd name="connsiteX166" fmla="*/ 690372 w 853440"/>
                <a:gd name="connsiteY166" fmla="*/ 921258 h 1203769"/>
                <a:gd name="connsiteX167" fmla="*/ 674751 w 853440"/>
                <a:gd name="connsiteY167" fmla="*/ 908685 h 1203769"/>
                <a:gd name="connsiteX168" fmla="*/ 678942 w 853440"/>
                <a:gd name="connsiteY168" fmla="*/ 857726 h 1203769"/>
                <a:gd name="connsiteX169" fmla="*/ 686848 w 853440"/>
                <a:gd name="connsiteY169" fmla="*/ 857822 h 1203769"/>
                <a:gd name="connsiteX170" fmla="*/ 688181 w 853440"/>
                <a:gd name="connsiteY170" fmla="*/ 857631 h 1203769"/>
                <a:gd name="connsiteX171" fmla="*/ 695706 w 853440"/>
                <a:gd name="connsiteY171" fmla="*/ 860108 h 1203769"/>
                <a:gd name="connsiteX172" fmla="*/ 702850 w 853440"/>
                <a:gd name="connsiteY172" fmla="*/ 856298 h 1203769"/>
                <a:gd name="connsiteX173" fmla="*/ 712470 w 853440"/>
                <a:gd name="connsiteY173" fmla="*/ 855631 h 1203769"/>
                <a:gd name="connsiteX174" fmla="*/ 709994 w 853440"/>
                <a:gd name="connsiteY174" fmla="*/ 848106 h 1203769"/>
                <a:gd name="connsiteX175" fmla="*/ 708755 w 853440"/>
                <a:gd name="connsiteY175" fmla="*/ 846487 h 1203769"/>
                <a:gd name="connsiteX176" fmla="*/ 707136 w 853440"/>
                <a:gd name="connsiteY176" fmla="*/ 843344 h 1203769"/>
                <a:gd name="connsiteX177" fmla="*/ 704850 w 853440"/>
                <a:gd name="connsiteY177" fmla="*/ 841915 h 1203769"/>
                <a:gd name="connsiteX178" fmla="*/ 704183 w 853440"/>
                <a:gd name="connsiteY178" fmla="*/ 839057 h 1203769"/>
                <a:gd name="connsiteX179" fmla="*/ 704088 w 853440"/>
                <a:gd name="connsiteY179" fmla="*/ 835628 h 1203769"/>
                <a:gd name="connsiteX180" fmla="*/ 704183 w 853440"/>
                <a:gd name="connsiteY180" fmla="*/ 832295 h 1203769"/>
                <a:gd name="connsiteX181" fmla="*/ 705707 w 853440"/>
                <a:gd name="connsiteY181" fmla="*/ 828961 h 1203769"/>
                <a:gd name="connsiteX182" fmla="*/ 710470 w 853440"/>
                <a:gd name="connsiteY182" fmla="*/ 828104 h 1203769"/>
                <a:gd name="connsiteX183" fmla="*/ 719900 w 853440"/>
                <a:gd name="connsiteY183" fmla="*/ 828104 h 1203769"/>
                <a:gd name="connsiteX184" fmla="*/ 724567 w 853440"/>
                <a:gd name="connsiteY184" fmla="*/ 825818 h 1203769"/>
                <a:gd name="connsiteX185" fmla="*/ 729044 w 853440"/>
                <a:gd name="connsiteY185" fmla="*/ 821150 h 1203769"/>
                <a:gd name="connsiteX186" fmla="*/ 734282 w 853440"/>
                <a:gd name="connsiteY186" fmla="*/ 811435 h 1203769"/>
                <a:gd name="connsiteX187" fmla="*/ 736283 w 853440"/>
                <a:gd name="connsiteY187" fmla="*/ 801910 h 1203769"/>
                <a:gd name="connsiteX188" fmla="*/ 727901 w 853440"/>
                <a:gd name="connsiteY188" fmla="*/ 791909 h 1203769"/>
                <a:gd name="connsiteX189" fmla="*/ 724376 w 853440"/>
                <a:gd name="connsiteY189" fmla="*/ 782574 h 1203769"/>
                <a:gd name="connsiteX190" fmla="*/ 715232 w 853440"/>
                <a:gd name="connsiteY190" fmla="*/ 777812 h 1203769"/>
                <a:gd name="connsiteX191" fmla="*/ 713232 w 853440"/>
                <a:gd name="connsiteY191" fmla="*/ 765239 h 1203769"/>
                <a:gd name="connsiteX192" fmla="*/ 723329 w 853440"/>
                <a:gd name="connsiteY192" fmla="*/ 763810 h 1203769"/>
                <a:gd name="connsiteX193" fmla="*/ 720376 w 853440"/>
                <a:gd name="connsiteY193" fmla="*/ 756571 h 1203769"/>
                <a:gd name="connsiteX194" fmla="*/ 718947 w 853440"/>
                <a:gd name="connsiteY194" fmla="*/ 754571 h 1203769"/>
                <a:gd name="connsiteX195" fmla="*/ 718757 w 853440"/>
                <a:gd name="connsiteY195" fmla="*/ 751618 h 1203769"/>
                <a:gd name="connsiteX196" fmla="*/ 720566 w 853440"/>
                <a:gd name="connsiteY196" fmla="*/ 749808 h 1203769"/>
                <a:gd name="connsiteX197" fmla="*/ 722852 w 853440"/>
                <a:gd name="connsiteY197" fmla="*/ 748379 h 1203769"/>
                <a:gd name="connsiteX198" fmla="*/ 724376 w 853440"/>
                <a:gd name="connsiteY198" fmla="*/ 743998 h 1203769"/>
                <a:gd name="connsiteX199" fmla="*/ 723519 w 853440"/>
                <a:gd name="connsiteY199" fmla="*/ 738473 h 1203769"/>
                <a:gd name="connsiteX200" fmla="*/ 721233 w 853440"/>
                <a:gd name="connsiteY200" fmla="*/ 711613 h 1203769"/>
                <a:gd name="connsiteX201" fmla="*/ 708374 w 853440"/>
                <a:gd name="connsiteY201" fmla="*/ 693706 h 1203769"/>
                <a:gd name="connsiteX202" fmla="*/ 708851 w 853440"/>
                <a:gd name="connsiteY202" fmla="*/ 688658 h 1203769"/>
                <a:gd name="connsiteX203" fmla="*/ 681514 w 853440"/>
                <a:gd name="connsiteY203" fmla="*/ 689991 h 1203769"/>
                <a:gd name="connsiteX204" fmla="*/ 666083 w 853440"/>
                <a:gd name="connsiteY204" fmla="*/ 684657 h 1203769"/>
                <a:gd name="connsiteX205" fmla="*/ 651605 w 853440"/>
                <a:gd name="connsiteY205" fmla="*/ 685610 h 1203769"/>
                <a:gd name="connsiteX206" fmla="*/ 653129 w 853440"/>
                <a:gd name="connsiteY206" fmla="*/ 679799 h 1203769"/>
                <a:gd name="connsiteX207" fmla="*/ 648653 w 853440"/>
                <a:gd name="connsiteY207" fmla="*/ 674275 h 1203769"/>
                <a:gd name="connsiteX208" fmla="*/ 629984 w 853440"/>
                <a:gd name="connsiteY208" fmla="*/ 665036 h 1203769"/>
                <a:gd name="connsiteX209" fmla="*/ 607124 w 853440"/>
                <a:gd name="connsiteY209" fmla="*/ 661797 h 1203769"/>
                <a:gd name="connsiteX210" fmla="*/ 592836 w 853440"/>
                <a:gd name="connsiteY210" fmla="*/ 654749 h 1203769"/>
                <a:gd name="connsiteX211" fmla="*/ 596551 w 853440"/>
                <a:gd name="connsiteY211" fmla="*/ 646557 h 1203769"/>
                <a:gd name="connsiteX212" fmla="*/ 598932 w 853440"/>
                <a:gd name="connsiteY212" fmla="*/ 643414 h 1203769"/>
                <a:gd name="connsiteX213" fmla="*/ 602075 w 853440"/>
                <a:gd name="connsiteY213" fmla="*/ 640175 h 1203769"/>
                <a:gd name="connsiteX214" fmla="*/ 603695 w 853440"/>
                <a:gd name="connsiteY214" fmla="*/ 636746 h 1203769"/>
                <a:gd name="connsiteX215" fmla="*/ 604552 w 853440"/>
                <a:gd name="connsiteY215" fmla="*/ 631127 h 1203769"/>
                <a:gd name="connsiteX216" fmla="*/ 604552 w 853440"/>
                <a:gd name="connsiteY216" fmla="*/ 619982 h 1203769"/>
                <a:gd name="connsiteX217" fmla="*/ 605885 w 853440"/>
                <a:gd name="connsiteY217" fmla="*/ 616553 h 1203769"/>
                <a:gd name="connsiteX218" fmla="*/ 607695 w 853440"/>
                <a:gd name="connsiteY218" fmla="*/ 613982 h 1203769"/>
                <a:gd name="connsiteX219" fmla="*/ 606743 w 853440"/>
                <a:gd name="connsiteY219" fmla="*/ 611029 h 1203769"/>
                <a:gd name="connsiteX220" fmla="*/ 601028 w 853440"/>
                <a:gd name="connsiteY220" fmla="*/ 607790 h 1203769"/>
                <a:gd name="connsiteX221" fmla="*/ 593408 w 853440"/>
                <a:gd name="connsiteY221" fmla="*/ 605885 h 1203769"/>
                <a:gd name="connsiteX222" fmla="*/ 578834 w 853440"/>
                <a:gd name="connsiteY222" fmla="*/ 608076 h 1203769"/>
                <a:gd name="connsiteX223" fmla="*/ 575120 w 853440"/>
                <a:gd name="connsiteY223" fmla="*/ 592741 h 1203769"/>
                <a:gd name="connsiteX224" fmla="*/ 579215 w 853440"/>
                <a:gd name="connsiteY224" fmla="*/ 591407 h 1203769"/>
                <a:gd name="connsiteX225" fmla="*/ 585597 w 853440"/>
                <a:gd name="connsiteY225" fmla="*/ 561308 h 1203769"/>
                <a:gd name="connsiteX226" fmla="*/ 599599 w 853440"/>
                <a:gd name="connsiteY226" fmla="*/ 538925 h 1203769"/>
                <a:gd name="connsiteX227" fmla="*/ 619601 w 853440"/>
                <a:gd name="connsiteY227" fmla="*/ 542830 h 1203769"/>
                <a:gd name="connsiteX228" fmla="*/ 631984 w 853440"/>
                <a:gd name="connsiteY228" fmla="*/ 532829 h 1203769"/>
                <a:gd name="connsiteX229" fmla="*/ 649224 w 853440"/>
                <a:gd name="connsiteY229" fmla="*/ 537496 h 1203769"/>
                <a:gd name="connsiteX230" fmla="*/ 654558 w 853440"/>
                <a:gd name="connsiteY230" fmla="*/ 519017 h 1203769"/>
                <a:gd name="connsiteX231" fmla="*/ 651510 w 853440"/>
                <a:gd name="connsiteY231" fmla="*/ 481012 h 1203769"/>
                <a:gd name="connsiteX232" fmla="*/ 662369 w 853440"/>
                <a:gd name="connsiteY232" fmla="*/ 478917 h 1203769"/>
                <a:gd name="connsiteX233" fmla="*/ 697897 w 853440"/>
                <a:gd name="connsiteY233" fmla="*/ 468440 h 1203769"/>
                <a:gd name="connsiteX234" fmla="*/ 710565 w 853440"/>
                <a:gd name="connsiteY234" fmla="*/ 458533 h 1203769"/>
                <a:gd name="connsiteX235" fmla="*/ 713994 w 853440"/>
                <a:gd name="connsiteY235" fmla="*/ 454724 h 1203769"/>
                <a:gd name="connsiteX236" fmla="*/ 716280 w 853440"/>
                <a:gd name="connsiteY236" fmla="*/ 450914 h 1203769"/>
                <a:gd name="connsiteX237" fmla="*/ 725329 w 853440"/>
                <a:gd name="connsiteY237" fmla="*/ 448532 h 1203769"/>
                <a:gd name="connsiteX238" fmla="*/ 756476 w 853440"/>
                <a:gd name="connsiteY238" fmla="*/ 450533 h 1203769"/>
                <a:gd name="connsiteX239" fmla="*/ 764191 w 853440"/>
                <a:gd name="connsiteY239" fmla="*/ 445199 h 1203769"/>
                <a:gd name="connsiteX240" fmla="*/ 768287 w 853440"/>
                <a:gd name="connsiteY240" fmla="*/ 439579 h 1203769"/>
                <a:gd name="connsiteX241" fmla="*/ 770287 w 853440"/>
                <a:gd name="connsiteY241" fmla="*/ 433959 h 1203769"/>
                <a:gd name="connsiteX242" fmla="*/ 771144 w 853440"/>
                <a:gd name="connsiteY242" fmla="*/ 428530 h 1203769"/>
                <a:gd name="connsiteX243" fmla="*/ 778288 w 853440"/>
                <a:gd name="connsiteY243" fmla="*/ 417290 h 1203769"/>
                <a:gd name="connsiteX244" fmla="*/ 782288 w 853440"/>
                <a:gd name="connsiteY244" fmla="*/ 414719 h 1203769"/>
                <a:gd name="connsiteX245" fmla="*/ 806577 w 853440"/>
                <a:gd name="connsiteY245" fmla="*/ 398145 h 1203769"/>
                <a:gd name="connsiteX246" fmla="*/ 822389 w 853440"/>
                <a:gd name="connsiteY246" fmla="*/ 377762 h 1203769"/>
                <a:gd name="connsiteX247" fmla="*/ 834962 w 853440"/>
                <a:gd name="connsiteY247" fmla="*/ 358426 h 1203769"/>
                <a:gd name="connsiteX248" fmla="*/ 835724 w 853440"/>
                <a:gd name="connsiteY248" fmla="*/ 338233 h 1203769"/>
                <a:gd name="connsiteX249" fmla="*/ 838105 w 853440"/>
                <a:gd name="connsiteY249" fmla="*/ 329756 h 1203769"/>
                <a:gd name="connsiteX250" fmla="*/ 840867 w 853440"/>
                <a:gd name="connsiteY250" fmla="*/ 324612 h 1203769"/>
                <a:gd name="connsiteX251" fmla="*/ 853440 w 853440"/>
                <a:gd name="connsiteY251" fmla="*/ 320040 h 1203769"/>
                <a:gd name="connsiteX252" fmla="*/ 844772 w 853440"/>
                <a:gd name="connsiteY252" fmla="*/ 302324 h 120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Lst>
              <a:rect l="l" t="t" r="r" b="b"/>
              <a:pathLst>
                <a:path w="853440" h="1203769">
                  <a:moveTo>
                    <a:pt x="844772" y="302324"/>
                  </a:moveTo>
                  <a:lnTo>
                    <a:pt x="843058" y="295180"/>
                  </a:lnTo>
                  <a:lnTo>
                    <a:pt x="842867" y="288036"/>
                  </a:lnTo>
                  <a:lnTo>
                    <a:pt x="841724" y="282416"/>
                  </a:lnTo>
                  <a:lnTo>
                    <a:pt x="836771" y="280130"/>
                  </a:lnTo>
                  <a:lnTo>
                    <a:pt x="823532" y="276987"/>
                  </a:lnTo>
                  <a:lnTo>
                    <a:pt x="803243" y="265271"/>
                  </a:lnTo>
                  <a:lnTo>
                    <a:pt x="788956" y="252698"/>
                  </a:lnTo>
                  <a:lnTo>
                    <a:pt x="771716" y="237554"/>
                  </a:lnTo>
                  <a:lnTo>
                    <a:pt x="743903" y="202502"/>
                  </a:lnTo>
                  <a:lnTo>
                    <a:pt x="657130" y="126683"/>
                  </a:lnTo>
                  <a:lnTo>
                    <a:pt x="635603" y="94488"/>
                  </a:lnTo>
                  <a:lnTo>
                    <a:pt x="631793" y="83820"/>
                  </a:lnTo>
                  <a:lnTo>
                    <a:pt x="630269" y="69056"/>
                  </a:lnTo>
                  <a:lnTo>
                    <a:pt x="631698" y="39148"/>
                  </a:lnTo>
                  <a:lnTo>
                    <a:pt x="635413" y="11620"/>
                  </a:lnTo>
                  <a:lnTo>
                    <a:pt x="637222" y="6382"/>
                  </a:lnTo>
                  <a:lnTo>
                    <a:pt x="639223" y="4572"/>
                  </a:lnTo>
                  <a:lnTo>
                    <a:pt x="639318" y="3715"/>
                  </a:lnTo>
                  <a:lnTo>
                    <a:pt x="635413" y="1238"/>
                  </a:lnTo>
                  <a:lnTo>
                    <a:pt x="629793" y="0"/>
                  </a:lnTo>
                  <a:lnTo>
                    <a:pt x="624650" y="2095"/>
                  </a:lnTo>
                  <a:lnTo>
                    <a:pt x="619887" y="5143"/>
                  </a:lnTo>
                  <a:lnTo>
                    <a:pt x="615506" y="6668"/>
                  </a:lnTo>
                  <a:lnTo>
                    <a:pt x="606552" y="7334"/>
                  </a:lnTo>
                  <a:lnTo>
                    <a:pt x="589979" y="12573"/>
                  </a:lnTo>
                  <a:lnTo>
                    <a:pt x="477393" y="74486"/>
                  </a:lnTo>
                  <a:lnTo>
                    <a:pt x="401383" y="116110"/>
                  </a:lnTo>
                  <a:lnTo>
                    <a:pt x="384524" y="121444"/>
                  </a:lnTo>
                  <a:lnTo>
                    <a:pt x="312706" y="126397"/>
                  </a:lnTo>
                  <a:lnTo>
                    <a:pt x="296418" y="135350"/>
                  </a:lnTo>
                  <a:lnTo>
                    <a:pt x="284512" y="148781"/>
                  </a:lnTo>
                  <a:lnTo>
                    <a:pt x="254318" y="208312"/>
                  </a:lnTo>
                  <a:lnTo>
                    <a:pt x="241649" y="233267"/>
                  </a:lnTo>
                  <a:lnTo>
                    <a:pt x="213836" y="270224"/>
                  </a:lnTo>
                  <a:lnTo>
                    <a:pt x="211455" y="276701"/>
                  </a:lnTo>
                  <a:lnTo>
                    <a:pt x="199263" y="309182"/>
                  </a:lnTo>
                  <a:lnTo>
                    <a:pt x="193929" y="315087"/>
                  </a:lnTo>
                  <a:lnTo>
                    <a:pt x="187262" y="318992"/>
                  </a:lnTo>
                  <a:lnTo>
                    <a:pt x="181070" y="328803"/>
                  </a:lnTo>
                  <a:lnTo>
                    <a:pt x="176403" y="341567"/>
                  </a:lnTo>
                  <a:lnTo>
                    <a:pt x="173831" y="354425"/>
                  </a:lnTo>
                  <a:lnTo>
                    <a:pt x="172974" y="369475"/>
                  </a:lnTo>
                  <a:lnTo>
                    <a:pt x="173831" y="416338"/>
                  </a:lnTo>
                  <a:lnTo>
                    <a:pt x="172974" y="422529"/>
                  </a:lnTo>
                  <a:lnTo>
                    <a:pt x="169259" y="432721"/>
                  </a:lnTo>
                  <a:lnTo>
                    <a:pt x="168402" y="440436"/>
                  </a:lnTo>
                  <a:lnTo>
                    <a:pt x="172688" y="459677"/>
                  </a:lnTo>
                  <a:lnTo>
                    <a:pt x="173831" y="467297"/>
                  </a:lnTo>
                  <a:lnTo>
                    <a:pt x="173355" y="496443"/>
                  </a:lnTo>
                  <a:lnTo>
                    <a:pt x="168688" y="521970"/>
                  </a:lnTo>
                  <a:lnTo>
                    <a:pt x="161258" y="542449"/>
                  </a:lnTo>
                  <a:lnTo>
                    <a:pt x="152495" y="556165"/>
                  </a:lnTo>
                  <a:lnTo>
                    <a:pt x="140018" y="567690"/>
                  </a:lnTo>
                  <a:lnTo>
                    <a:pt x="129159" y="577691"/>
                  </a:lnTo>
                  <a:lnTo>
                    <a:pt x="124301" y="580644"/>
                  </a:lnTo>
                  <a:lnTo>
                    <a:pt x="120396" y="585121"/>
                  </a:lnTo>
                  <a:lnTo>
                    <a:pt x="106109" y="607219"/>
                  </a:lnTo>
                  <a:lnTo>
                    <a:pt x="99060" y="614744"/>
                  </a:lnTo>
                  <a:lnTo>
                    <a:pt x="73343" y="630460"/>
                  </a:lnTo>
                  <a:lnTo>
                    <a:pt x="69628" y="637032"/>
                  </a:lnTo>
                  <a:lnTo>
                    <a:pt x="37624" y="658463"/>
                  </a:lnTo>
                  <a:lnTo>
                    <a:pt x="32766" y="670846"/>
                  </a:lnTo>
                  <a:lnTo>
                    <a:pt x="33338" y="682943"/>
                  </a:lnTo>
                  <a:lnTo>
                    <a:pt x="36100" y="695611"/>
                  </a:lnTo>
                  <a:lnTo>
                    <a:pt x="37624" y="709708"/>
                  </a:lnTo>
                  <a:lnTo>
                    <a:pt x="34957" y="770477"/>
                  </a:lnTo>
                  <a:lnTo>
                    <a:pt x="30290" y="793528"/>
                  </a:lnTo>
                  <a:lnTo>
                    <a:pt x="20288" y="822674"/>
                  </a:lnTo>
                  <a:lnTo>
                    <a:pt x="16383" y="834200"/>
                  </a:lnTo>
                  <a:lnTo>
                    <a:pt x="12383" y="863156"/>
                  </a:lnTo>
                  <a:lnTo>
                    <a:pt x="10382" y="866204"/>
                  </a:lnTo>
                  <a:lnTo>
                    <a:pt x="9239" y="869442"/>
                  </a:lnTo>
                  <a:lnTo>
                    <a:pt x="10859" y="877252"/>
                  </a:lnTo>
                  <a:lnTo>
                    <a:pt x="13526" y="882777"/>
                  </a:lnTo>
                  <a:lnTo>
                    <a:pt x="16383" y="884301"/>
                  </a:lnTo>
                  <a:lnTo>
                    <a:pt x="19907" y="884777"/>
                  </a:lnTo>
                  <a:lnTo>
                    <a:pt x="24194" y="886873"/>
                  </a:lnTo>
                  <a:lnTo>
                    <a:pt x="31052" y="892874"/>
                  </a:lnTo>
                  <a:lnTo>
                    <a:pt x="32861" y="896112"/>
                  </a:lnTo>
                  <a:lnTo>
                    <a:pt x="34957" y="901351"/>
                  </a:lnTo>
                  <a:lnTo>
                    <a:pt x="36862" y="908209"/>
                  </a:lnTo>
                  <a:lnTo>
                    <a:pt x="38576" y="920591"/>
                  </a:lnTo>
                  <a:lnTo>
                    <a:pt x="40386" y="925354"/>
                  </a:lnTo>
                  <a:lnTo>
                    <a:pt x="38767" y="932974"/>
                  </a:lnTo>
                  <a:lnTo>
                    <a:pt x="38195" y="944880"/>
                  </a:lnTo>
                  <a:lnTo>
                    <a:pt x="38957" y="957453"/>
                  </a:lnTo>
                  <a:lnTo>
                    <a:pt x="43339" y="972217"/>
                  </a:lnTo>
                  <a:lnTo>
                    <a:pt x="42291" y="977741"/>
                  </a:lnTo>
                  <a:lnTo>
                    <a:pt x="39624" y="981837"/>
                  </a:lnTo>
                  <a:lnTo>
                    <a:pt x="36290" y="983552"/>
                  </a:lnTo>
                  <a:lnTo>
                    <a:pt x="33052" y="981456"/>
                  </a:lnTo>
                  <a:lnTo>
                    <a:pt x="24194" y="968693"/>
                  </a:lnTo>
                  <a:lnTo>
                    <a:pt x="29718" y="959549"/>
                  </a:lnTo>
                  <a:lnTo>
                    <a:pt x="29718" y="954691"/>
                  </a:lnTo>
                  <a:lnTo>
                    <a:pt x="29718" y="944690"/>
                  </a:lnTo>
                  <a:lnTo>
                    <a:pt x="26861" y="942975"/>
                  </a:lnTo>
                  <a:lnTo>
                    <a:pt x="24194" y="940308"/>
                  </a:lnTo>
                  <a:lnTo>
                    <a:pt x="29718" y="930688"/>
                  </a:lnTo>
                  <a:lnTo>
                    <a:pt x="26194" y="922306"/>
                  </a:lnTo>
                  <a:lnTo>
                    <a:pt x="21622" y="924116"/>
                  </a:lnTo>
                  <a:lnTo>
                    <a:pt x="20860" y="934212"/>
                  </a:lnTo>
                  <a:lnTo>
                    <a:pt x="19907" y="941261"/>
                  </a:lnTo>
                  <a:lnTo>
                    <a:pt x="14383" y="942118"/>
                  </a:lnTo>
                  <a:lnTo>
                    <a:pt x="13526" y="949833"/>
                  </a:lnTo>
                  <a:lnTo>
                    <a:pt x="11621" y="956310"/>
                  </a:lnTo>
                  <a:lnTo>
                    <a:pt x="9335" y="961739"/>
                  </a:lnTo>
                  <a:lnTo>
                    <a:pt x="4096" y="971264"/>
                  </a:lnTo>
                  <a:lnTo>
                    <a:pt x="762" y="982123"/>
                  </a:lnTo>
                  <a:lnTo>
                    <a:pt x="0" y="995553"/>
                  </a:lnTo>
                  <a:lnTo>
                    <a:pt x="953" y="1009650"/>
                  </a:lnTo>
                  <a:lnTo>
                    <a:pt x="5048" y="1037273"/>
                  </a:lnTo>
                  <a:lnTo>
                    <a:pt x="5525" y="1043654"/>
                  </a:lnTo>
                  <a:lnTo>
                    <a:pt x="5525" y="1051179"/>
                  </a:lnTo>
                  <a:lnTo>
                    <a:pt x="4572" y="1059180"/>
                  </a:lnTo>
                  <a:lnTo>
                    <a:pt x="953" y="1072896"/>
                  </a:lnTo>
                  <a:lnTo>
                    <a:pt x="191" y="1077278"/>
                  </a:lnTo>
                  <a:lnTo>
                    <a:pt x="1905" y="1092327"/>
                  </a:lnTo>
                  <a:lnTo>
                    <a:pt x="6096" y="1107472"/>
                  </a:lnTo>
                  <a:lnTo>
                    <a:pt x="23527" y="1151573"/>
                  </a:lnTo>
                  <a:lnTo>
                    <a:pt x="28956" y="1174433"/>
                  </a:lnTo>
                  <a:lnTo>
                    <a:pt x="32766" y="1200341"/>
                  </a:lnTo>
                  <a:lnTo>
                    <a:pt x="33052" y="1203484"/>
                  </a:lnTo>
                  <a:lnTo>
                    <a:pt x="33052" y="1203770"/>
                  </a:lnTo>
                  <a:lnTo>
                    <a:pt x="47816" y="1200055"/>
                  </a:lnTo>
                  <a:lnTo>
                    <a:pt x="70771" y="1199864"/>
                  </a:lnTo>
                  <a:lnTo>
                    <a:pt x="86392" y="1195483"/>
                  </a:lnTo>
                  <a:lnTo>
                    <a:pt x="92202" y="1182243"/>
                  </a:lnTo>
                  <a:lnTo>
                    <a:pt x="95060" y="1163003"/>
                  </a:lnTo>
                  <a:lnTo>
                    <a:pt x="101727" y="1140524"/>
                  </a:lnTo>
                  <a:lnTo>
                    <a:pt x="111538" y="1125093"/>
                  </a:lnTo>
                  <a:lnTo>
                    <a:pt x="125349" y="1109853"/>
                  </a:lnTo>
                  <a:lnTo>
                    <a:pt x="139827" y="1097661"/>
                  </a:lnTo>
                  <a:lnTo>
                    <a:pt x="151829" y="1091470"/>
                  </a:lnTo>
                  <a:lnTo>
                    <a:pt x="169450" y="1090613"/>
                  </a:lnTo>
                  <a:lnTo>
                    <a:pt x="175546" y="1088517"/>
                  </a:lnTo>
                  <a:lnTo>
                    <a:pt x="201359" y="1068610"/>
                  </a:lnTo>
                  <a:lnTo>
                    <a:pt x="229934" y="1046512"/>
                  </a:lnTo>
                  <a:lnTo>
                    <a:pt x="244316" y="1039082"/>
                  </a:lnTo>
                  <a:lnTo>
                    <a:pt x="278797" y="1037558"/>
                  </a:lnTo>
                  <a:lnTo>
                    <a:pt x="299085" y="1027938"/>
                  </a:lnTo>
                  <a:lnTo>
                    <a:pt x="388144" y="985838"/>
                  </a:lnTo>
                  <a:lnTo>
                    <a:pt x="395097" y="982599"/>
                  </a:lnTo>
                  <a:lnTo>
                    <a:pt x="438341" y="962120"/>
                  </a:lnTo>
                  <a:lnTo>
                    <a:pt x="455867" y="963359"/>
                  </a:lnTo>
                  <a:lnTo>
                    <a:pt x="463201" y="967169"/>
                  </a:lnTo>
                  <a:lnTo>
                    <a:pt x="477679" y="978027"/>
                  </a:lnTo>
                  <a:lnTo>
                    <a:pt x="485299" y="981170"/>
                  </a:lnTo>
                  <a:lnTo>
                    <a:pt x="600932" y="977265"/>
                  </a:lnTo>
                  <a:lnTo>
                    <a:pt x="625888" y="982980"/>
                  </a:lnTo>
                  <a:lnTo>
                    <a:pt x="626840" y="983552"/>
                  </a:lnTo>
                  <a:lnTo>
                    <a:pt x="637127" y="989076"/>
                  </a:lnTo>
                  <a:lnTo>
                    <a:pt x="654368" y="1007364"/>
                  </a:lnTo>
                  <a:lnTo>
                    <a:pt x="661130" y="1010221"/>
                  </a:lnTo>
                  <a:lnTo>
                    <a:pt x="667036" y="1009269"/>
                  </a:lnTo>
                  <a:lnTo>
                    <a:pt x="722090" y="986409"/>
                  </a:lnTo>
                  <a:lnTo>
                    <a:pt x="736378" y="976408"/>
                  </a:lnTo>
                  <a:lnTo>
                    <a:pt x="735997" y="976313"/>
                  </a:lnTo>
                  <a:lnTo>
                    <a:pt x="721709" y="972502"/>
                  </a:lnTo>
                  <a:lnTo>
                    <a:pt x="707708" y="961454"/>
                  </a:lnTo>
                  <a:lnTo>
                    <a:pt x="700564" y="958977"/>
                  </a:lnTo>
                  <a:lnTo>
                    <a:pt x="684562" y="957072"/>
                  </a:lnTo>
                  <a:lnTo>
                    <a:pt x="688467" y="943547"/>
                  </a:lnTo>
                  <a:lnTo>
                    <a:pt x="690944" y="939641"/>
                  </a:lnTo>
                  <a:lnTo>
                    <a:pt x="692944" y="935165"/>
                  </a:lnTo>
                  <a:lnTo>
                    <a:pt x="691706" y="926402"/>
                  </a:lnTo>
                  <a:lnTo>
                    <a:pt x="690372" y="921258"/>
                  </a:lnTo>
                  <a:lnTo>
                    <a:pt x="674751" y="908685"/>
                  </a:lnTo>
                  <a:lnTo>
                    <a:pt x="678942" y="857726"/>
                  </a:lnTo>
                  <a:lnTo>
                    <a:pt x="686848" y="857822"/>
                  </a:lnTo>
                  <a:lnTo>
                    <a:pt x="688181" y="857631"/>
                  </a:lnTo>
                  <a:lnTo>
                    <a:pt x="695706" y="860108"/>
                  </a:lnTo>
                  <a:lnTo>
                    <a:pt x="702850" y="856298"/>
                  </a:lnTo>
                  <a:lnTo>
                    <a:pt x="712470" y="855631"/>
                  </a:lnTo>
                  <a:lnTo>
                    <a:pt x="709994" y="848106"/>
                  </a:lnTo>
                  <a:lnTo>
                    <a:pt x="708755" y="846487"/>
                  </a:lnTo>
                  <a:lnTo>
                    <a:pt x="707136" y="843344"/>
                  </a:lnTo>
                  <a:lnTo>
                    <a:pt x="704850" y="841915"/>
                  </a:lnTo>
                  <a:lnTo>
                    <a:pt x="704183" y="839057"/>
                  </a:lnTo>
                  <a:lnTo>
                    <a:pt x="704088" y="835628"/>
                  </a:lnTo>
                  <a:lnTo>
                    <a:pt x="704183" y="832295"/>
                  </a:lnTo>
                  <a:lnTo>
                    <a:pt x="705707" y="828961"/>
                  </a:lnTo>
                  <a:lnTo>
                    <a:pt x="710470" y="828104"/>
                  </a:lnTo>
                  <a:lnTo>
                    <a:pt x="719900" y="828104"/>
                  </a:lnTo>
                  <a:lnTo>
                    <a:pt x="724567" y="825818"/>
                  </a:lnTo>
                  <a:lnTo>
                    <a:pt x="729044" y="821150"/>
                  </a:lnTo>
                  <a:lnTo>
                    <a:pt x="734282" y="811435"/>
                  </a:lnTo>
                  <a:lnTo>
                    <a:pt x="736283" y="801910"/>
                  </a:lnTo>
                  <a:lnTo>
                    <a:pt x="727901" y="791909"/>
                  </a:lnTo>
                  <a:lnTo>
                    <a:pt x="724376" y="782574"/>
                  </a:lnTo>
                  <a:lnTo>
                    <a:pt x="715232" y="777812"/>
                  </a:lnTo>
                  <a:lnTo>
                    <a:pt x="713232" y="765239"/>
                  </a:lnTo>
                  <a:lnTo>
                    <a:pt x="723329" y="763810"/>
                  </a:lnTo>
                  <a:lnTo>
                    <a:pt x="720376" y="756571"/>
                  </a:lnTo>
                  <a:lnTo>
                    <a:pt x="718947" y="754571"/>
                  </a:lnTo>
                  <a:lnTo>
                    <a:pt x="718757" y="751618"/>
                  </a:lnTo>
                  <a:lnTo>
                    <a:pt x="720566" y="749808"/>
                  </a:lnTo>
                  <a:lnTo>
                    <a:pt x="722852" y="748379"/>
                  </a:lnTo>
                  <a:lnTo>
                    <a:pt x="724376" y="743998"/>
                  </a:lnTo>
                  <a:lnTo>
                    <a:pt x="723519" y="738473"/>
                  </a:lnTo>
                  <a:lnTo>
                    <a:pt x="721233" y="711613"/>
                  </a:lnTo>
                  <a:lnTo>
                    <a:pt x="708374" y="693706"/>
                  </a:lnTo>
                  <a:lnTo>
                    <a:pt x="708851" y="688658"/>
                  </a:lnTo>
                  <a:lnTo>
                    <a:pt x="681514" y="689991"/>
                  </a:lnTo>
                  <a:lnTo>
                    <a:pt x="666083" y="684657"/>
                  </a:lnTo>
                  <a:lnTo>
                    <a:pt x="651605" y="685610"/>
                  </a:lnTo>
                  <a:lnTo>
                    <a:pt x="653129" y="679799"/>
                  </a:lnTo>
                  <a:lnTo>
                    <a:pt x="648653" y="674275"/>
                  </a:lnTo>
                  <a:lnTo>
                    <a:pt x="629984" y="665036"/>
                  </a:lnTo>
                  <a:lnTo>
                    <a:pt x="607124" y="661797"/>
                  </a:lnTo>
                  <a:lnTo>
                    <a:pt x="592836" y="654749"/>
                  </a:lnTo>
                  <a:lnTo>
                    <a:pt x="596551" y="646557"/>
                  </a:lnTo>
                  <a:lnTo>
                    <a:pt x="598932" y="643414"/>
                  </a:lnTo>
                  <a:lnTo>
                    <a:pt x="602075" y="640175"/>
                  </a:lnTo>
                  <a:lnTo>
                    <a:pt x="603695" y="636746"/>
                  </a:lnTo>
                  <a:lnTo>
                    <a:pt x="604552" y="631127"/>
                  </a:lnTo>
                  <a:lnTo>
                    <a:pt x="604552" y="619982"/>
                  </a:lnTo>
                  <a:lnTo>
                    <a:pt x="605885" y="616553"/>
                  </a:lnTo>
                  <a:lnTo>
                    <a:pt x="607695" y="613982"/>
                  </a:lnTo>
                  <a:lnTo>
                    <a:pt x="606743" y="611029"/>
                  </a:lnTo>
                  <a:lnTo>
                    <a:pt x="601028" y="607790"/>
                  </a:lnTo>
                  <a:lnTo>
                    <a:pt x="593408" y="605885"/>
                  </a:lnTo>
                  <a:lnTo>
                    <a:pt x="578834" y="608076"/>
                  </a:lnTo>
                  <a:lnTo>
                    <a:pt x="575120" y="592741"/>
                  </a:lnTo>
                  <a:lnTo>
                    <a:pt x="579215" y="591407"/>
                  </a:lnTo>
                  <a:lnTo>
                    <a:pt x="585597" y="561308"/>
                  </a:lnTo>
                  <a:lnTo>
                    <a:pt x="599599" y="538925"/>
                  </a:lnTo>
                  <a:lnTo>
                    <a:pt x="619601" y="542830"/>
                  </a:lnTo>
                  <a:lnTo>
                    <a:pt x="631984" y="532829"/>
                  </a:lnTo>
                  <a:lnTo>
                    <a:pt x="649224" y="537496"/>
                  </a:lnTo>
                  <a:lnTo>
                    <a:pt x="654558" y="519017"/>
                  </a:lnTo>
                  <a:lnTo>
                    <a:pt x="651510" y="481012"/>
                  </a:lnTo>
                  <a:lnTo>
                    <a:pt x="662369" y="478917"/>
                  </a:lnTo>
                  <a:lnTo>
                    <a:pt x="697897" y="468440"/>
                  </a:lnTo>
                  <a:lnTo>
                    <a:pt x="710565" y="458533"/>
                  </a:lnTo>
                  <a:lnTo>
                    <a:pt x="713994" y="454724"/>
                  </a:lnTo>
                  <a:lnTo>
                    <a:pt x="716280" y="450914"/>
                  </a:lnTo>
                  <a:lnTo>
                    <a:pt x="725329" y="448532"/>
                  </a:lnTo>
                  <a:lnTo>
                    <a:pt x="756476" y="450533"/>
                  </a:lnTo>
                  <a:lnTo>
                    <a:pt x="764191" y="445199"/>
                  </a:lnTo>
                  <a:lnTo>
                    <a:pt x="768287" y="439579"/>
                  </a:lnTo>
                  <a:lnTo>
                    <a:pt x="770287" y="433959"/>
                  </a:lnTo>
                  <a:lnTo>
                    <a:pt x="771144" y="428530"/>
                  </a:lnTo>
                  <a:lnTo>
                    <a:pt x="778288" y="417290"/>
                  </a:lnTo>
                  <a:lnTo>
                    <a:pt x="782288" y="414719"/>
                  </a:lnTo>
                  <a:lnTo>
                    <a:pt x="806577" y="398145"/>
                  </a:lnTo>
                  <a:lnTo>
                    <a:pt x="822389" y="377762"/>
                  </a:lnTo>
                  <a:lnTo>
                    <a:pt x="834962" y="358426"/>
                  </a:lnTo>
                  <a:lnTo>
                    <a:pt x="835724" y="338233"/>
                  </a:lnTo>
                  <a:lnTo>
                    <a:pt x="838105" y="329756"/>
                  </a:lnTo>
                  <a:lnTo>
                    <a:pt x="840867" y="324612"/>
                  </a:lnTo>
                  <a:lnTo>
                    <a:pt x="853440" y="320040"/>
                  </a:lnTo>
                  <a:lnTo>
                    <a:pt x="844772" y="302324"/>
                  </a:lnTo>
                  <a:close/>
                </a:path>
              </a:pathLst>
            </a:custGeom>
            <a:solidFill>
              <a:srgbClr val="DEDEDE"/>
            </a:solidFill>
            <a:ln w="9525" cap="sq">
              <a:noFill/>
              <a:prstDash val="solid"/>
              <a:bevel/>
            </a:ln>
          </p:spPr>
          <p:txBody>
            <a:bodyPr rtlCol="0" anchor="ctr"/>
            <a:lstStyle/>
            <a:p>
              <a:endParaRPr lang="cs-CZ"/>
            </a:p>
          </p:txBody>
        </p:sp>
        <p:sp>
          <p:nvSpPr>
            <p:cNvPr id="161" name="Freeform: Shape 160">
              <a:extLst>
                <a:ext uri="{FF2B5EF4-FFF2-40B4-BE49-F238E27FC236}">
                  <a16:creationId xmlns:a16="http://schemas.microsoft.com/office/drawing/2014/main" id="{9860F3C5-3A44-4A7B-F7A0-002845C70265}"/>
                </a:ext>
              </a:extLst>
            </p:cNvPr>
            <p:cNvSpPr/>
            <p:nvPr/>
          </p:nvSpPr>
          <p:spPr>
            <a:xfrm>
              <a:off x="9449988" y="6242873"/>
              <a:ext cx="1127283" cy="1073848"/>
            </a:xfrm>
            <a:custGeom>
              <a:avLst/>
              <a:gdLst>
                <a:gd name="connsiteX0" fmla="*/ 1106424 w 1127283"/>
                <a:gd name="connsiteY0" fmla="*/ 500444 h 1073848"/>
                <a:gd name="connsiteX1" fmla="*/ 1065752 w 1127283"/>
                <a:gd name="connsiteY1" fmla="*/ 481108 h 1073848"/>
                <a:gd name="connsiteX2" fmla="*/ 1056037 w 1127283"/>
                <a:gd name="connsiteY2" fmla="*/ 470440 h 1073848"/>
                <a:gd name="connsiteX3" fmla="*/ 1057370 w 1127283"/>
                <a:gd name="connsiteY3" fmla="*/ 457867 h 1073848"/>
                <a:gd name="connsiteX4" fmla="*/ 1061561 w 1127283"/>
                <a:gd name="connsiteY4" fmla="*/ 443008 h 1073848"/>
                <a:gd name="connsiteX5" fmla="*/ 1060514 w 1127283"/>
                <a:gd name="connsiteY5" fmla="*/ 425863 h 1073848"/>
                <a:gd name="connsiteX6" fmla="*/ 1062514 w 1127283"/>
                <a:gd name="connsiteY6" fmla="*/ 399479 h 1073848"/>
                <a:gd name="connsiteX7" fmla="*/ 994315 w 1127283"/>
                <a:gd name="connsiteY7" fmla="*/ 400050 h 1073848"/>
                <a:gd name="connsiteX8" fmla="*/ 981456 w 1127283"/>
                <a:gd name="connsiteY8" fmla="*/ 408432 h 1073848"/>
                <a:gd name="connsiteX9" fmla="*/ 921449 w 1127283"/>
                <a:gd name="connsiteY9" fmla="*/ 386239 h 1073848"/>
                <a:gd name="connsiteX10" fmla="*/ 890111 w 1127283"/>
                <a:gd name="connsiteY10" fmla="*/ 384239 h 1073848"/>
                <a:gd name="connsiteX11" fmla="*/ 880872 w 1127283"/>
                <a:gd name="connsiteY11" fmla="*/ 379762 h 1073848"/>
                <a:gd name="connsiteX12" fmla="*/ 872966 w 1127283"/>
                <a:gd name="connsiteY12" fmla="*/ 370427 h 1073848"/>
                <a:gd name="connsiteX13" fmla="*/ 858679 w 1127283"/>
                <a:gd name="connsiteY13" fmla="*/ 348329 h 1073848"/>
                <a:gd name="connsiteX14" fmla="*/ 849535 w 1127283"/>
                <a:gd name="connsiteY14" fmla="*/ 340995 h 1073848"/>
                <a:gd name="connsiteX15" fmla="*/ 836105 w 1127283"/>
                <a:gd name="connsiteY15" fmla="*/ 336328 h 1073848"/>
                <a:gd name="connsiteX16" fmla="*/ 829342 w 1127283"/>
                <a:gd name="connsiteY16" fmla="*/ 336233 h 1073848"/>
                <a:gd name="connsiteX17" fmla="*/ 822484 w 1127283"/>
                <a:gd name="connsiteY17" fmla="*/ 337757 h 1073848"/>
                <a:gd name="connsiteX18" fmla="*/ 816388 w 1127283"/>
                <a:gd name="connsiteY18" fmla="*/ 336614 h 1073848"/>
                <a:gd name="connsiteX19" fmla="*/ 812102 w 1127283"/>
                <a:gd name="connsiteY19" fmla="*/ 331470 h 1073848"/>
                <a:gd name="connsiteX20" fmla="*/ 807339 w 1127283"/>
                <a:gd name="connsiteY20" fmla="*/ 327755 h 1073848"/>
                <a:gd name="connsiteX21" fmla="*/ 800100 w 1127283"/>
                <a:gd name="connsiteY21" fmla="*/ 331089 h 1073848"/>
                <a:gd name="connsiteX22" fmla="*/ 794004 w 1127283"/>
                <a:gd name="connsiteY22" fmla="*/ 340328 h 1073848"/>
                <a:gd name="connsiteX23" fmla="*/ 790004 w 1127283"/>
                <a:gd name="connsiteY23" fmla="*/ 351091 h 1073848"/>
                <a:gd name="connsiteX24" fmla="*/ 785336 w 1127283"/>
                <a:gd name="connsiteY24" fmla="*/ 361188 h 1073848"/>
                <a:gd name="connsiteX25" fmla="*/ 777335 w 1127283"/>
                <a:gd name="connsiteY25" fmla="*/ 368332 h 1073848"/>
                <a:gd name="connsiteX26" fmla="*/ 770477 w 1127283"/>
                <a:gd name="connsiteY26" fmla="*/ 370427 h 1073848"/>
                <a:gd name="connsiteX27" fmla="*/ 740283 w 1127283"/>
                <a:gd name="connsiteY27" fmla="*/ 368808 h 1073848"/>
                <a:gd name="connsiteX28" fmla="*/ 727234 w 1127283"/>
                <a:gd name="connsiteY28" fmla="*/ 372999 h 1073848"/>
                <a:gd name="connsiteX29" fmla="*/ 714470 w 1127283"/>
                <a:gd name="connsiteY29" fmla="*/ 380619 h 1073848"/>
                <a:gd name="connsiteX30" fmla="*/ 702945 w 1127283"/>
                <a:gd name="connsiteY30" fmla="*/ 390811 h 1073848"/>
                <a:gd name="connsiteX31" fmla="*/ 700469 w 1127283"/>
                <a:gd name="connsiteY31" fmla="*/ 395573 h 1073848"/>
                <a:gd name="connsiteX32" fmla="*/ 699135 w 1127283"/>
                <a:gd name="connsiteY32" fmla="*/ 400907 h 1073848"/>
                <a:gd name="connsiteX33" fmla="*/ 697230 w 1127283"/>
                <a:gd name="connsiteY33" fmla="*/ 405289 h 1073848"/>
                <a:gd name="connsiteX34" fmla="*/ 693325 w 1127283"/>
                <a:gd name="connsiteY34" fmla="*/ 407194 h 1073848"/>
                <a:gd name="connsiteX35" fmla="*/ 689515 w 1127283"/>
                <a:gd name="connsiteY35" fmla="*/ 405860 h 1073848"/>
                <a:gd name="connsiteX36" fmla="*/ 682371 w 1127283"/>
                <a:gd name="connsiteY36" fmla="*/ 400622 h 1073848"/>
                <a:gd name="connsiteX37" fmla="*/ 678656 w 1127283"/>
                <a:gd name="connsiteY37" fmla="*/ 399669 h 1073848"/>
                <a:gd name="connsiteX38" fmla="*/ 673322 w 1127283"/>
                <a:gd name="connsiteY38" fmla="*/ 402812 h 1073848"/>
                <a:gd name="connsiteX39" fmla="*/ 668084 w 1127283"/>
                <a:gd name="connsiteY39" fmla="*/ 407575 h 1073848"/>
                <a:gd name="connsiteX40" fmla="*/ 661988 w 1127283"/>
                <a:gd name="connsiteY40" fmla="*/ 408623 h 1073848"/>
                <a:gd name="connsiteX41" fmla="*/ 654844 w 1127283"/>
                <a:gd name="connsiteY41" fmla="*/ 400431 h 1073848"/>
                <a:gd name="connsiteX42" fmla="*/ 641795 w 1127283"/>
                <a:gd name="connsiteY42" fmla="*/ 381667 h 1073848"/>
                <a:gd name="connsiteX43" fmla="*/ 635318 w 1127283"/>
                <a:gd name="connsiteY43" fmla="*/ 375380 h 1073848"/>
                <a:gd name="connsiteX44" fmla="*/ 635222 w 1127283"/>
                <a:gd name="connsiteY44" fmla="*/ 375285 h 1073848"/>
                <a:gd name="connsiteX45" fmla="*/ 604266 w 1127283"/>
                <a:gd name="connsiteY45" fmla="*/ 361855 h 1073848"/>
                <a:gd name="connsiteX46" fmla="*/ 599408 w 1127283"/>
                <a:gd name="connsiteY46" fmla="*/ 359759 h 1073848"/>
                <a:gd name="connsiteX47" fmla="*/ 583216 w 1127283"/>
                <a:gd name="connsiteY47" fmla="*/ 348139 h 1073848"/>
                <a:gd name="connsiteX48" fmla="*/ 569976 w 1127283"/>
                <a:gd name="connsiteY48" fmla="*/ 332423 h 1073848"/>
                <a:gd name="connsiteX49" fmla="*/ 533114 w 1127283"/>
                <a:gd name="connsiteY49" fmla="*/ 271844 h 1073848"/>
                <a:gd name="connsiteX50" fmla="*/ 520160 w 1127283"/>
                <a:gd name="connsiteY50" fmla="*/ 256699 h 1073848"/>
                <a:gd name="connsiteX51" fmla="*/ 477107 w 1127283"/>
                <a:gd name="connsiteY51" fmla="*/ 220504 h 1073848"/>
                <a:gd name="connsiteX52" fmla="*/ 473774 w 1127283"/>
                <a:gd name="connsiteY52" fmla="*/ 211550 h 1073848"/>
                <a:gd name="connsiteX53" fmla="*/ 472631 w 1127283"/>
                <a:gd name="connsiteY53" fmla="*/ 196406 h 1073848"/>
                <a:gd name="connsiteX54" fmla="*/ 473774 w 1127283"/>
                <a:gd name="connsiteY54" fmla="*/ 189738 h 1073848"/>
                <a:gd name="connsiteX55" fmla="*/ 475964 w 1127283"/>
                <a:gd name="connsiteY55" fmla="*/ 185357 h 1073848"/>
                <a:gd name="connsiteX56" fmla="*/ 477298 w 1127283"/>
                <a:gd name="connsiteY56" fmla="*/ 180975 h 1073848"/>
                <a:gd name="connsiteX57" fmla="*/ 476060 w 1127283"/>
                <a:gd name="connsiteY57" fmla="*/ 174022 h 1073848"/>
                <a:gd name="connsiteX58" fmla="*/ 473202 w 1127283"/>
                <a:gd name="connsiteY58" fmla="*/ 170498 h 1073848"/>
                <a:gd name="connsiteX59" fmla="*/ 468535 w 1127283"/>
                <a:gd name="connsiteY59" fmla="*/ 168116 h 1073848"/>
                <a:gd name="connsiteX60" fmla="*/ 386715 w 1127283"/>
                <a:gd name="connsiteY60" fmla="*/ 160877 h 1073848"/>
                <a:gd name="connsiteX61" fmla="*/ 377000 w 1127283"/>
                <a:gd name="connsiteY61" fmla="*/ 151352 h 1073848"/>
                <a:gd name="connsiteX62" fmla="*/ 371951 w 1127283"/>
                <a:gd name="connsiteY62" fmla="*/ 136779 h 1073848"/>
                <a:gd name="connsiteX63" fmla="*/ 368332 w 1127283"/>
                <a:gd name="connsiteY63" fmla="*/ 121920 h 1073848"/>
                <a:gd name="connsiteX64" fmla="*/ 362521 w 1127283"/>
                <a:gd name="connsiteY64" fmla="*/ 111633 h 1073848"/>
                <a:gd name="connsiteX65" fmla="*/ 356521 w 1127283"/>
                <a:gd name="connsiteY65" fmla="*/ 111443 h 1073848"/>
                <a:gd name="connsiteX66" fmla="*/ 352139 w 1127283"/>
                <a:gd name="connsiteY66" fmla="*/ 112967 h 1073848"/>
                <a:gd name="connsiteX67" fmla="*/ 337471 w 1127283"/>
                <a:gd name="connsiteY67" fmla="*/ 118110 h 1073848"/>
                <a:gd name="connsiteX68" fmla="*/ 337471 w 1127283"/>
                <a:gd name="connsiteY68" fmla="*/ 118110 h 1073848"/>
                <a:gd name="connsiteX69" fmla="*/ 331280 w 1127283"/>
                <a:gd name="connsiteY69" fmla="*/ 120206 h 1073848"/>
                <a:gd name="connsiteX70" fmla="*/ 321564 w 1127283"/>
                <a:gd name="connsiteY70" fmla="*/ 121063 h 1073848"/>
                <a:gd name="connsiteX71" fmla="*/ 312325 w 1127283"/>
                <a:gd name="connsiteY71" fmla="*/ 119634 h 1073848"/>
                <a:gd name="connsiteX72" fmla="*/ 303752 w 1127283"/>
                <a:gd name="connsiteY72" fmla="*/ 114300 h 1073848"/>
                <a:gd name="connsiteX73" fmla="*/ 295561 w 1127283"/>
                <a:gd name="connsiteY73" fmla="*/ 103537 h 1073848"/>
                <a:gd name="connsiteX74" fmla="*/ 293465 w 1127283"/>
                <a:gd name="connsiteY74" fmla="*/ 97631 h 1073848"/>
                <a:gd name="connsiteX75" fmla="*/ 293084 w 1127283"/>
                <a:gd name="connsiteY75" fmla="*/ 92774 h 1073848"/>
                <a:gd name="connsiteX76" fmla="*/ 292989 w 1127283"/>
                <a:gd name="connsiteY76" fmla="*/ 92012 h 1073848"/>
                <a:gd name="connsiteX77" fmla="*/ 292417 w 1127283"/>
                <a:gd name="connsiteY77" fmla="*/ 88011 h 1073848"/>
                <a:gd name="connsiteX78" fmla="*/ 289084 w 1127283"/>
                <a:gd name="connsiteY78" fmla="*/ 82487 h 1073848"/>
                <a:gd name="connsiteX79" fmla="*/ 285274 w 1127283"/>
                <a:gd name="connsiteY79" fmla="*/ 79915 h 1073848"/>
                <a:gd name="connsiteX80" fmla="*/ 271463 w 1127283"/>
                <a:gd name="connsiteY80" fmla="*/ 76867 h 1073848"/>
                <a:gd name="connsiteX81" fmla="*/ 256127 w 1127283"/>
                <a:gd name="connsiteY81" fmla="*/ 66961 h 1073848"/>
                <a:gd name="connsiteX82" fmla="*/ 241554 w 1127283"/>
                <a:gd name="connsiteY82" fmla="*/ 49149 h 1073848"/>
                <a:gd name="connsiteX83" fmla="*/ 232600 w 1127283"/>
                <a:gd name="connsiteY83" fmla="*/ 38195 h 1073848"/>
                <a:gd name="connsiteX84" fmla="*/ 216979 w 1127283"/>
                <a:gd name="connsiteY84" fmla="*/ 29718 h 1073848"/>
                <a:gd name="connsiteX85" fmla="*/ 212979 w 1127283"/>
                <a:gd name="connsiteY85" fmla="*/ 29909 h 1073848"/>
                <a:gd name="connsiteX86" fmla="*/ 210407 w 1127283"/>
                <a:gd name="connsiteY86" fmla="*/ 31242 h 1073848"/>
                <a:gd name="connsiteX87" fmla="*/ 208026 w 1127283"/>
                <a:gd name="connsiteY87" fmla="*/ 31814 h 1073848"/>
                <a:gd name="connsiteX88" fmla="*/ 204502 w 1127283"/>
                <a:gd name="connsiteY88" fmla="*/ 29718 h 1073848"/>
                <a:gd name="connsiteX89" fmla="*/ 202025 w 1127283"/>
                <a:gd name="connsiteY89" fmla="*/ 25337 h 1073848"/>
                <a:gd name="connsiteX90" fmla="*/ 197453 w 1127283"/>
                <a:gd name="connsiteY90" fmla="*/ 12002 h 1073848"/>
                <a:gd name="connsiteX91" fmla="*/ 194786 w 1127283"/>
                <a:gd name="connsiteY91" fmla="*/ 6953 h 1073848"/>
                <a:gd name="connsiteX92" fmla="*/ 187833 w 1127283"/>
                <a:gd name="connsiteY92" fmla="*/ 1238 h 1073848"/>
                <a:gd name="connsiteX93" fmla="*/ 180689 w 1127283"/>
                <a:gd name="connsiteY93" fmla="*/ 0 h 1073848"/>
                <a:gd name="connsiteX94" fmla="*/ 175736 w 1127283"/>
                <a:gd name="connsiteY94" fmla="*/ 4858 h 1073848"/>
                <a:gd name="connsiteX95" fmla="*/ 175260 w 1127283"/>
                <a:gd name="connsiteY95" fmla="*/ 17621 h 1073848"/>
                <a:gd name="connsiteX96" fmla="*/ 186214 w 1127283"/>
                <a:gd name="connsiteY96" fmla="*/ 37529 h 1073848"/>
                <a:gd name="connsiteX97" fmla="*/ 188881 w 1127283"/>
                <a:gd name="connsiteY97" fmla="*/ 49244 h 1073848"/>
                <a:gd name="connsiteX98" fmla="*/ 181166 w 1127283"/>
                <a:gd name="connsiteY98" fmla="*/ 59531 h 1073848"/>
                <a:gd name="connsiteX99" fmla="*/ 168688 w 1127283"/>
                <a:gd name="connsiteY99" fmla="*/ 66008 h 1073848"/>
                <a:gd name="connsiteX100" fmla="*/ 162496 w 1127283"/>
                <a:gd name="connsiteY100" fmla="*/ 66008 h 1073848"/>
                <a:gd name="connsiteX101" fmla="*/ 156782 w 1127283"/>
                <a:gd name="connsiteY101" fmla="*/ 61151 h 1073848"/>
                <a:gd name="connsiteX102" fmla="*/ 152019 w 1127283"/>
                <a:gd name="connsiteY102" fmla="*/ 45339 h 1073848"/>
                <a:gd name="connsiteX103" fmla="*/ 148495 w 1127283"/>
                <a:gd name="connsiteY103" fmla="*/ 27146 h 1073848"/>
                <a:gd name="connsiteX104" fmla="*/ 143161 w 1127283"/>
                <a:gd name="connsiteY104" fmla="*/ 12002 h 1073848"/>
                <a:gd name="connsiteX105" fmla="*/ 133064 w 1127283"/>
                <a:gd name="connsiteY105" fmla="*/ 5239 h 1073848"/>
                <a:gd name="connsiteX106" fmla="*/ 114776 w 1127283"/>
                <a:gd name="connsiteY106" fmla="*/ 5715 h 1073848"/>
                <a:gd name="connsiteX107" fmla="*/ 105632 w 1127283"/>
                <a:gd name="connsiteY107" fmla="*/ 8477 h 1073848"/>
                <a:gd name="connsiteX108" fmla="*/ 97155 w 1127283"/>
                <a:gd name="connsiteY108" fmla="*/ 13907 h 1073848"/>
                <a:gd name="connsiteX109" fmla="*/ 91726 w 1127283"/>
                <a:gd name="connsiteY109" fmla="*/ 19526 h 1073848"/>
                <a:gd name="connsiteX110" fmla="*/ 68294 w 1127283"/>
                <a:gd name="connsiteY110" fmla="*/ 43625 h 1073848"/>
                <a:gd name="connsiteX111" fmla="*/ 58388 w 1127283"/>
                <a:gd name="connsiteY111" fmla="*/ 50483 h 1073848"/>
                <a:gd name="connsiteX112" fmla="*/ 28480 w 1127283"/>
                <a:gd name="connsiteY112" fmla="*/ 54864 h 1073848"/>
                <a:gd name="connsiteX113" fmla="*/ 19050 w 1127283"/>
                <a:gd name="connsiteY113" fmla="*/ 60960 h 1073848"/>
                <a:gd name="connsiteX114" fmla="*/ 10954 w 1127283"/>
                <a:gd name="connsiteY114" fmla="*/ 68580 h 1073848"/>
                <a:gd name="connsiteX115" fmla="*/ 10954 w 1127283"/>
                <a:gd name="connsiteY115" fmla="*/ 69818 h 1073848"/>
                <a:gd name="connsiteX116" fmla="*/ 16764 w 1127283"/>
                <a:gd name="connsiteY116" fmla="*/ 127921 h 1073848"/>
                <a:gd name="connsiteX117" fmla="*/ 25146 w 1127283"/>
                <a:gd name="connsiteY117" fmla="*/ 128397 h 1073848"/>
                <a:gd name="connsiteX118" fmla="*/ 28861 w 1127283"/>
                <a:gd name="connsiteY118" fmla="*/ 130016 h 1073848"/>
                <a:gd name="connsiteX119" fmla="*/ 32099 w 1127283"/>
                <a:gd name="connsiteY119" fmla="*/ 133731 h 1073848"/>
                <a:gd name="connsiteX120" fmla="*/ 33338 w 1127283"/>
                <a:gd name="connsiteY120" fmla="*/ 136589 h 1073848"/>
                <a:gd name="connsiteX121" fmla="*/ 32766 w 1127283"/>
                <a:gd name="connsiteY121" fmla="*/ 140494 h 1073848"/>
                <a:gd name="connsiteX122" fmla="*/ 33433 w 1127283"/>
                <a:gd name="connsiteY122" fmla="*/ 149447 h 1073848"/>
                <a:gd name="connsiteX123" fmla="*/ 34481 w 1127283"/>
                <a:gd name="connsiteY123" fmla="*/ 158972 h 1073848"/>
                <a:gd name="connsiteX124" fmla="*/ 36576 w 1127283"/>
                <a:gd name="connsiteY124" fmla="*/ 170021 h 1073848"/>
                <a:gd name="connsiteX125" fmla="*/ 37529 w 1127283"/>
                <a:gd name="connsiteY125" fmla="*/ 178975 h 1073848"/>
                <a:gd name="connsiteX126" fmla="*/ 39624 w 1127283"/>
                <a:gd name="connsiteY126" fmla="*/ 183166 h 1073848"/>
                <a:gd name="connsiteX127" fmla="*/ 42863 w 1127283"/>
                <a:gd name="connsiteY127" fmla="*/ 186690 h 1073848"/>
                <a:gd name="connsiteX128" fmla="*/ 49340 w 1127283"/>
                <a:gd name="connsiteY128" fmla="*/ 189262 h 1073848"/>
                <a:gd name="connsiteX129" fmla="*/ 52102 w 1127283"/>
                <a:gd name="connsiteY129" fmla="*/ 188976 h 1073848"/>
                <a:gd name="connsiteX130" fmla="*/ 54102 w 1127283"/>
                <a:gd name="connsiteY130" fmla="*/ 187833 h 1073848"/>
                <a:gd name="connsiteX131" fmla="*/ 55531 w 1127283"/>
                <a:gd name="connsiteY131" fmla="*/ 188214 h 1073848"/>
                <a:gd name="connsiteX132" fmla="*/ 57055 w 1127283"/>
                <a:gd name="connsiteY132" fmla="*/ 188976 h 1073848"/>
                <a:gd name="connsiteX133" fmla="*/ 59912 w 1127283"/>
                <a:gd name="connsiteY133" fmla="*/ 201740 h 1073848"/>
                <a:gd name="connsiteX134" fmla="*/ 64770 w 1127283"/>
                <a:gd name="connsiteY134" fmla="*/ 195739 h 1073848"/>
                <a:gd name="connsiteX135" fmla="*/ 80963 w 1127283"/>
                <a:gd name="connsiteY135" fmla="*/ 200787 h 1073848"/>
                <a:gd name="connsiteX136" fmla="*/ 84868 w 1127283"/>
                <a:gd name="connsiteY136" fmla="*/ 204311 h 1073848"/>
                <a:gd name="connsiteX137" fmla="*/ 108204 w 1127283"/>
                <a:gd name="connsiteY137" fmla="*/ 225743 h 1073848"/>
                <a:gd name="connsiteX138" fmla="*/ 110681 w 1127283"/>
                <a:gd name="connsiteY138" fmla="*/ 235268 h 1073848"/>
                <a:gd name="connsiteX139" fmla="*/ 116586 w 1127283"/>
                <a:gd name="connsiteY139" fmla="*/ 248507 h 1073848"/>
                <a:gd name="connsiteX140" fmla="*/ 113538 w 1127283"/>
                <a:gd name="connsiteY140" fmla="*/ 251936 h 1073848"/>
                <a:gd name="connsiteX141" fmla="*/ 112109 w 1127283"/>
                <a:gd name="connsiteY141" fmla="*/ 254984 h 1073848"/>
                <a:gd name="connsiteX142" fmla="*/ 109347 w 1127283"/>
                <a:gd name="connsiteY142" fmla="*/ 259271 h 1073848"/>
                <a:gd name="connsiteX143" fmla="*/ 107728 w 1127283"/>
                <a:gd name="connsiteY143" fmla="*/ 264128 h 1073848"/>
                <a:gd name="connsiteX144" fmla="*/ 107633 w 1127283"/>
                <a:gd name="connsiteY144" fmla="*/ 270415 h 1073848"/>
                <a:gd name="connsiteX145" fmla="*/ 110109 w 1127283"/>
                <a:gd name="connsiteY145" fmla="*/ 276987 h 1073848"/>
                <a:gd name="connsiteX146" fmla="*/ 114110 w 1127283"/>
                <a:gd name="connsiteY146" fmla="*/ 283274 h 1073848"/>
                <a:gd name="connsiteX147" fmla="*/ 111347 w 1127283"/>
                <a:gd name="connsiteY147" fmla="*/ 293275 h 1073848"/>
                <a:gd name="connsiteX148" fmla="*/ 114586 w 1127283"/>
                <a:gd name="connsiteY148" fmla="*/ 308896 h 1073848"/>
                <a:gd name="connsiteX149" fmla="*/ 104204 w 1127283"/>
                <a:gd name="connsiteY149" fmla="*/ 307562 h 1073848"/>
                <a:gd name="connsiteX150" fmla="*/ 102394 w 1127283"/>
                <a:gd name="connsiteY150" fmla="*/ 309372 h 1073848"/>
                <a:gd name="connsiteX151" fmla="*/ 102775 w 1127283"/>
                <a:gd name="connsiteY151" fmla="*/ 312515 h 1073848"/>
                <a:gd name="connsiteX152" fmla="*/ 107633 w 1127283"/>
                <a:gd name="connsiteY152" fmla="*/ 319373 h 1073848"/>
                <a:gd name="connsiteX153" fmla="*/ 110585 w 1127283"/>
                <a:gd name="connsiteY153" fmla="*/ 322707 h 1073848"/>
                <a:gd name="connsiteX154" fmla="*/ 111062 w 1127283"/>
                <a:gd name="connsiteY154" fmla="*/ 325850 h 1073848"/>
                <a:gd name="connsiteX155" fmla="*/ 104489 w 1127283"/>
                <a:gd name="connsiteY155" fmla="*/ 328327 h 1073848"/>
                <a:gd name="connsiteX156" fmla="*/ 102108 w 1127283"/>
                <a:gd name="connsiteY156" fmla="*/ 330137 h 1073848"/>
                <a:gd name="connsiteX157" fmla="*/ 94583 w 1127283"/>
                <a:gd name="connsiteY157" fmla="*/ 328708 h 1073848"/>
                <a:gd name="connsiteX158" fmla="*/ 90964 w 1127283"/>
                <a:gd name="connsiteY158" fmla="*/ 325565 h 1073848"/>
                <a:gd name="connsiteX159" fmla="*/ 88868 w 1127283"/>
                <a:gd name="connsiteY159" fmla="*/ 322612 h 1073848"/>
                <a:gd name="connsiteX160" fmla="*/ 87440 w 1127283"/>
                <a:gd name="connsiteY160" fmla="*/ 320326 h 1073848"/>
                <a:gd name="connsiteX161" fmla="*/ 85535 w 1127283"/>
                <a:gd name="connsiteY161" fmla="*/ 319754 h 1073848"/>
                <a:gd name="connsiteX162" fmla="*/ 80391 w 1127283"/>
                <a:gd name="connsiteY162" fmla="*/ 321278 h 1073848"/>
                <a:gd name="connsiteX163" fmla="*/ 78200 w 1127283"/>
                <a:gd name="connsiteY163" fmla="*/ 321469 h 1073848"/>
                <a:gd name="connsiteX164" fmla="*/ 74771 w 1127283"/>
                <a:gd name="connsiteY164" fmla="*/ 320993 h 1073848"/>
                <a:gd name="connsiteX165" fmla="*/ 64961 w 1127283"/>
                <a:gd name="connsiteY165" fmla="*/ 326898 h 1073848"/>
                <a:gd name="connsiteX166" fmla="*/ 52578 w 1127283"/>
                <a:gd name="connsiteY166" fmla="*/ 338804 h 1073848"/>
                <a:gd name="connsiteX167" fmla="*/ 31909 w 1127283"/>
                <a:gd name="connsiteY167" fmla="*/ 329565 h 1073848"/>
                <a:gd name="connsiteX168" fmla="*/ 31433 w 1127283"/>
                <a:gd name="connsiteY168" fmla="*/ 359950 h 1073848"/>
                <a:gd name="connsiteX169" fmla="*/ 37243 w 1127283"/>
                <a:gd name="connsiteY169" fmla="*/ 371380 h 1073848"/>
                <a:gd name="connsiteX170" fmla="*/ 45434 w 1127283"/>
                <a:gd name="connsiteY170" fmla="*/ 379666 h 1073848"/>
                <a:gd name="connsiteX171" fmla="*/ 52007 w 1127283"/>
                <a:gd name="connsiteY171" fmla="*/ 379190 h 1073848"/>
                <a:gd name="connsiteX172" fmla="*/ 72009 w 1127283"/>
                <a:gd name="connsiteY172" fmla="*/ 373761 h 1073848"/>
                <a:gd name="connsiteX173" fmla="*/ 79820 w 1127283"/>
                <a:gd name="connsiteY173" fmla="*/ 374999 h 1073848"/>
                <a:gd name="connsiteX174" fmla="*/ 86773 w 1127283"/>
                <a:gd name="connsiteY174" fmla="*/ 379952 h 1073848"/>
                <a:gd name="connsiteX175" fmla="*/ 96203 w 1127283"/>
                <a:gd name="connsiteY175" fmla="*/ 394430 h 1073848"/>
                <a:gd name="connsiteX176" fmla="*/ 98108 w 1127283"/>
                <a:gd name="connsiteY176" fmla="*/ 402336 h 1073848"/>
                <a:gd name="connsiteX177" fmla="*/ 98108 w 1127283"/>
                <a:gd name="connsiteY177" fmla="*/ 406813 h 1073848"/>
                <a:gd name="connsiteX178" fmla="*/ 96393 w 1127283"/>
                <a:gd name="connsiteY178" fmla="*/ 408623 h 1073848"/>
                <a:gd name="connsiteX179" fmla="*/ 96774 w 1127283"/>
                <a:gd name="connsiteY179" fmla="*/ 409861 h 1073848"/>
                <a:gd name="connsiteX180" fmla="*/ 99060 w 1127283"/>
                <a:gd name="connsiteY180" fmla="*/ 411575 h 1073848"/>
                <a:gd name="connsiteX181" fmla="*/ 104108 w 1127283"/>
                <a:gd name="connsiteY181" fmla="*/ 410909 h 1073848"/>
                <a:gd name="connsiteX182" fmla="*/ 109633 w 1127283"/>
                <a:gd name="connsiteY182" fmla="*/ 412242 h 1073848"/>
                <a:gd name="connsiteX183" fmla="*/ 112014 w 1127283"/>
                <a:gd name="connsiteY183" fmla="*/ 414814 h 1073848"/>
                <a:gd name="connsiteX184" fmla="*/ 112300 w 1127283"/>
                <a:gd name="connsiteY184" fmla="*/ 417386 h 1073848"/>
                <a:gd name="connsiteX185" fmla="*/ 109157 w 1127283"/>
                <a:gd name="connsiteY185" fmla="*/ 419957 h 1073848"/>
                <a:gd name="connsiteX186" fmla="*/ 102203 w 1127283"/>
                <a:gd name="connsiteY186" fmla="*/ 421386 h 1073848"/>
                <a:gd name="connsiteX187" fmla="*/ 98870 w 1127283"/>
                <a:gd name="connsiteY187" fmla="*/ 425958 h 1073848"/>
                <a:gd name="connsiteX188" fmla="*/ 95917 w 1127283"/>
                <a:gd name="connsiteY188" fmla="*/ 432530 h 1073848"/>
                <a:gd name="connsiteX189" fmla="*/ 83058 w 1127283"/>
                <a:gd name="connsiteY189" fmla="*/ 437388 h 1073848"/>
                <a:gd name="connsiteX190" fmla="*/ 79248 w 1127283"/>
                <a:gd name="connsiteY190" fmla="*/ 443675 h 1073848"/>
                <a:gd name="connsiteX191" fmla="*/ 73819 w 1127283"/>
                <a:gd name="connsiteY191" fmla="*/ 448151 h 1073848"/>
                <a:gd name="connsiteX192" fmla="*/ 70485 w 1127283"/>
                <a:gd name="connsiteY192" fmla="*/ 454247 h 1073848"/>
                <a:gd name="connsiteX193" fmla="*/ 34100 w 1127283"/>
                <a:gd name="connsiteY193" fmla="*/ 477393 h 1073848"/>
                <a:gd name="connsiteX194" fmla="*/ 29813 w 1127283"/>
                <a:gd name="connsiteY194" fmla="*/ 483013 h 1073848"/>
                <a:gd name="connsiteX195" fmla="*/ 18383 w 1127283"/>
                <a:gd name="connsiteY195" fmla="*/ 483680 h 1073848"/>
                <a:gd name="connsiteX196" fmla="*/ 5144 w 1127283"/>
                <a:gd name="connsiteY196" fmla="*/ 478727 h 1073848"/>
                <a:gd name="connsiteX197" fmla="*/ 0 w 1127283"/>
                <a:gd name="connsiteY197" fmla="*/ 480060 h 1073848"/>
                <a:gd name="connsiteX198" fmla="*/ 191 w 1127283"/>
                <a:gd name="connsiteY198" fmla="*/ 484156 h 1073848"/>
                <a:gd name="connsiteX199" fmla="*/ 12573 w 1127283"/>
                <a:gd name="connsiteY199" fmla="*/ 495681 h 1073848"/>
                <a:gd name="connsiteX200" fmla="*/ 21336 w 1127283"/>
                <a:gd name="connsiteY200" fmla="*/ 512159 h 1073848"/>
                <a:gd name="connsiteX201" fmla="*/ 27813 w 1127283"/>
                <a:gd name="connsiteY201" fmla="*/ 528161 h 1073848"/>
                <a:gd name="connsiteX202" fmla="*/ 30956 w 1127283"/>
                <a:gd name="connsiteY202" fmla="*/ 533686 h 1073848"/>
                <a:gd name="connsiteX203" fmla="*/ 31814 w 1127283"/>
                <a:gd name="connsiteY203" fmla="*/ 537782 h 1073848"/>
                <a:gd name="connsiteX204" fmla="*/ 40481 w 1127283"/>
                <a:gd name="connsiteY204" fmla="*/ 544640 h 1073848"/>
                <a:gd name="connsiteX205" fmla="*/ 40291 w 1127283"/>
                <a:gd name="connsiteY205" fmla="*/ 547973 h 1073848"/>
                <a:gd name="connsiteX206" fmla="*/ 39243 w 1127283"/>
                <a:gd name="connsiteY206" fmla="*/ 551021 h 1073848"/>
                <a:gd name="connsiteX207" fmla="*/ 35052 w 1127283"/>
                <a:gd name="connsiteY207" fmla="*/ 555879 h 1073848"/>
                <a:gd name="connsiteX208" fmla="*/ 34766 w 1127283"/>
                <a:gd name="connsiteY208" fmla="*/ 557975 h 1073848"/>
                <a:gd name="connsiteX209" fmla="*/ 38386 w 1127283"/>
                <a:gd name="connsiteY209" fmla="*/ 562737 h 1073848"/>
                <a:gd name="connsiteX210" fmla="*/ 45053 w 1127283"/>
                <a:gd name="connsiteY210" fmla="*/ 572262 h 1073848"/>
                <a:gd name="connsiteX211" fmla="*/ 53150 w 1127283"/>
                <a:gd name="connsiteY211" fmla="*/ 580263 h 1073848"/>
                <a:gd name="connsiteX212" fmla="*/ 55626 w 1127283"/>
                <a:gd name="connsiteY212" fmla="*/ 588074 h 1073848"/>
                <a:gd name="connsiteX213" fmla="*/ 54578 w 1127283"/>
                <a:gd name="connsiteY213" fmla="*/ 594932 h 1073848"/>
                <a:gd name="connsiteX214" fmla="*/ 52102 w 1127283"/>
                <a:gd name="connsiteY214" fmla="*/ 603409 h 1073848"/>
                <a:gd name="connsiteX215" fmla="*/ 70675 w 1127283"/>
                <a:gd name="connsiteY215" fmla="*/ 609124 h 1073848"/>
                <a:gd name="connsiteX216" fmla="*/ 96869 w 1127283"/>
                <a:gd name="connsiteY216" fmla="*/ 606838 h 1073848"/>
                <a:gd name="connsiteX217" fmla="*/ 113348 w 1127283"/>
                <a:gd name="connsiteY217" fmla="*/ 602361 h 1073848"/>
                <a:gd name="connsiteX218" fmla="*/ 118872 w 1127283"/>
                <a:gd name="connsiteY218" fmla="*/ 612553 h 1073848"/>
                <a:gd name="connsiteX219" fmla="*/ 132302 w 1127283"/>
                <a:gd name="connsiteY219" fmla="*/ 612553 h 1073848"/>
                <a:gd name="connsiteX220" fmla="*/ 140208 w 1127283"/>
                <a:gd name="connsiteY220" fmla="*/ 617030 h 1073848"/>
                <a:gd name="connsiteX221" fmla="*/ 145066 w 1127283"/>
                <a:gd name="connsiteY221" fmla="*/ 631603 h 1073848"/>
                <a:gd name="connsiteX222" fmla="*/ 147542 w 1127283"/>
                <a:gd name="connsiteY222" fmla="*/ 649700 h 1073848"/>
                <a:gd name="connsiteX223" fmla="*/ 151829 w 1127283"/>
                <a:gd name="connsiteY223" fmla="*/ 663130 h 1073848"/>
                <a:gd name="connsiteX224" fmla="*/ 160973 w 1127283"/>
                <a:gd name="connsiteY224" fmla="*/ 675513 h 1073848"/>
                <a:gd name="connsiteX225" fmla="*/ 154210 w 1127283"/>
                <a:gd name="connsiteY225" fmla="*/ 684467 h 1073848"/>
                <a:gd name="connsiteX226" fmla="*/ 145637 w 1127283"/>
                <a:gd name="connsiteY226" fmla="*/ 695706 h 1073848"/>
                <a:gd name="connsiteX227" fmla="*/ 131636 w 1127283"/>
                <a:gd name="connsiteY227" fmla="*/ 700278 h 1073848"/>
                <a:gd name="connsiteX228" fmla="*/ 121920 w 1127283"/>
                <a:gd name="connsiteY228" fmla="*/ 701326 h 1073848"/>
                <a:gd name="connsiteX229" fmla="*/ 131636 w 1127283"/>
                <a:gd name="connsiteY229" fmla="*/ 715899 h 1073848"/>
                <a:gd name="connsiteX230" fmla="*/ 143828 w 1127283"/>
                <a:gd name="connsiteY230" fmla="*/ 731615 h 1073848"/>
                <a:gd name="connsiteX231" fmla="*/ 129826 w 1127283"/>
                <a:gd name="connsiteY231" fmla="*/ 742855 h 1073848"/>
                <a:gd name="connsiteX232" fmla="*/ 136589 w 1127283"/>
                <a:gd name="connsiteY232" fmla="*/ 756285 h 1073848"/>
                <a:gd name="connsiteX233" fmla="*/ 143828 w 1127283"/>
                <a:gd name="connsiteY233" fmla="*/ 769715 h 1073848"/>
                <a:gd name="connsiteX234" fmla="*/ 143256 w 1127283"/>
                <a:gd name="connsiteY234" fmla="*/ 780955 h 1073848"/>
                <a:gd name="connsiteX235" fmla="*/ 135541 w 1127283"/>
                <a:gd name="connsiteY235" fmla="*/ 787622 h 1073848"/>
                <a:gd name="connsiteX236" fmla="*/ 131921 w 1127283"/>
                <a:gd name="connsiteY236" fmla="*/ 794290 h 1073848"/>
                <a:gd name="connsiteX237" fmla="*/ 133636 w 1127283"/>
                <a:gd name="connsiteY237" fmla="*/ 815150 h 1073848"/>
                <a:gd name="connsiteX238" fmla="*/ 169259 w 1127283"/>
                <a:gd name="connsiteY238" fmla="*/ 826865 h 1073848"/>
                <a:gd name="connsiteX239" fmla="*/ 176117 w 1127283"/>
                <a:gd name="connsiteY239" fmla="*/ 826484 h 1073848"/>
                <a:gd name="connsiteX240" fmla="*/ 174879 w 1127283"/>
                <a:gd name="connsiteY240" fmla="*/ 824865 h 1073848"/>
                <a:gd name="connsiteX241" fmla="*/ 174212 w 1127283"/>
                <a:gd name="connsiteY241" fmla="*/ 823151 h 1073848"/>
                <a:gd name="connsiteX242" fmla="*/ 174403 w 1127283"/>
                <a:gd name="connsiteY242" fmla="*/ 820960 h 1073848"/>
                <a:gd name="connsiteX243" fmla="*/ 178213 w 1127283"/>
                <a:gd name="connsiteY243" fmla="*/ 817721 h 1073848"/>
                <a:gd name="connsiteX244" fmla="*/ 180023 w 1127283"/>
                <a:gd name="connsiteY244" fmla="*/ 813721 h 1073848"/>
                <a:gd name="connsiteX245" fmla="*/ 185166 w 1127283"/>
                <a:gd name="connsiteY245" fmla="*/ 809625 h 1073848"/>
                <a:gd name="connsiteX246" fmla="*/ 188786 w 1127283"/>
                <a:gd name="connsiteY246" fmla="*/ 805148 h 1073848"/>
                <a:gd name="connsiteX247" fmla="*/ 205645 w 1127283"/>
                <a:gd name="connsiteY247" fmla="*/ 796290 h 1073848"/>
                <a:gd name="connsiteX248" fmla="*/ 211931 w 1127283"/>
                <a:gd name="connsiteY248" fmla="*/ 796100 h 1073848"/>
                <a:gd name="connsiteX249" fmla="*/ 216122 w 1127283"/>
                <a:gd name="connsiteY249" fmla="*/ 798862 h 1073848"/>
                <a:gd name="connsiteX250" fmla="*/ 218980 w 1127283"/>
                <a:gd name="connsiteY250" fmla="*/ 803720 h 1073848"/>
                <a:gd name="connsiteX251" fmla="*/ 221075 w 1127283"/>
                <a:gd name="connsiteY251" fmla="*/ 808863 h 1073848"/>
                <a:gd name="connsiteX252" fmla="*/ 222314 w 1127283"/>
                <a:gd name="connsiteY252" fmla="*/ 813626 h 1073848"/>
                <a:gd name="connsiteX253" fmla="*/ 222790 w 1127283"/>
                <a:gd name="connsiteY253" fmla="*/ 817150 h 1073848"/>
                <a:gd name="connsiteX254" fmla="*/ 223075 w 1127283"/>
                <a:gd name="connsiteY254" fmla="*/ 821817 h 1073848"/>
                <a:gd name="connsiteX255" fmla="*/ 232220 w 1127283"/>
                <a:gd name="connsiteY255" fmla="*/ 824770 h 1073848"/>
                <a:gd name="connsiteX256" fmla="*/ 244316 w 1127283"/>
                <a:gd name="connsiteY256" fmla="*/ 816674 h 1073848"/>
                <a:gd name="connsiteX257" fmla="*/ 254413 w 1127283"/>
                <a:gd name="connsiteY257" fmla="*/ 801719 h 1073848"/>
                <a:gd name="connsiteX258" fmla="*/ 253365 w 1127283"/>
                <a:gd name="connsiteY258" fmla="*/ 796100 h 1073848"/>
                <a:gd name="connsiteX259" fmla="*/ 252317 w 1127283"/>
                <a:gd name="connsiteY259" fmla="*/ 792861 h 1073848"/>
                <a:gd name="connsiteX260" fmla="*/ 252127 w 1127283"/>
                <a:gd name="connsiteY260" fmla="*/ 786003 h 1073848"/>
                <a:gd name="connsiteX261" fmla="*/ 260604 w 1127283"/>
                <a:gd name="connsiteY261" fmla="*/ 788289 h 1073848"/>
                <a:gd name="connsiteX262" fmla="*/ 262128 w 1127283"/>
                <a:gd name="connsiteY262" fmla="*/ 787813 h 1073848"/>
                <a:gd name="connsiteX263" fmla="*/ 268224 w 1127283"/>
                <a:gd name="connsiteY263" fmla="*/ 783908 h 1073848"/>
                <a:gd name="connsiteX264" fmla="*/ 269939 w 1127283"/>
                <a:gd name="connsiteY264" fmla="*/ 793433 h 1073848"/>
                <a:gd name="connsiteX265" fmla="*/ 275844 w 1127283"/>
                <a:gd name="connsiteY265" fmla="*/ 799433 h 1073848"/>
                <a:gd name="connsiteX266" fmla="*/ 276035 w 1127283"/>
                <a:gd name="connsiteY266" fmla="*/ 805339 h 1073848"/>
                <a:gd name="connsiteX267" fmla="*/ 279368 w 1127283"/>
                <a:gd name="connsiteY267" fmla="*/ 811244 h 1073848"/>
                <a:gd name="connsiteX268" fmla="*/ 281654 w 1127283"/>
                <a:gd name="connsiteY268" fmla="*/ 820388 h 1073848"/>
                <a:gd name="connsiteX269" fmla="*/ 285083 w 1127283"/>
                <a:gd name="connsiteY269" fmla="*/ 828103 h 1073848"/>
                <a:gd name="connsiteX270" fmla="*/ 285369 w 1127283"/>
                <a:gd name="connsiteY270" fmla="*/ 836105 h 1073848"/>
                <a:gd name="connsiteX271" fmla="*/ 282131 w 1127283"/>
                <a:gd name="connsiteY271" fmla="*/ 841724 h 1073848"/>
                <a:gd name="connsiteX272" fmla="*/ 280321 w 1127283"/>
                <a:gd name="connsiteY272" fmla="*/ 845725 h 1073848"/>
                <a:gd name="connsiteX273" fmla="*/ 279083 w 1127283"/>
                <a:gd name="connsiteY273" fmla="*/ 849059 h 1073848"/>
                <a:gd name="connsiteX274" fmla="*/ 278987 w 1127283"/>
                <a:gd name="connsiteY274" fmla="*/ 852869 h 1073848"/>
                <a:gd name="connsiteX275" fmla="*/ 280892 w 1127283"/>
                <a:gd name="connsiteY275" fmla="*/ 855536 h 1073848"/>
                <a:gd name="connsiteX276" fmla="*/ 283655 w 1127283"/>
                <a:gd name="connsiteY276" fmla="*/ 858488 h 1073848"/>
                <a:gd name="connsiteX277" fmla="*/ 286036 w 1127283"/>
                <a:gd name="connsiteY277" fmla="*/ 862108 h 1073848"/>
                <a:gd name="connsiteX278" fmla="*/ 294513 w 1127283"/>
                <a:gd name="connsiteY278" fmla="*/ 870014 h 1073848"/>
                <a:gd name="connsiteX279" fmla="*/ 266414 w 1127283"/>
                <a:gd name="connsiteY279" fmla="*/ 874776 h 1073848"/>
                <a:gd name="connsiteX280" fmla="*/ 266891 w 1127283"/>
                <a:gd name="connsiteY280" fmla="*/ 882015 h 1073848"/>
                <a:gd name="connsiteX281" fmla="*/ 266605 w 1127283"/>
                <a:gd name="connsiteY281" fmla="*/ 884301 h 1073848"/>
                <a:gd name="connsiteX282" fmla="*/ 269748 w 1127283"/>
                <a:gd name="connsiteY282" fmla="*/ 889730 h 1073848"/>
                <a:gd name="connsiteX283" fmla="*/ 273272 w 1127283"/>
                <a:gd name="connsiteY283" fmla="*/ 892778 h 1073848"/>
                <a:gd name="connsiteX284" fmla="*/ 274701 w 1127283"/>
                <a:gd name="connsiteY284" fmla="*/ 899065 h 1073848"/>
                <a:gd name="connsiteX285" fmla="*/ 275368 w 1127283"/>
                <a:gd name="connsiteY285" fmla="*/ 903542 h 1073848"/>
                <a:gd name="connsiteX286" fmla="*/ 274892 w 1127283"/>
                <a:gd name="connsiteY286" fmla="*/ 913257 h 1073848"/>
                <a:gd name="connsiteX287" fmla="*/ 296799 w 1127283"/>
                <a:gd name="connsiteY287" fmla="*/ 920782 h 1073848"/>
                <a:gd name="connsiteX288" fmla="*/ 313754 w 1127283"/>
                <a:gd name="connsiteY288" fmla="*/ 920877 h 1073848"/>
                <a:gd name="connsiteX289" fmla="*/ 327946 w 1127283"/>
                <a:gd name="connsiteY289" fmla="*/ 928211 h 1073848"/>
                <a:gd name="connsiteX290" fmla="*/ 338519 w 1127283"/>
                <a:gd name="connsiteY290" fmla="*/ 930402 h 1073848"/>
                <a:gd name="connsiteX291" fmla="*/ 347663 w 1127283"/>
                <a:gd name="connsiteY291" fmla="*/ 943547 h 1073848"/>
                <a:gd name="connsiteX292" fmla="*/ 362426 w 1127283"/>
                <a:gd name="connsiteY292" fmla="*/ 935165 h 1073848"/>
                <a:gd name="connsiteX293" fmla="*/ 364046 w 1127283"/>
                <a:gd name="connsiteY293" fmla="*/ 930212 h 1073848"/>
                <a:gd name="connsiteX294" fmla="*/ 368713 w 1127283"/>
                <a:gd name="connsiteY294" fmla="*/ 921830 h 1073848"/>
                <a:gd name="connsiteX295" fmla="*/ 369665 w 1127283"/>
                <a:gd name="connsiteY295" fmla="*/ 916305 h 1073848"/>
                <a:gd name="connsiteX296" fmla="*/ 369475 w 1127283"/>
                <a:gd name="connsiteY296" fmla="*/ 912114 h 1073848"/>
                <a:gd name="connsiteX297" fmla="*/ 366141 w 1127283"/>
                <a:gd name="connsiteY297" fmla="*/ 909542 h 1073848"/>
                <a:gd name="connsiteX298" fmla="*/ 368713 w 1127283"/>
                <a:gd name="connsiteY298" fmla="*/ 904113 h 1073848"/>
                <a:gd name="connsiteX299" fmla="*/ 376238 w 1127283"/>
                <a:gd name="connsiteY299" fmla="*/ 902494 h 1073848"/>
                <a:gd name="connsiteX300" fmla="*/ 384143 w 1127283"/>
                <a:gd name="connsiteY300" fmla="*/ 909257 h 1073848"/>
                <a:gd name="connsiteX301" fmla="*/ 388525 w 1127283"/>
                <a:gd name="connsiteY301" fmla="*/ 914210 h 1073848"/>
                <a:gd name="connsiteX302" fmla="*/ 392049 w 1127283"/>
                <a:gd name="connsiteY302" fmla="*/ 919258 h 1073848"/>
                <a:gd name="connsiteX303" fmla="*/ 394335 w 1127283"/>
                <a:gd name="connsiteY303" fmla="*/ 921353 h 1073848"/>
                <a:gd name="connsiteX304" fmla="*/ 400431 w 1127283"/>
                <a:gd name="connsiteY304" fmla="*/ 921925 h 1073848"/>
                <a:gd name="connsiteX305" fmla="*/ 406241 w 1127283"/>
                <a:gd name="connsiteY305" fmla="*/ 930212 h 1073848"/>
                <a:gd name="connsiteX306" fmla="*/ 409385 w 1127283"/>
                <a:gd name="connsiteY306" fmla="*/ 943737 h 1073848"/>
                <a:gd name="connsiteX307" fmla="*/ 406717 w 1127283"/>
                <a:gd name="connsiteY307" fmla="*/ 947833 h 1073848"/>
                <a:gd name="connsiteX308" fmla="*/ 404146 w 1127283"/>
                <a:gd name="connsiteY308" fmla="*/ 953453 h 1073848"/>
                <a:gd name="connsiteX309" fmla="*/ 400145 w 1127283"/>
                <a:gd name="connsiteY309" fmla="*/ 958596 h 1073848"/>
                <a:gd name="connsiteX310" fmla="*/ 399574 w 1127283"/>
                <a:gd name="connsiteY310" fmla="*/ 964692 h 1073848"/>
                <a:gd name="connsiteX311" fmla="*/ 403003 w 1127283"/>
                <a:gd name="connsiteY311" fmla="*/ 984885 h 1073848"/>
                <a:gd name="connsiteX312" fmla="*/ 431197 w 1127283"/>
                <a:gd name="connsiteY312" fmla="*/ 995553 h 1073848"/>
                <a:gd name="connsiteX313" fmla="*/ 442436 w 1127283"/>
                <a:gd name="connsiteY313" fmla="*/ 1006697 h 1073848"/>
                <a:gd name="connsiteX314" fmla="*/ 441579 w 1127283"/>
                <a:gd name="connsiteY314" fmla="*/ 1010698 h 1073848"/>
                <a:gd name="connsiteX315" fmla="*/ 439103 w 1127283"/>
                <a:gd name="connsiteY315" fmla="*/ 1013841 h 1073848"/>
                <a:gd name="connsiteX316" fmla="*/ 434626 w 1127283"/>
                <a:gd name="connsiteY316" fmla="*/ 1015651 h 1073848"/>
                <a:gd name="connsiteX317" fmla="*/ 433959 w 1127283"/>
                <a:gd name="connsiteY317" fmla="*/ 1018603 h 1073848"/>
                <a:gd name="connsiteX318" fmla="*/ 434912 w 1127283"/>
                <a:gd name="connsiteY318" fmla="*/ 1022699 h 1073848"/>
                <a:gd name="connsiteX319" fmla="*/ 438341 w 1127283"/>
                <a:gd name="connsiteY319" fmla="*/ 1026033 h 1073848"/>
                <a:gd name="connsiteX320" fmla="*/ 440150 w 1127283"/>
                <a:gd name="connsiteY320" fmla="*/ 1029176 h 1073848"/>
                <a:gd name="connsiteX321" fmla="*/ 441008 w 1127283"/>
                <a:gd name="connsiteY321" fmla="*/ 1037653 h 1073848"/>
                <a:gd name="connsiteX322" fmla="*/ 461105 w 1127283"/>
                <a:gd name="connsiteY322" fmla="*/ 1017937 h 1073848"/>
                <a:gd name="connsiteX323" fmla="*/ 468344 w 1127283"/>
                <a:gd name="connsiteY323" fmla="*/ 1036320 h 1073848"/>
                <a:gd name="connsiteX324" fmla="*/ 476441 w 1127283"/>
                <a:gd name="connsiteY324" fmla="*/ 1043750 h 1073848"/>
                <a:gd name="connsiteX325" fmla="*/ 483108 w 1127283"/>
                <a:gd name="connsiteY325" fmla="*/ 1045750 h 1073848"/>
                <a:gd name="connsiteX326" fmla="*/ 490157 w 1127283"/>
                <a:gd name="connsiteY326" fmla="*/ 1043273 h 1073848"/>
                <a:gd name="connsiteX327" fmla="*/ 503396 w 1127283"/>
                <a:gd name="connsiteY327" fmla="*/ 1033367 h 1073848"/>
                <a:gd name="connsiteX328" fmla="*/ 518541 w 1127283"/>
                <a:gd name="connsiteY328" fmla="*/ 1026319 h 1073848"/>
                <a:gd name="connsiteX329" fmla="*/ 528447 w 1127283"/>
                <a:gd name="connsiteY329" fmla="*/ 1028986 h 1073848"/>
                <a:gd name="connsiteX330" fmla="*/ 533686 w 1127283"/>
                <a:gd name="connsiteY330" fmla="*/ 1032605 h 1073848"/>
                <a:gd name="connsiteX331" fmla="*/ 541877 w 1127283"/>
                <a:gd name="connsiteY331" fmla="*/ 1034510 h 1073848"/>
                <a:gd name="connsiteX332" fmla="*/ 547307 w 1127283"/>
                <a:gd name="connsiteY332" fmla="*/ 1039463 h 1073848"/>
                <a:gd name="connsiteX333" fmla="*/ 544735 w 1127283"/>
                <a:gd name="connsiteY333" fmla="*/ 1045274 h 1073848"/>
                <a:gd name="connsiteX334" fmla="*/ 555022 w 1127283"/>
                <a:gd name="connsiteY334" fmla="*/ 1057466 h 1073848"/>
                <a:gd name="connsiteX335" fmla="*/ 569500 w 1127283"/>
                <a:gd name="connsiteY335" fmla="*/ 1052703 h 1073848"/>
                <a:gd name="connsiteX336" fmla="*/ 577025 w 1127283"/>
                <a:gd name="connsiteY336" fmla="*/ 1056704 h 1073848"/>
                <a:gd name="connsiteX337" fmla="*/ 578168 w 1127283"/>
                <a:gd name="connsiteY337" fmla="*/ 1060323 h 1073848"/>
                <a:gd name="connsiteX338" fmla="*/ 580930 w 1127283"/>
                <a:gd name="connsiteY338" fmla="*/ 1073849 h 1073848"/>
                <a:gd name="connsiteX339" fmla="*/ 600932 w 1127283"/>
                <a:gd name="connsiteY339" fmla="*/ 1061752 h 1073848"/>
                <a:gd name="connsiteX340" fmla="*/ 604076 w 1127283"/>
                <a:gd name="connsiteY340" fmla="*/ 1057370 h 1073848"/>
                <a:gd name="connsiteX341" fmla="*/ 613791 w 1127283"/>
                <a:gd name="connsiteY341" fmla="*/ 1038987 h 1073848"/>
                <a:gd name="connsiteX342" fmla="*/ 618744 w 1127283"/>
                <a:gd name="connsiteY342" fmla="*/ 1009460 h 1073848"/>
                <a:gd name="connsiteX343" fmla="*/ 676085 w 1127283"/>
                <a:gd name="connsiteY343" fmla="*/ 1009460 h 1073848"/>
                <a:gd name="connsiteX344" fmla="*/ 691991 w 1127283"/>
                <a:gd name="connsiteY344" fmla="*/ 999458 h 1073848"/>
                <a:gd name="connsiteX345" fmla="*/ 704183 w 1127283"/>
                <a:gd name="connsiteY345" fmla="*/ 1000506 h 1073848"/>
                <a:gd name="connsiteX346" fmla="*/ 711422 w 1127283"/>
                <a:gd name="connsiteY346" fmla="*/ 990505 h 1073848"/>
                <a:gd name="connsiteX347" fmla="*/ 719995 w 1127283"/>
                <a:gd name="connsiteY347" fmla="*/ 981647 h 1073848"/>
                <a:gd name="connsiteX348" fmla="*/ 733425 w 1127283"/>
                <a:gd name="connsiteY348" fmla="*/ 978313 h 1073848"/>
                <a:gd name="connsiteX349" fmla="*/ 743141 w 1127283"/>
                <a:gd name="connsiteY349" fmla="*/ 977265 h 1073848"/>
                <a:gd name="connsiteX350" fmla="*/ 744379 w 1127283"/>
                <a:gd name="connsiteY350" fmla="*/ 988314 h 1073848"/>
                <a:gd name="connsiteX351" fmla="*/ 757142 w 1127283"/>
                <a:gd name="connsiteY351" fmla="*/ 996125 h 1073848"/>
                <a:gd name="connsiteX352" fmla="*/ 768287 w 1127283"/>
                <a:gd name="connsiteY352" fmla="*/ 1007078 h 1073848"/>
                <a:gd name="connsiteX353" fmla="*/ 772382 w 1127283"/>
                <a:gd name="connsiteY353" fmla="*/ 988409 h 1073848"/>
                <a:gd name="connsiteX354" fmla="*/ 820865 w 1127283"/>
                <a:gd name="connsiteY354" fmla="*/ 909828 h 1073848"/>
                <a:gd name="connsiteX355" fmla="*/ 829056 w 1127283"/>
                <a:gd name="connsiteY355" fmla="*/ 900494 h 1073848"/>
                <a:gd name="connsiteX356" fmla="*/ 835152 w 1127283"/>
                <a:gd name="connsiteY356" fmla="*/ 893921 h 1073848"/>
                <a:gd name="connsiteX357" fmla="*/ 838676 w 1127283"/>
                <a:gd name="connsiteY357" fmla="*/ 889349 h 1073848"/>
                <a:gd name="connsiteX358" fmla="*/ 849440 w 1127283"/>
                <a:gd name="connsiteY358" fmla="*/ 875919 h 1073848"/>
                <a:gd name="connsiteX359" fmla="*/ 850583 w 1127283"/>
                <a:gd name="connsiteY359" fmla="*/ 872204 h 1073848"/>
                <a:gd name="connsiteX360" fmla="*/ 851059 w 1127283"/>
                <a:gd name="connsiteY360" fmla="*/ 866870 h 1073848"/>
                <a:gd name="connsiteX361" fmla="*/ 845630 w 1127283"/>
                <a:gd name="connsiteY361" fmla="*/ 857822 h 1073848"/>
                <a:gd name="connsiteX362" fmla="*/ 842296 w 1127283"/>
                <a:gd name="connsiteY362" fmla="*/ 841915 h 1073848"/>
                <a:gd name="connsiteX363" fmla="*/ 838962 w 1127283"/>
                <a:gd name="connsiteY363" fmla="*/ 836581 h 1073848"/>
                <a:gd name="connsiteX364" fmla="*/ 827246 w 1127283"/>
                <a:gd name="connsiteY364" fmla="*/ 828770 h 1073848"/>
                <a:gd name="connsiteX365" fmla="*/ 822389 w 1127283"/>
                <a:gd name="connsiteY365" fmla="*/ 823341 h 1073848"/>
                <a:gd name="connsiteX366" fmla="*/ 822293 w 1127283"/>
                <a:gd name="connsiteY366" fmla="*/ 817340 h 1073848"/>
                <a:gd name="connsiteX367" fmla="*/ 823722 w 1127283"/>
                <a:gd name="connsiteY367" fmla="*/ 810101 h 1073848"/>
                <a:gd name="connsiteX368" fmla="*/ 824675 w 1127283"/>
                <a:gd name="connsiteY368" fmla="*/ 801910 h 1073848"/>
                <a:gd name="connsiteX369" fmla="*/ 822579 w 1127283"/>
                <a:gd name="connsiteY369" fmla="*/ 798671 h 1073848"/>
                <a:gd name="connsiteX370" fmla="*/ 818960 w 1127283"/>
                <a:gd name="connsiteY370" fmla="*/ 795719 h 1073848"/>
                <a:gd name="connsiteX371" fmla="*/ 809435 w 1127283"/>
                <a:gd name="connsiteY371" fmla="*/ 795433 h 1073848"/>
                <a:gd name="connsiteX372" fmla="*/ 806196 w 1127283"/>
                <a:gd name="connsiteY372" fmla="*/ 796957 h 1073848"/>
                <a:gd name="connsiteX373" fmla="*/ 802386 w 1127283"/>
                <a:gd name="connsiteY373" fmla="*/ 792099 h 1073848"/>
                <a:gd name="connsiteX374" fmla="*/ 806768 w 1127283"/>
                <a:gd name="connsiteY374" fmla="*/ 778097 h 1073848"/>
                <a:gd name="connsiteX375" fmla="*/ 805625 w 1127283"/>
                <a:gd name="connsiteY375" fmla="*/ 775811 h 1073848"/>
                <a:gd name="connsiteX376" fmla="*/ 802577 w 1127283"/>
                <a:gd name="connsiteY376" fmla="*/ 767144 h 1073848"/>
                <a:gd name="connsiteX377" fmla="*/ 818674 w 1127283"/>
                <a:gd name="connsiteY377" fmla="*/ 751903 h 1073848"/>
                <a:gd name="connsiteX378" fmla="*/ 829437 w 1127283"/>
                <a:gd name="connsiteY378" fmla="*/ 744379 h 1073848"/>
                <a:gd name="connsiteX379" fmla="*/ 838676 w 1127283"/>
                <a:gd name="connsiteY379" fmla="*/ 733616 h 1073848"/>
                <a:gd name="connsiteX380" fmla="*/ 848773 w 1127283"/>
                <a:gd name="connsiteY380" fmla="*/ 711613 h 1073848"/>
                <a:gd name="connsiteX381" fmla="*/ 855059 w 1127283"/>
                <a:gd name="connsiteY381" fmla="*/ 704755 h 1073848"/>
                <a:gd name="connsiteX382" fmla="*/ 860012 w 1127283"/>
                <a:gd name="connsiteY382" fmla="*/ 697992 h 1073848"/>
                <a:gd name="connsiteX383" fmla="*/ 882206 w 1127283"/>
                <a:gd name="connsiteY383" fmla="*/ 668465 h 1073848"/>
                <a:gd name="connsiteX384" fmla="*/ 892397 w 1127283"/>
                <a:gd name="connsiteY384" fmla="*/ 658082 h 1073848"/>
                <a:gd name="connsiteX385" fmla="*/ 907637 w 1127283"/>
                <a:gd name="connsiteY385" fmla="*/ 636842 h 1073848"/>
                <a:gd name="connsiteX386" fmla="*/ 917829 w 1127283"/>
                <a:gd name="connsiteY386" fmla="*/ 617696 h 1073848"/>
                <a:gd name="connsiteX387" fmla="*/ 928688 w 1127283"/>
                <a:gd name="connsiteY387" fmla="*/ 616363 h 1073848"/>
                <a:gd name="connsiteX388" fmla="*/ 935165 w 1127283"/>
                <a:gd name="connsiteY388" fmla="*/ 611600 h 1073848"/>
                <a:gd name="connsiteX389" fmla="*/ 942785 w 1127283"/>
                <a:gd name="connsiteY389" fmla="*/ 611886 h 1073848"/>
                <a:gd name="connsiteX390" fmla="*/ 946023 w 1127283"/>
                <a:gd name="connsiteY390" fmla="*/ 608552 h 1073848"/>
                <a:gd name="connsiteX391" fmla="*/ 948118 w 1127283"/>
                <a:gd name="connsiteY391" fmla="*/ 605790 h 1073848"/>
                <a:gd name="connsiteX392" fmla="*/ 950785 w 1127283"/>
                <a:gd name="connsiteY392" fmla="*/ 603218 h 1073848"/>
                <a:gd name="connsiteX393" fmla="*/ 953548 w 1127283"/>
                <a:gd name="connsiteY393" fmla="*/ 601409 h 1073848"/>
                <a:gd name="connsiteX394" fmla="*/ 964311 w 1127283"/>
                <a:gd name="connsiteY394" fmla="*/ 603028 h 1073848"/>
                <a:gd name="connsiteX395" fmla="*/ 983837 w 1127283"/>
                <a:gd name="connsiteY395" fmla="*/ 580930 h 1073848"/>
                <a:gd name="connsiteX396" fmla="*/ 995077 w 1127283"/>
                <a:gd name="connsiteY396" fmla="*/ 575596 h 1073848"/>
                <a:gd name="connsiteX397" fmla="*/ 1015079 w 1127283"/>
                <a:gd name="connsiteY397" fmla="*/ 591217 h 1073848"/>
                <a:gd name="connsiteX398" fmla="*/ 1036320 w 1127283"/>
                <a:gd name="connsiteY398" fmla="*/ 583216 h 1073848"/>
                <a:gd name="connsiteX399" fmla="*/ 1046512 w 1127283"/>
                <a:gd name="connsiteY399" fmla="*/ 583502 h 1073848"/>
                <a:gd name="connsiteX400" fmla="*/ 1052227 w 1127283"/>
                <a:gd name="connsiteY400" fmla="*/ 589979 h 1073848"/>
                <a:gd name="connsiteX401" fmla="*/ 1058990 w 1127283"/>
                <a:gd name="connsiteY401" fmla="*/ 593884 h 1073848"/>
                <a:gd name="connsiteX402" fmla="*/ 1062038 w 1127283"/>
                <a:gd name="connsiteY402" fmla="*/ 593503 h 1073848"/>
                <a:gd name="connsiteX403" fmla="*/ 1073182 w 1127283"/>
                <a:gd name="connsiteY403" fmla="*/ 594265 h 1073848"/>
                <a:gd name="connsiteX404" fmla="*/ 1079373 w 1127283"/>
                <a:gd name="connsiteY404" fmla="*/ 581216 h 1073848"/>
                <a:gd name="connsiteX405" fmla="*/ 1085564 w 1127283"/>
                <a:gd name="connsiteY405" fmla="*/ 577215 h 1073848"/>
                <a:gd name="connsiteX406" fmla="*/ 1090613 w 1127283"/>
                <a:gd name="connsiteY406" fmla="*/ 566261 h 1073848"/>
                <a:gd name="connsiteX407" fmla="*/ 1110901 w 1127283"/>
                <a:gd name="connsiteY407" fmla="*/ 554736 h 1073848"/>
                <a:gd name="connsiteX408" fmla="*/ 1114806 w 1127283"/>
                <a:gd name="connsiteY408" fmla="*/ 551402 h 1073848"/>
                <a:gd name="connsiteX409" fmla="*/ 1118711 w 1127283"/>
                <a:gd name="connsiteY409" fmla="*/ 550069 h 1073848"/>
                <a:gd name="connsiteX410" fmla="*/ 1122426 w 1127283"/>
                <a:gd name="connsiteY410" fmla="*/ 545306 h 1073848"/>
                <a:gd name="connsiteX411" fmla="*/ 1124998 w 1127283"/>
                <a:gd name="connsiteY411" fmla="*/ 541115 h 1073848"/>
                <a:gd name="connsiteX412" fmla="*/ 1127284 w 1127283"/>
                <a:gd name="connsiteY412" fmla="*/ 523970 h 1073848"/>
                <a:gd name="connsiteX413" fmla="*/ 1106424 w 1127283"/>
                <a:gd name="connsiteY413" fmla="*/ 500444 h 1073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Lst>
              <a:rect l="l" t="t" r="r" b="b"/>
              <a:pathLst>
                <a:path w="1127283" h="1073848">
                  <a:moveTo>
                    <a:pt x="1106424" y="500444"/>
                  </a:moveTo>
                  <a:lnTo>
                    <a:pt x="1065752" y="481108"/>
                  </a:lnTo>
                  <a:lnTo>
                    <a:pt x="1056037" y="470440"/>
                  </a:lnTo>
                  <a:lnTo>
                    <a:pt x="1057370" y="457867"/>
                  </a:lnTo>
                  <a:lnTo>
                    <a:pt x="1061561" y="443008"/>
                  </a:lnTo>
                  <a:lnTo>
                    <a:pt x="1060514" y="425863"/>
                  </a:lnTo>
                  <a:lnTo>
                    <a:pt x="1062514" y="399479"/>
                  </a:lnTo>
                  <a:lnTo>
                    <a:pt x="994315" y="400050"/>
                  </a:lnTo>
                  <a:lnTo>
                    <a:pt x="981456" y="408432"/>
                  </a:lnTo>
                  <a:lnTo>
                    <a:pt x="921449" y="386239"/>
                  </a:lnTo>
                  <a:lnTo>
                    <a:pt x="890111" y="384239"/>
                  </a:lnTo>
                  <a:lnTo>
                    <a:pt x="880872" y="379762"/>
                  </a:lnTo>
                  <a:lnTo>
                    <a:pt x="872966" y="370427"/>
                  </a:lnTo>
                  <a:lnTo>
                    <a:pt x="858679" y="348329"/>
                  </a:lnTo>
                  <a:lnTo>
                    <a:pt x="849535" y="340995"/>
                  </a:lnTo>
                  <a:lnTo>
                    <a:pt x="836105" y="336328"/>
                  </a:lnTo>
                  <a:lnTo>
                    <a:pt x="829342" y="336233"/>
                  </a:lnTo>
                  <a:lnTo>
                    <a:pt x="822484" y="337757"/>
                  </a:lnTo>
                  <a:lnTo>
                    <a:pt x="816388" y="336614"/>
                  </a:lnTo>
                  <a:lnTo>
                    <a:pt x="812102" y="331470"/>
                  </a:lnTo>
                  <a:lnTo>
                    <a:pt x="807339" y="327755"/>
                  </a:lnTo>
                  <a:lnTo>
                    <a:pt x="800100" y="331089"/>
                  </a:lnTo>
                  <a:lnTo>
                    <a:pt x="794004" y="340328"/>
                  </a:lnTo>
                  <a:lnTo>
                    <a:pt x="790004" y="351091"/>
                  </a:lnTo>
                  <a:lnTo>
                    <a:pt x="785336" y="361188"/>
                  </a:lnTo>
                  <a:lnTo>
                    <a:pt x="777335" y="368332"/>
                  </a:lnTo>
                  <a:lnTo>
                    <a:pt x="770477" y="370427"/>
                  </a:lnTo>
                  <a:lnTo>
                    <a:pt x="740283" y="368808"/>
                  </a:lnTo>
                  <a:lnTo>
                    <a:pt x="727234" y="372999"/>
                  </a:lnTo>
                  <a:lnTo>
                    <a:pt x="714470" y="380619"/>
                  </a:lnTo>
                  <a:lnTo>
                    <a:pt x="702945" y="390811"/>
                  </a:lnTo>
                  <a:lnTo>
                    <a:pt x="700469" y="395573"/>
                  </a:lnTo>
                  <a:lnTo>
                    <a:pt x="699135" y="400907"/>
                  </a:lnTo>
                  <a:lnTo>
                    <a:pt x="697230" y="405289"/>
                  </a:lnTo>
                  <a:lnTo>
                    <a:pt x="693325" y="407194"/>
                  </a:lnTo>
                  <a:lnTo>
                    <a:pt x="689515" y="405860"/>
                  </a:lnTo>
                  <a:lnTo>
                    <a:pt x="682371" y="400622"/>
                  </a:lnTo>
                  <a:lnTo>
                    <a:pt x="678656" y="399669"/>
                  </a:lnTo>
                  <a:lnTo>
                    <a:pt x="673322" y="402812"/>
                  </a:lnTo>
                  <a:lnTo>
                    <a:pt x="668084" y="407575"/>
                  </a:lnTo>
                  <a:lnTo>
                    <a:pt x="661988" y="408623"/>
                  </a:lnTo>
                  <a:lnTo>
                    <a:pt x="654844" y="400431"/>
                  </a:lnTo>
                  <a:lnTo>
                    <a:pt x="641795" y="381667"/>
                  </a:lnTo>
                  <a:lnTo>
                    <a:pt x="635318" y="375380"/>
                  </a:lnTo>
                  <a:lnTo>
                    <a:pt x="635222" y="375285"/>
                  </a:lnTo>
                  <a:lnTo>
                    <a:pt x="604266" y="361855"/>
                  </a:lnTo>
                  <a:lnTo>
                    <a:pt x="599408" y="359759"/>
                  </a:lnTo>
                  <a:lnTo>
                    <a:pt x="583216" y="348139"/>
                  </a:lnTo>
                  <a:lnTo>
                    <a:pt x="569976" y="332423"/>
                  </a:lnTo>
                  <a:lnTo>
                    <a:pt x="533114" y="271844"/>
                  </a:lnTo>
                  <a:lnTo>
                    <a:pt x="520160" y="256699"/>
                  </a:lnTo>
                  <a:lnTo>
                    <a:pt x="477107" y="220504"/>
                  </a:lnTo>
                  <a:lnTo>
                    <a:pt x="473774" y="211550"/>
                  </a:lnTo>
                  <a:lnTo>
                    <a:pt x="472631" y="196406"/>
                  </a:lnTo>
                  <a:lnTo>
                    <a:pt x="473774" y="189738"/>
                  </a:lnTo>
                  <a:lnTo>
                    <a:pt x="475964" y="185357"/>
                  </a:lnTo>
                  <a:lnTo>
                    <a:pt x="477298" y="180975"/>
                  </a:lnTo>
                  <a:lnTo>
                    <a:pt x="476060" y="174022"/>
                  </a:lnTo>
                  <a:lnTo>
                    <a:pt x="473202" y="170498"/>
                  </a:lnTo>
                  <a:lnTo>
                    <a:pt x="468535" y="168116"/>
                  </a:lnTo>
                  <a:lnTo>
                    <a:pt x="386715" y="160877"/>
                  </a:lnTo>
                  <a:lnTo>
                    <a:pt x="377000" y="151352"/>
                  </a:lnTo>
                  <a:lnTo>
                    <a:pt x="371951" y="136779"/>
                  </a:lnTo>
                  <a:lnTo>
                    <a:pt x="368332" y="121920"/>
                  </a:lnTo>
                  <a:lnTo>
                    <a:pt x="362521" y="111633"/>
                  </a:lnTo>
                  <a:lnTo>
                    <a:pt x="356521" y="111443"/>
                  </a:lnTo>
                  <a:lnTo>
                    <a:pt x="352139" y="112967"/>
                  </a:lnTo>
                  <a:lnTo>
                    <a:pt x="337471" y="118110"/>
                  </a:lnTo>
                  <a:lnTo>
                    <a:pt x="337471" y="118110"/>
                  </a:lnTo>
                  <a:lnTo>
                    <a:pt x="331280" y="120206"/>
                  </a:lnTo>
                  <a:lnTo>
                    <a:pt x="321564" y="121063"/>
                  </a:lnTo>
                  <a:lnTo>
                    <a:pt x="312325" y="119634"/>
                  </a:lnTo>
                  <a:lnTo>
                    <a:pt x="303752" y="114300"/>
                  </a:lnTo>
                  <a:lnTo>
                    <a:pt x="295561" y="103537"/>
                  </a:lnTo>
                  <a:lnTo>
                    <a:pt x="293465" y="97631"/>
                  </a:lnTo>
                  <a:lnTo>
                    <a:pt x="293084" y="92774"/>
                  </a:lnTo>
                  <a:lnTo>
                    <a:pt x="292989" y="92012"/>
                  </a:lnTo>
                  <a:lnTo>
                    <a:pt x="292417" y="88011"/>
                  </a:lnTo>
                  <a:lnTo>
                    <a:pt x="289084" y="82487"/>
                  </a:lnTo>
                  <a:lnTo>
                    <a:pt x="285274" y="79915"/>
                  </a:lnTo>
                  <a:lnTo>
                    <a:pt x="271463" y="76867"/>
                  </a:lnTo>
                  <a:lnTo>
                    <a:pt x="256127" y="66961"/>
                  </a:lnTo>
                  <a:lnTo>
                    <a:pt x="241554" y="49149"/>
                  </a:lnTo>
                  <a:lnTo>
                    <a:pt x="232600" y="38195"/>
                  </a:lnTo>
                  <a:lnTo>
                    <a:pt x="216979" y="29718"/>
                  </a:lnTo>
                  <a:lnTo>
                    <a:pt x="212979" y="29909"/>
                  </a:lnTo>
                  <a:lnTo>
                    <a:pt x="210407" y="31242"/>
                  </a:lnTo>
                  <a:lnTo>
                    <a:pt x="208026" y="31814"/>
                  </a:lnTo>
                  <a:lnTo>
                    <a:pt x="204502" y="29718"/>
                  </a:lnTo>
                  <a:lnTo>
                    <a:pt x="202025" y="25337"/>
                  </a:lnTo>
                  <a:lnTo>
                    <a:pt x="197453" y="12002"/>
                  </a:lnTo>
                  <a:lnTo>
                    <a:pt x="194786" y="6953"/>
                  </a:lnTo>
                  <a:lnTo>
                    <a:pt x="187833" y="1238"/>
                  </a:lnTo>
                  <a:lnTo>
                    <a:pt x="180689" y="0"/>
                  </a:lnTo>
                  <a:lnTo>
                    <a:pt x="175736" y="4858"/>
                  </a:lnTo>
                  <a:lnTo>
                    <a:pt x="175260" y="17621"/>
                  </a:lnTo>
                  <a:lnTo>
                    <a:pt x="186214" y="37529"/>
                  </a:lnTo>
                  <a:lnTo>
                    <a:pt x="188881" y="49244"/>
                  </a:lnTo>
                  <a:lnTo>
                    <a:pt x="181166" y="59531"/>
                  </a:lnTo>
                  <a:lnTo>
                    <a:pt x="168688" y="66008"/>
                  </a:lnTo>
                  <a:lnTo>
                    <a:pt x="162496" y="66008"/>
                  </a:lnTo>
                  <a:lnTo>
                    <a:pt x="156782" y="61151"/>
                  </a:lnTo>
                  <a:lnTo>
                    <a:pt x="152019" y="45339"/>
                  </a:lnTo>
                  <a:lnTo>
                    <a:pt x="148495" y="27146"/>
                  </a:lnTo>
                  <a:lnTo>
                    <a:pt x="143161" y="12002"/>
                  </a:lnTo>
                  <a:lnTo>
                    <a:pt x="133064" y="5239"/>
                  </a:lnTo>
                  <a:lnTo>
                    <a:pt x="114776" y="5715"/>
                  </a:lnTo>
                  <a:lnTo>
                    <a:pt x="105632" y="8477"/>
                  </a:lnTo>
                  <a:lnTo>
                    <a:pt x="97155" y="13907"/>
                  </a:lnTo>
                  <a:lnTo>
                    <a:pt x="91726" y="19526"/>
                  </a:lnTo>
                  <a:lnTo>
                    <a:pt x="68294" y="43625"/>
                  </a:lnTo>
                  <a:lnTo>
                    <a:pt x="58388" y="50483"/>
                  </a:lnTo>
                  <a:lnTo>
                    <a:pt x="28480" y="54864"/>
                  </a:lnTo>
                  <a:lnTo>
                    <a:pt x="19050" y="60960"/>
                  </a:lnTo>
                  <a:lnTo>
                    <a:pt x="10954" y="68580"/>
                  </a:lnTo>
                  <a:lnTo>
                    <a:pt x="10954" y="69818"/>
                  </a:lnTo>
                  <a:lnTo>
                    <a:pt x="16764" y="127921"/>
                  </a:lnTo>
                  <a:lnTo>
                    <a:pt x="25146" y="128397"/>
                  </a:lnTo>
                  <a:lnTo>
                    <a:pt x="28861" y="130016"/>
                  </a:lnTo>
                  <a:lnTo>
                    <a:pt x="32099" y="133731"/>
                  </a:lnTo>
                  <a:lnTo>
                    <a:pt x="33338" y="136589"/>
                  </a:lnTo>
                  <a:lnTo>
                    <a:pt x="32766" y="140494"/>
                  </a:lnTo>
                  <a:lnTo>
                    <a:pt x="33433" y="149447"/>
                  </a:lnTo>
                  <a:lnTo>
                    <a:pt x="34481" y="158972"/>
                  </a:lnTo>
                  <a:lnTo>
                    <a:pt x="36576" y="170021"/>
                  </a:lnTo>
                  <a:lnTo>
                    <a:pt x="37529" y="178975"/>
                  </a:lnTo>
                  <a:lnTo>
                    <a:pt x="39624" y="183166"/>
                  </a:lnTo>
                  <a:lnTo>
                    <a:pt x="42863" y="186690"/>
                  </a:lnTo>
                  <a:lnTo>
                    <a:pt x="49340" y="189262"/>
                  </a:lnTo>
                  <a:lnTo>
                    <a:pt x="52102" y="188976"/>
                  </a:lnTo>
                  <a:lnTo>
                    <a:pt x="54102" y="187833"/>
                  </a:lnTo>
                  <a:lnTo>
                    <a:pt x="55531" y="188214"/>
                  </a:lnTo>
                  <a:lnTo>
                    <a:pt x="57055" y="188976"/>
                  </a:lnTo>
                  <a:lnTo>
                    <a:pt x="59912" y="201740"/>
                  </a:lnTo>
                  <a:lnTo>
                    <a:pt x="64770" y="195739"/>
                  </a:lnTo>
                  <a:lnTo>
                    <a:pt x="80963" y="200787"/>
                  </a:lnTo>
                  <a:lnTo>
                    <a:pt x="84868" y="204311"/>
                  </a:lnTo>
                  <a:lnTo>
                    <a:pt x="108204" y="225743"/>
                  </a:lnTo>
                  <a:lnTo>
                    <a:pt x="110681" y="235268"/>
                  </a:lnTo>
                  <a:lnTo>
                    <a:pt x="116586" y="248507"/>
                  </a:lnTo>
                  <a:lnTo>
                    <a:pt x="113538" y="251936"/>
                  </a:lnTo>
                  <a:lnTo>
                    <a:pt x="112109" y="254984"/>
                  </a:lnTo>
                  <a:lnTo>
                    <a:pt x="109347" y="259271"/>
                  </a:lnTo>
                  <a:lnTo>
                    <a:pt x="107728" y="264128"/>
                  </a:lnTo>
                  <a:lnTo>
                    <a:pt x="107633" y="270415"/>
                  </a:lnTo>
                  <a:lnTo>
                    <a:pt x="110109" y="276987"/>
                  </a:lnTo>
                  <a:lnTo>
                    <a:pt x="114110" y="283274"/>
                  </a:lnTo>
                  <a:lnTo>
                    <a:pt x="111347" y="293275"/>
                  </a:lnTo>
                  <a:lnTo>
                    <a:pt x="114586" y="308896"/>
                  </a:lnTo>
                  <a:lnTo>
                    <a:pt x="104204" y="307562"/>
                  </a:lnTo>
                  <a:lnTo>
                    <a:pt x="102394" y="309372"/>
                  </a:lnTo>
                  <a:lnTo>
                    <a:pt x="102775" y="312515"/>
                  </a:lnTo>
                  <a:lnTo>
                    <a:pt x="107633" y="319373"/>
                  </a:lnTo>
                  <a:lnTo>
                    <a:pt x="110585" y="322707"/>
                  </a:lnTo>
                  <a:lnTo>
                    <a:pt x="111062" y="325850"/>
                  </a:lnTo>
                  <a:lnTo>
                    <a:pt x="104489" y="328327"/>
                  </a:lnTo>
                  <a:lnTo>
                    <a:pt x="102108" y="330137"/>
                  </a:lnTo>
                  <a:lnTo>
                    <a:pt x="94583" y="328708"/>
                  </a:lnTo>
                  <a:lnTo>
                    <a:pt x="90964" y="325565"/>
                  </a:lnTo>
                  <a:lnTo>
                    <a:pt x="88868" y="322612"/>
                  </a:lnTo>
                  <a:lnTo>
                    <a:pt x="87440" y="320326"/>
                  </a:lnTo>
                  <a:lnTo>
                    <a:pt x="85535" y="319754"/>
                  </a:lnTo>
                  <a:lnTo>
                    <a:pt x="80391" y="321278"/>
                  </a:lnTo>
                  <a:lnTo>
                    <a:pt x="78200" y="321469"/>
                  </a:lnTo>
                  <a:lnTo>
                    <a:pt x="74771" y="320993"/>
                  </a:lnTo>
                  <a:lnTo>
                    <a:pt x="64961" y="326898"/>
                  </a:lnTo>
                  <a:lnTo>
                    <a:pt x="52578" y="338804"/>
                  </a:lnTo>
                  <a:lnTo>
                    <a:pt x="31909" y="329565"/>
                  </a:lnTo>
                  <a:lnTo>
                    <a:pt x="31433" y="359950"/>
                  </a:lnTo>
                  <a:lnTo>
                    <a:pt x="37243" y="371380"/>
                  </a:lnTo>
                  <a:lnTo>
                    <a:pt x="45434" y="379666"/>
                  </a:lnTo>
                  <a:lnTo>
                    <a:pt x="52007" y="379190"/>
                  </a:lnTo>
                  <a:lnTo>
                    <a:pt x="72009" y="373761"/>
                  </a:lnTo>
                  <a:lnTo>
                    <a:pt x="79820" y="374999"/>
                  </a:lnTo>
                  <a:lnTo>
                    <a:pt x="86773" y="379952"/>
                  </a:lnTo>
                  <a:lnTo>
                    <a:pt x="96203" y="394430"/>
                  </a:lnTo>
                  <a:lnTo>
                    <a:pt x="98108" y="402336"/>
                  </a:lnTo>
                  <a:lnTo>
                    <a:pt x="98108" y="406813"/>
                  </a:lnTo>
                  <a:lnTo>
                    <a:pt x="96393" y="408623"/>
                  </a:lnTo>
                  <a:lnTo>
                    <a:pt x="96774" y="409861"/>
                  </a:lnTo>
                  <a:lnTo>
                    <a:pt x="99060" y="411575"/>
                  </a:lnTo>
                  <a:lnTo>
                    <a:pt x="104108" y="410909"/>
                  </a:lnTo>
                  <a:lnTo>
                    <a:pt x="109633" y="412242"/>
                  </a:lnTo>
                  <a:lnTo>
                    <a:pt x="112014" y="414814"/>
                  </a:lnTo>
                  <a:lnTo>
                    <a:pt x="112300" y="417386"/>
                  </a:lnTo>
                  <a:lnTo>
                    <a:pt x="109157" y="419957"/>
                  </a:lnTo>
                  <a:lnTo>
                    <a:pt x="102203" y="421386"/>
                  </a:lnTo>
                  <a:lnTo>
                    <a:pt x="98870" y="425958"/>
                  </a:lnTo>
                  <a:lnTo>
                    <a:pt x="95917" y="432530"/>
                  </a:lnTo>
                  <a:lnTo>
                    <a:pt x="83058" y="437388"/>
                  </a:lnTo>
                  <a:lnTo>
                    <a:pt x="79248" y="443675"/>
                  </a:lnTo>
                  <a:lnTo>
                    <a:pt x="73819" y="448151"/>
                  </a:lnTo>
                  <a:lnTo>
                    <a:pt x="70485" y="454247"/>
                  </a:lnTo>
                  <a:lnTo>
                    <a:pt x="34100" y="477393"/>
                  </a:lnTo>
                  <a:lnTo>
                    <a:pt x="29813" y="483013"/>
                  </a:lnTo>
                  <a:lnTo>
                    <a:pt x="18383" y="483680"/>
                  </a:lnTo>
                  <a:lnTo>
                    <a:pt x="5144" y="478727"/>
                  </a:lnTo>
                  <a:lnTo>
                    <a:pt x="0" y="480060"/>
                  </a:lnTo>
                  <a:lnTo>
                    <a:pt x="191" y="484156"/>
                  </a:lnTo>
                  <a:lnTo>
                    <a:pt x="12573" y="495681"/>
                  </a:lnTo>
                  <a:lnTo>
                    <a:pt x="21336" y="512159"/>
                  </a:lnTo>
                  <a:lnTo>
                    <a:pt x="27813" y="528161"/>
                  </a:lnTo>
                  <a:lnTo>
                    <a:pt x="30956" y="533686"/>
                  </a:lnTo>
                  <a:lnTo>
                    <a:pt x="31814" y="537782"/>
                  </a:lnTo>
                  <a:lnTo>
                    <a:pt x="40481" y="544640"/>
                  </a:lnTo>
                  <a:lnTo>
                    <a:pt x="40291" y="547973"/>
                  </a:lnTo>
                  <a:lnTo>
                    <a:pt x="39243" y="551021"/>
                  </a:lnTo>
                  <a:lnTo>
                    <a:pt x="35052" y="555879"/>
                  </a:lnTo>
                  <a:lnTo>
                    <a:pt x="34766" y="557975"/>
                  </a:lnTo>
                  <a:lnTo>
                    <a:pt x="38386" y="562737"/>
                  </a:lnTo>
                  <a:lnTo>
                    <a:pt x="45053" y="572262"/>
                  </a:lnTo>
                  <a:lnTo>
                    <a:pt x="53150" y="580263"/>
                  </a:lnTo>
                  <a:lnTo>
                    <a:pt x="55626" y="588074"/>
                  </a:lnTo>
                  <a:lnTo>
                    <a:pt x="54578" y="594932"/>
                  </a:lnTo>
                  <a:lnTo>
                    <a:pt x="52102" y="603409"/>
                  </a:lnTo>
                  <a:lnTo>
                    <a:pt x="70675" y="609124"/>
                  </a:lnTo>
                  <a:lnTo>
                    <a:pt x="96869" y="606838"/>
                  </a:lnTo>
                  <a:lnTo>
                    <a:pt x="113348" y="602361"/>
                  </a:lnTo>
                  <a:lnTo>
                    <a:pt x="118872" y="612553"/>
                  </a:lnTo>
                  <a:lnTo>
                    <a:pt x="132302" y="612553"/>
                  </a:lnTo>
                  <a:lnTo>
                    <a:pt x="140208" y="617030"/>
                  </a:lnTo>
                  <a:lnTo>
                    <a:pt x="145066" y="631603"/>
                  </a:lnTo>
                  <a:lnTo>
                    <a:pt x="147542" y="649700"/>
                  </a:lnTo>
                  <a:lnTo>
                    <a:pt x="151829" y="663130"/>
                  </a:lnTo>
                  <a:lnTo>
                    <a:pt x="160973" y="675513"/>
                  </a:lnTo>
                  <a:lnTo>
                    <a:pt x="154210" y="684467"/>
                  </a:lnTo>
                  <a:lnTo>
                    <a:pt x="145637" y="695706"/>
                  </a:lnTo>
                  <a:lnTo>
                    <a:pt x="131636" y="700278"/>
                  </a:lnTo>
                  <a:lnTo>
                    <a:pt x="121920" y="701326"/>
                  </a:lnTo>
                  <a:lnTo>
                    <a:pt x="131636" y="715899"/>
                  </a:lnTo>
                  <a:lnTo>
                    <a:pt x="143828" y="731615"/>
                  </a:lnTo>
                  <a:lnTo>
                    <a:pt x="129826" y="742855"/>
                  </a:lnTo>
                  <a:lnTo>
                    <a:pt x="136589" y="756285"/>
                  </a:lnTo>
                  <a:lnTo>
                    <a:pt x="143828" y="769715"/>
                  </a:lnTo>
                  <a:lnTo>
                    <a:pt x="143256" y="780955"/>
                  </a:lnTo>
                  <a:lnTo>
                    <a:pt x="135541" y="787622"/>
                  </a:lnTo>
                  <a:lnTo>
                    <a:pt x="131921" y="794290"/>
                  </a:lnTo>
                  <a:lnTo>
                    <a:pt x="133636" y="815150"/>
                  </a:lnTo>
                  <a:lnTo>
                    <a:pt x="169259" y="826865"/>
                  </a:lnTo>
                  <a:lnTo>
                    <a:pt x="176117" y="826484"/>
                  </a:lnTo>
                  <a:lnTo>
                    <a:pt x="174879" y="824865"/>
                  </a:lnTo>
                  <a:lnTo>
                    <a:pt x="174212" y="823151"/>
                  </a:lnTo>
                  <a:lnTo>
                    <a:pt x="174403" y="820960"/>
                  </a:lnTo>
                  <a:lnTo>
                    <a:pt x="178213" y="817721"/>
                  </a:lnTo>
                  <a:lnTo>
                    <a:pt x="180023" y="813721"/>
                  </a:lnTo>
                  <a:lnTo>
                    <a:pt x="185166" y="809625"/>
                  </a:lnTo>
                  <a:lnTo>
                    <a:pt x="188786" y="805148"/>
                  </a:lnTo>
                  <a:lnTo>
                    <a:pt x="205645" y="796290"/>
                  </a:lnTo>
                  <a:lnTo>
                    <a:pt x="211931" y="796100"/>
                  </a:lnTo>
                  <a:lnTo>
                    <a:pt x="216122" y="798862"/>
                  </a:lnTo>
                  <a:lnTo>
                    <a:pt x="218980" y="803720"/>
                  </a:lnTo>
                  <a:lnTo>
                    <a:pt x="221075" y="808863"/>
                  </a:lnTo>
                  <a:lnTo>
                    <a:pt x="222314" y="813626"/>
                  </a:lnTo>
                  <a:lnTo>
                    <a:pt x="222790" y="817150"/>
                  </a:lnTo>
                  <a:lnTo>
                    <a:pt x="223075" y="821817"/>
                  </a:lnTo>
                  <a:lnTo>
                    <a:pt x="232220" y="824770"/>
                  </a:lnTo>
                  <a:lnTo>
                    <a:pt x="244316" y="816674"/>
                  </a:lnTo>
                  <a:lnTo>
                    <a:pt x="254413" y="801719"/>
                  </a:lnTo>
                  <a:lnTo>
                    <a:pt x="253365" y="796100"/>
                  </a:lnTo>
                  <a:lnTo>
                    <a:pt x="252317" y="792861"/>
                  </a:lnTo>
                  <a:lnTo>
                    <a:pt x="252127" y="786003"/>
                  </a:lnTo>
                  <a:lnTo>
                    <a:pt x="260604" y="788289"/>
                  </a:lnTo>
                  <a:lnTo>
                    <a:pt x="262128" y="787813"/>
                  </a:lnTo>
                  <a:lnTo>
                    <a:pt x="268224" y="783908"/>
                  </a:lnTo>
                  <a:lnTo>
                    <a:pt x="269939" y="793433"/>
                  </a:lnTo>
                  <a:lnTo>
                    <a:pt x="275844" y="799433"/>
                  </a:lnTo>
                  <a:lnTo>
                    <a:pt x="276035" y="805339"/>
                  </a:lnTo>
                  <a:lnTo>
                    <a:pt x="279368" y="811244"/>
                  </a:lnTo>
                  <a:lnTo>
                    <a:pt x="281654" y="820388"/>
                  </a:lnTo>
                  <a:lnTo>
                    <a:pt x="285083" y="828103"/>
                  </a:lnTo>
                  <a:lnTo>
                    <a:pt x="285369" y="836105"/>
                  </a:lnTo>
                  <a:lnTo>
                    <a:pt x="282131" y="841724"/>
                  </a:lnTo>
                  <a:lnTo>
                    <a:pt x="280321" y="845725"/>
                  </a:lnTo>
                  <a:lnTo>
                    <a:pt x="279083" y="849059"/>
                  </a:lnTo>
                  <a:lnTo>
                    <a:pt x="278987" y="852869"/>
                  </a:lnTo>
                  <a:lnTo>
                    <a:pt x="280892" y="855536"/>
                  </a:lnTo>
                  <a:lnTo>
                    <a:pt x="283655" y="858488"/>
                  </a:lnTo>
                  <a:lnTo>
                    <a:pt x="286036" y="862108"/>
                  </a:lnTo>
                  <a:lnTo>
                    <a:pt x="294513" y="870014"/>
                  </a:lnTo>
                  <a:lnTo>
                    <a:pt x="266414" y="874776"/>
                  </a:lnTo>
                  <a:lnTo>
                    <a:pt x="266891" y="882015"/>
                  </a:lnTo>
                  <a:lnTo>
                    <a:pt x="266605" y="884301"/>
                  </a:lnTo>
                  <a:lnTo>
                    <a:pt x="269748" y="889730"/>
                  </a:lnTo>
                  <a:lnTo>
                    <a:pt x="273272" y="892778"/>
                  </a:lnTo>
                  <a:lnTo>
                    <a:pt x="274701" y="899065"/>
                  </a:lnTo>
                  <a:lnTo>
                    <a:pt x="275368" y="903542"/>
                  </a:lnTo>
                  <a:lnTo>
                    <a:pt x="274892" y="913257"/>
                  </a:lnTo>
                  <a:lnTo>
                    <a:pt x="296799" y="920782"/>
                  </a:lnTo>
                  <a:lnTo>
                    <a:pt x="313754" y="920877"/>
                  </a:lnTo>
                  <a:lnTo>
                    <a:pt x="327946" y="928211"/>
                  </a:lnTo>
                  <a:lnTo>
                    <a:pt x="338519" y="930402"/>
                  </a:lnTo>
                  <a:lnTo>
                    <a:pt x="347663" y="943547"/>
                  </a:lnTo>
                  <a:lnTo>
                    <a:pt x="362426" y="935165"/>
                  </a:lnTo>
                  <a:lnTo>
                    <a:pt x="364046" y="930212"/>
                  </a:lnTo>
                  <a:lnTo>
                    <a:pt x="368713" y="921830"/>
                  </a:lnTo>
                  <a:lnTo>
                    <a:pt x="369665" y="916305"/>
                  </a:lnTo>
                  <a:lnTo>
                    <a:pt x="369475" y="912114"/>
                  </a:lnTo>
                  <a:lnTo>
                    <a:pt x="366141" y="909542"/>
                  </a:lnTo>
                  <a:lnTo>
                    <a:pt x="368713" y="904113"/>
                  </a:lnTo>
                  <a:lnTo>
                    <a:pt x="376238" y="902494"/>
                  </a:lnTo>
                  <a:lnTo>
                    <a:pt x="384143" y="909257"/>
                  </a:lnTo>
                  <a:lnTo>
                    <a:pt x="388525" y="914210"/>
                  </a:lnTo>
                  <a:lnTo>
                    <a:pt x="392049" y="919258"/>
                  </a:lnTo>
                  <a:lnTo>
                    <a:pt x="394335" y="921353"/>
                  </a:lnTo>
                  <a:lnTo>
                    <a:pt x="400431" y="921925"/>
                  </a:lnTo>
                  <a:lnTo>
                    <a:pt x="406241" y="930212"/>
                  </a:lnTo>
                  <a:lnTo>
                    <a:pt x="409385" y="943737"/>
                  </a:lnTo>
                  <a:lnTo>
                    <a:pt x="406717" y="947833"/>
                  </a:lnTo>
                  <a:lnTo>
                    <a:pt x="404146" y="953453"/>
                  </a:lnTo>
                  <a:lnTo>
                    <a:pt x="400145" y="958596"/>
                  </a:lnTo>
                  <a:lnTo>
                    <a:pt x="399574" y="964692"/>
                  </a:lnTo>
                  <a:lnTo>
                    <a:pt x="403003" y="984885"/>
                  </a:lnTo>
                  <a:lnTo>
                    <a:pt x="431197" y="995553"/>
                  </a:lnTo>
                  <a:lnTo>
                    <a:pt x="442436" y="1006697"/>
                  </a:lnTo>
                  <a:lnTo>
                    <a:pt x="441579" y="1010698"/>
                  </a:lnTo>
                  <a:lnTo>
                    <a:pt x="439103" y="1013841"/>
                  </a:lnTo>
                  <a:lnTo>
                    <a:pt x="434626" y="1015651"/>
                  </a:lnTo>
                  <a:lnTo>
                    <a:pt x="433959" y="1018603"/>
                  </a:lnTo>
                  <a:lnTo>
                    <a:pt x="434912" y="1022699"/>
                  </a:lnTo>
                  <a:lnTo>
                    <a:pt x="438341" y="1026033"/>
                  </a:lnTo>
                  <a:lnTo>
                    <a:pt x="440150" y="1029176"/>
                  </a:lnTo>
                  <a:lnTo>
                    <a:pt x="441008" y="1037653"/>
                  </a:lnTo>
                  <a:lnTo>
                    <a:pt x="461105" y="1017937"/>
                  </a:lnTo>
                  <a:lnTo>
                    <a:pt x="468344" y="1036320"/>
                  </a:lnTo>
                  <a:lnTo>
                    <a:pt x="476441" y="1043750"/>
                  </a:lnTo>
                  <a:lnTo>
                    <a:pt x="483108" y="1045750"/>
                  </a:lnTo>
                  <a:lnTo>
                    <a:pt x="490157" y="1043273"/>
                  </a:lnTo>
                  <a:lnTo>
                    <a:pt x="503396" y="1033367"/>
                  </a:lnTo>
                  <a:lnTo>
                    <a:pt x="518541" y="1026319"/>
                  </a:lnTo>
                  <a:lnTo>
                    <a:pt x="528447" y="1028986"/>
                  </a:lnTo>
                  <a:lnTo>
                    <a:pt x="533686" y="1032605"/>
                  </a:lnTo>
                  <a:lnTo>
                    <a:pt x="541877" y="1034510"/>
                  </a:lnTo>
                  <a:lnTo>
                    <a:pt x="547307" y="1039463"/>
                  </a:lnTo>
                  <a:lnTo>
                    <a:pt x="544735" y="1045274"/>
                  </a:lnTo>
                  <a:lnTo>
                    <a:pt x="555022" y="1057466"/>
                  </a:lnTo>
                  <a:lnTo>
                    <a:pt x="569500" y="1052703"/>
                  </a:lnTo>
                  <a:lnTo>
                    <a:pt x="577025" y="1056704"/>
                  </a:lnTo>
                  <a:lnTo>
                    <a:pt x="578168" y="1060323"/>
                  </a:lnTo>
                  <a:lnTo>
                    <a:pt x="580930" y="1073849"/>
                  </a:lnTo>
                  <a:lnTo>
                    <a:pt x="600932" y="1061752"/>
                  </a:lnTo>
                  <a:lnTo>
                    <a:pt x="604076" y="1057370"/>
                  </a:lnTo>
                  <a:lnTo>
                    <a:pt x="613791" y="1038987"/>
                  </a:lnTo>
                  <a:lnTo>
                    <a:pt x="618744" y="1009460"/>
                  </a:lnTo>
                  <a:lnTo>
                    <a:pt x="676085" y="1009460"/>
                  </a:lnTo>
                  <a:lnTo>
                    <a:pt x="691991" y="999458"/>
                  </a:lnTo>
                  <a:lnTo>
                    <a:pt x="704183" y="1000506"/>
                  </a:lnTo>
                  <a:lnTo>
                    <a:pt x="711422" y="990505"/>
                  </a:lnTo>
                  <a:lnTo>
                    <a:pt x="719995" y="981647"/>
                  </a:lnTo>
                  <a:lnTo>
                    <a:pt x="733425" y="978313"/>
                  </a:lnTo>
                  <a:lnTo>
                    <a:pt x="743141" y="977265"/>
                  </a:lnTo>
                  <a:lnTo>
                    <a:pt x="744379" y="988314"/>
                  </a:lnTo>
                  <a:lnTo>
                    <a:pt x="757142" y="996125"/>
                  </a:lnTo>
                  <a:lnTo>
                    <a:pt x="768287" y="1007078"/>
                  </a:lnTo>
                  <a:lnTo>
                    <a:pt x="772382" y="988409"/>
                  </a:lnTo>
                  <a:lnTo>
                    <a:pt x="820865" y="909828"/>
                  </a:lnTo>
                  <a:lnTo>
                    <a:pt x="829056" y="900494"/>
                  </a:lnTo>
                  <a:lnTo>
                    <a:pt x="835152" y="893921"/>
                  </a:lnTo>
                  <a:lnTo>
                    <a:pt x="838676" y="889349"/>
                  </a:lnTo>
                  <a:lnTo>
                    <a:pt x="849440" y="875919"/>
                  </a:lnTo>
                  <a:lnTo>
                    <a:pt x="850583" y="872204"/>
                  </a:lnTo>
                  <a:lnTo>
                    <a:pt x="851059" y="866870"/>
                  </a:lnTo>
                  <a:lnTo>
                    <a:pt x="845630" y="857822"/>
                  </a:lnTo>
                  <a:lnTo>
                    <a:pt x="842296" y="841915"/>
                  </a:lnTo>
                  <a:lnTo>
                    <a:pt x="838962" y="836581"/>
                  </a:lnTo>
                  <a:lnTo>
                    <a:pt x="827246" y="828770"/>
                  </a:lnTo>
                  <a:lnTo>
                    <a:pt x="822389" y="823341"/>
                  </a:lnTo>
                  <a:lnTo>
                    <a:pt x="822293" y="817340"/>
                  </a:lnTo>
                  <a:lnTo>
                    <a:pt x="823722" y="810101"/>
                  </a:lnTo>
                  <a:lnTo>
                    <a:pt x="824675" y="801910"/>
                  </a:lnTo>
                  <a:lnTo>
                    <a:pt x="822579" y="798671"/>
                  </a:lnTo>
                  <a:lnTo>
                    <a:pt x="818960" y="795719"/>
                  </a:lnTo>
                  <a:lnTo>
                    <a:pt x="809435" y="795433"/>
                  </a:lnTo>
                  <a:lnTo>
                    <a:pt x="806196" y="796957"/>
                  </a:lnTo>
                  <a:lnTo>
                    <a:pt x="802386" y="792099"/>
                  </a:lnTo>
                  <a:lnTo>
                    <a:pt x="806768" y="778097"/>
                  </a:lnTo>
                  <a:lnTo>
                    <a:pt x="805625" y="775811"/>
                  </a:lnTo>
                  <a:lnTo>
                    <a:pt x="802577" y="767144"/>
                  </a:lnTo>
                  <a:lnTo>
                    <a:pt x="818674" y="751903"/>
                  </a:lnTo>
                  <a:lnTo>
                    <a:pt x="829437" y="744379"/>
                  </a:lnTo>
                  <a:lnTo>
                    <a:pt x="838676" y="733616"/>
                  </a:lnTo>
                  <a:lnTo>
                    <a:pt x="848773" y="711613"/>
                  </a:lnTo>
                  <a:lnTo>
                    <a:pt x="855059" y="704755"/>
                  </a:lnTo>
                  <a:lnTo>
                    <a:pt x="860012" y="697992"/>
                  </a:lnTo>
                  <a:lnTo>
                    <a:pt x="882206" y="668465"/>
                  </a:lnTo>
                  <a:lnTo>
                    <a:pt x="892397" y="658082"/>
                  </a:lnTo>
                  <a:lnTo>
                    <a:pt x="907637" y="636842"/>
                  </a:lnTo>
                  <a:lnTo>
                    <a:pt x="917829" y="617696"/>
                  </a:lnTo>
                  <a:lnTo>
                    <a:pt x="928688" y="616363"/>
                  </a:lnTo>
                  <a:lnTo>
                    <a:pt x="935165" y="611600"/>
                  </a:lnTo>
                  <a:lnTo>
                    <a:pt x="942785" y="611886"/>
                  </a:lnTo>
                  <a:lnTo>
                    <a:pt x="946023" y="608552"/>
                  </a:lnTo>
                  <a:lnTo>
                    <a:pt x="948118" y="605790"/>
                  </a:lnTo>
                  <a:lnTo>
                    <a:pt x="950785" y="603218"/>
                  </a:lnTo>
                  <a:lnTo>
                    <a:pt x="953548" y="601409"/>
                  </a:lnTo>
                  <a:lnTo>
                    <a:pt x="964311" y="603028"/>
                  </a:lnTo>
                  <a:lnTo>
                    <a:pt x="983837" y="580930"/>
                  </a:lnTo>
                  <a:lnTo>
                    <a:pt x="995077" y="575596"/>
                  </a:lnTo>
                  <a:lnTo>
                    <a:pt x="1015079" y="591217"/>
                  </a:lnTo>
                  <a:lnTo>
                    <a:pt x="1036320" y="583216"/>
                  </a:lnTo>
                  <a:lnTo>
                    <a:pt x="1046512" y="583502"/>
                  </a:lnTo>
                  <a:lnTo>
                    <a:pt x="1052227" y="589979"/>
                  </a:lnTo>
                  <a:lnTo>
                    <a:pt x="1058990" y="593884"/>
                  </a:lnTo>
                  <a:lnTo>
                    <a:pt x="1062038" y="593503"/>
                  </a:lnTo>
                  <a:lnTo>
                    <a:pt x="1073182" y="594265"/>
                  </a:lnTo>
                  <a:lnTo>
                    <a:pt x="1079373" y="581216"/>
                  </a:lnTo>
                  <a:lnTo>
                    <a:pt x="1085564" y="577215"/>
                  </a:lnTo>
                  <a:lnTo>
                    <a:pt x="1090613" y="566261"/>
                  </a:lnTo>
                  <a:lnTo>
                    <a:pt x="1110901" y="554736"/>
                  </a:lnTo>
                  <a:lnTo>
                    <a:pt x="1114806" y="551402"/>
                  </a:lnTo>
                  <a:lnTo>
                    <a:pt x="1118711" y="550069"/>
                  </a:lnTo>
                  <a:lnTo>
                    <a:pt x="1122426" y="545306"/>
                  </a:lnTo>
                  <a:lnTo>
                    <a:pt x="1124998" y="541115"/>
                  </a:lnTo>
                  <a:lnTo>
                    <a:pt x="1127284" y="523970"/>
                  </a:lnTo>
                  <a:lnTo>
                    <a:pt x="1106424" y="500444"/>
                  </a:lnTo>
                  <a:close/>
                </a:path>
              </a:pathLst>
            </a:custGeom>
            <a:grpFill/>
            <a:ln w="9525" cap="sq">
              <a:noFill/>
              <a:prstDash val="solid"/>
              <a:bevel/>
            </a:ln>
          </p:spPr>
          <p:txBody>
            <a:bodyPr rtlCol="0" anchor="ctr"/>
            <a:lstStyle/>
            <a:p>
              <a:endParaRPr lang="cs-CZ"/>
            </a:p>
          </p:txBody>
        </p:sp>
        <p:sp>
          <p:nvSpPr>
            <p:cNvPr id="162" name="Freeform: Shape 161">
              <a:extLst>
                <a:ext uri="{FF2B5EF4-FFF2-40B4-BE49-F238E27FC236}">
                  <a16:creationId xmlns:a16="http://schemas.microsoft.com/office/drawing/2014/main" id="{2A9FA76C-9987-1816-3755-1D91A1F1C7E9}"/>
                </a:ext>
              </a:extLst>
            </p:cNvPr>
            <p:cNvSpPr/>
            <p:nvPr/>
          </p:nvSpPr>
          <p:spPr>
            <a:xfrm>
              <a:off x="8533778" y="6304119"/>
              <a:ext cx="1211103" cy="961263"/>
            </a:xfrm>
            <a:custGeom>
              <a:avLst/>
              <a:gdLst>
                <a:gd name="connsiteX0" fmla="*/ 1189863 w 1211103"/>
                <a:gd name="connsiteY0" fmla="*/ 831818 h 961263"/>
                <a:gd name="connsiteX1" fmla="*/ 1186339 w 1211103"/>
                <a:gd name="connsiteY1" fmla="*/ 828770 h 961263"/>
                <a:gd name="connsiteX2" fmla="*/ 1183196 w 1211103"/>
                <a:gd name="connsiteY2" fmla="*/ 823341 h 961263"/>
                <a:gd name="connsiteX3" fmla="*/ 1183577 w 1211103"/>
                <a:gd name="connsiteY3" fmla="*/ 821055 h 961263"/>
                <a:gd name="connsiteX4" fmla="*/ 1183100 w 1211103"/>
                <a:gd name="connsiteY4" fmla="*/ 813816 h 961263"/>
                <a:gd name="connsiteX5" fmla="*/ 1211104 w 1211103"/>
                <a:gd name="connsiteY5" fmla="*/ 809054 h 961263"/>
                <a:gd name="connsiteX6" fmla="*/ 1202722 w 1211103"/>
                <a:gd name="connsiteY6" fmla="*/ 801148 h 961263"/>
                <a:gd name="connsiteX7" fmla="*/ 1200245 w 1211103"/>
                <a:gd name="connsiteY7" fmla="*/ 797528 h 961263"/>
                <a:gd name="connsiteX8" fmla="*/ 1197578 w 1211103"/>
                <a:gd name="connsiteY8" fmla="*/ 794576 h 961263"/>
                <a:gd name="connsiteX9" fmla="*/ 1195673 w 1211103"/>
                <a:gd name="connsiteY9" fmla="*/ 791909 h 961263"/>
                <a:gd name="connsiteX10" fmla="*/ 1195769 w 1211103"/>
                <a:gd name="connsiteY10" fmla="*/ 788099 h 961263"/>
                <a:gd name="connsiteX11" fmla="*/ 1196912 w 1211103"/>
                <a:gd name="connsiteY11" fmla="*/ 784765 h 961263"/>
                <a:gd name="connsiteX12" fmla="*/ 1198816 w 1211103"/>
                <a:gd name="connsiteY12" fmla="*/ 780669 h 961263"/>
                <a:gd name="connsiteX13" fmla="*/ 1201960 w 1211103"/>
                <a:gd name="connsiteY13" fmla="*/ 775145 h 961263"/>
                <a:gd name="connsiteX14" fmla="*/ 1201769 w 1211103"/>
                <a:gd name="connsiteY14" fmla="*/ 767144 h 961263"/>
                <a:gd name="connsiteX15" fmla="*/ 1198340 w 1211103"/>
                <a:gd name="connsiteY15" fmla="*/ 759428 h 961263"/>
                <a:gd name="connsiteX16" fmla="*/ 1196054 w 1211103"/>
                <a:gd name="connsiteY16" fmla="*/ 750284 h 961263"/>
                <a:gd name="connsiteX17" fmla="*/ 1192721 w 1211103"/>
                <a:gd name="connsiteY17" fmla="*/ 744379 h 961263"/>
                <a:gd name="connsiteX18" fmla="*/ 1192435 w 1211103"/>
                <a:gd name="connsiteY18" fmla="*/ 738473 h 961263"/>
                <a:gd name="connsiteX19" fmla="*/ 1186625 w 1211103"/>
                <a:gd name="connsiteY19" fmla="*/ 732377 h 961263"/>
                <a:gd name="connsiteX20" fmla="*/ 1184815 w 1211103"/>
                <a:gd name="connsiteY20" fmla="*/ 722948 h 961263"/>
                <a:gd name="connsiteX21" fmla="*/ 1178814 w 1211103"/>
                <a:gd name="connsiteY21" fmla="*/ 726853 h 961263"/>
                <a:gd name="connsiteX22" fmla="*/ 1177290 w 1211103"/>
                <a:gd name="connsiteY22" fmla="*/ 727329 h 961263"/>
                <a:gd name="connsiteX23" fmla="*/ 1168813 w 1211103"/>
                <a:gd name="connsiteY23" fmla="*/ 725043 h 961263"/>
                <a:gd name="connsiteX24" fmla="*/ 1169003 w 1211103"/>
                <a:gd name="connsiteY24" fmla="*/ 731901 h 961263"/>
                <a:gd name="connsiteX25" fmla="*/ 1170051 w 1211103"/>
                <a:gd name="connsiteY25" fmla="*/ 735140 h 961263"/>
                <a:gd name="connsiteX26" fmla="*/ 1171004 w 1211103"/>
                <a:gd name="connsiteY26" fmla="*/ 740759 h 961263"/>
                <a:gd name="connsiteX27" fmla="*/ 1160907 w 1211103"/>
                <a:gd name="connsiteY27" fmla="*/ 755714 h 961263"/>
                <a:gd name="connsiteX28" fmla="*/ 1148906 w 1211103"/>
                <a:gd name="connsiteY28" fmla="*/ 763810 h 961263"/>
                <a:gd name="connsiteX29" fmla="*/ 1139762 w 1211103"/>
                <a:gd name="connsiteY29" fmla="*/ 760857 h 961263"/>
                <a:gd name="connsiteX30" fmla="*/ 1139476 w 1211103"/>
                <a:gd name="connsiteY30" fmla="*/ 756190 h 961263"/>
                <a:gd name="connsiteX31" fmla="*/ 1138904 w 1211103"/>
                <a:gd name="connsiteY31" fmla="*/ 752666 h 961263"/>
                <a:gd name="connsiteX32" fmla="*/ 1137761 w 1211103"/>
                <a:gd name="connsiteY32" fmla="*/ 747903 h 961263"/>
                <a:gd name="connsiteX33" fmla="*/ 1135571 w 1211103"/>
                <a:gd name="connsiteY33" fmla="*/ 742760 h 961263"/>
                <a:gd name="connsiteX34" fmla="*/ 1132808 w 1211103"/>
                <a:gd name="connsiteY34" fmla="*/ 737902 h 961263"/>
                <a:gd name="connsiteX35" fmla="*/ 1128617 w 1211103"/>
                <a:gd name="connsiteY35" fmla="*/ 735140 h 961263"/>
                <a:gd name="connsiteX36" fmla="*/ 1122236 w 1211103"/>
                <a:gd name="connsiteY36" fmla="*/ 735330 h 961263"/>
                <a:gd name="connsiteX37" fmla="*/ 1105376 w 1211103"/>
                <a:gd name="connsiteY37" fmla="*/ 744188 h 961263"/>
                <a:gd name="connsiteX38" fmla="*/ 1101757 w 1211103"/>
                <a:gd name="connsiteY38" fmla="*/ 748665 h 961263"/>
                <a:gd name="connsiteX39" fmla="*/ 1096708 w 1211103"/>
                <a:gd name="connsiteY39" fmla="*/ 752761 h 961263"/>
                <a:gd name="connsiteX40" fmla="*/ 1094804 w 1211103"/>
                <a:gd name="connsiteY40" fmla="*/ 756761 h 961263"/>
                <a:gd name="connsiteX41" fmla="*/ 1091089 w 1211103"/>
                <a:gd name="connsiteY41" fmla="*/ 760000 h 961263"/>
                <a:gd name="connsiteX42" fmla="*/ 1090803 w 1211103"/>
                <a:gd name="connsiteY42" fmla="*/ 762191 h 961263"/>
                <a:gd name="connsiteX43" fmla="*/ 1091470 w 1211103"/>
                <a:gd name="connsiteY43" fmla="*/ 763905 h 961263"/>
                <a:gd name="connsiteX44" fmla="*/ 1092708 w 1211103"/>
                <a:gd name="connsiteY44" fmla="*/ 765524 h 961263"/>
                <a:gd name="connsiteX45" fmla="*/ 1085850 w 1211103"/>
                <a:gd name="connsiteY45" fmla="*/ 765905 h 961263"/>
                <a:gd name="connsiteX46" fmla="*/ 1050322 w 1211103"/>
                <a:gd name="connsiteY46" fmla="*/ 754190 h 961263"/>
                <a:gd name="connsiteX47" fmla="*/ 1048512 w 1211103"/>
                <a:gd name="connsiteY47" fmla="*/ 733330 h 961263"/>
                <a:gd name="connsiteX48" fmla="*/ 1052227 w 1211103"/>
                <a:gd name="connsiteY48" fmla="*/ 726662 h 961263"/>
                <a:gd name="connsiteX49" fmla="*/ 1059942 w 1211103"/>
                <a:gd name="connsiteY49" fmla="*/ 719995 h 961263"/>
                <a:gd name="connsiteX50" fmla="*/ 1060514 w 1211103"/>
                <a:gd name="connsiteY50" fmla="*/ 708755 h 961263"/>
                <a:gd name="connsiteX51" fmla="*/ 1053179 w 1211103"/>
                <a:gd name="connsiteY51" fmla="*/ 695325 h 961263"/>
                <a:gd name="connsiteX52" fmla="*/ 1046512 w 1211103"/>
                <a:gd name="connsiteY52" fmla="*/ 681895 h 961263"/>
                <a:gd name="connsiteX53" fmla="*/ 1060514 w 1211103"/>
                <a:gd name="connsiteY53" fmla="*/ 670655 h 961263"/>
                <a:gd name="connsiteX54" fmla="*/ 1048322 w 1211103"/>
                <a:gd name="connsiteY54" fmla="*/ 654939 h 961263"/>
                <a:gd name="connsiteX55" fmla="*/ 1038606 w 1211103"/>
                <a:gd name="connsiteY55" fmla="*/ 640366 h 961263"/>
                <a:gd name="connsiteX56" fmla="*/ 1048322 w 1211103"/>
                <a:gd name="connsiteY56" fmla="*/ 639223 h 961263"/>
                <a:gd name="connsiteX57" fmla="*/ 1062323 w 1211103"/>
                <a:gd name="connsiteY57" fmla="*/ 634746 h 961263"/>
                <a:gd name="connsiteX58" fmla="*/ 1070896 w 1211103"/>
                <a:gd name="connsiteY58" fmla="*/ 623507 h 961263"/>
                <a:gd name="connsiteX59" fmla="*/ 1077563 w 1211103"/>
                <a:gd name="connsiteY59" fmla="*/ 614553 h 961263"/>
                <a:gd name="connsiteX60" fmla="*/ 1068419 w 1211103"/>
                <a:gd name="connsiteY60" fmla="*/ 602171 h 961263"/>
                <a:gd name="connsiteX61" fmla="*/ 1064228 w 1211103"/>
                <a:gd name="connsiteY61" fmla="*/ 588645 h 961263"/>
                <a:gd name="connsiteX62" fmla="*/ 1061752 w 1211103"/>
                <a:gd name="connsiteY62" fmla="*/ 570643 h 961263"/>
                <a:gd name="connsiteX63" fmla="*/ 1056799 w 1211103"/>
                <a:gd name="connsiteY63" fmla="*/ 556070 h 961263"/>
                <a:gd name="connsiteX64" fmla="*/ 1048893 w 1211103"/>
                <a:gd name="connsiteY64" fmla="*/ 551593 h 961263"/>
                <a:gd name="connsiteX65" fmla="*/ 1035558 w 1211103"/>
                <a:gd name="connsiteY65" fmla="*/ 551593 h 961263"/>
                <a:gd name="connsiteX66" fmla="*/ 1030033 w 1211103"/>
                <a:gd name="connsiteY66" fmla="*/ 541401 h 961263"/>
                <a:gd name="connsiteX67" fmla="*/ 1013555 w 1211103"/>
                <a:gd name="connsiteY67" fmla="*/ 545878 h 961263"/>
                <a:gd name="connsiteX68" fmla="*/ 987361 w 1211103"/>
                <a:gd name="connsiteY68" fmla="*/ 548164 h 961263"/>
                <a:gd name="connsiteX69" fmla="*/ 968693 w 1211103"/>
                <a:gd name="connsiteY69" fmla="*/ 542449 h 961263"/>
                <a:gd name="connsiteX70" fmla="*/ 971264 w 1211103"/>
                <a:gd name="connsiteY70" fmla="*/ 533972 h 961263"/>
                <a:gd name="connsiteX71" fmla="*/ 972217 w 1211103"/>
                <a:gd name="connsiteY71" fmla="*/ 527114 h 961263"/>
                <a:gd name="connsiteX72" fmla="*/ 969740 w 1211103"/>
                <a:gd name="connsiteY72" fmla="*/ 519303 h 961263"/>
                <a:gd name="connsiteX73" fmla="*/ 961739 w 1211103"/>
                <a:gd name="connsiteY73" fmla="*/ 511302 h 961263"/>
                <a:gd name="connsiteX74" fmla="*/ 955072 w 1211103"/>
                <a:gd name="connsiteY74" fmla="*/ 501777 h 961263"/>
                <a:gd name="connsiteX75" fmla="*/ 951452 w 1211103"/>
                <a:gd name="connsiteY75" fmla="*/ 497015 h 961263"/>
                <a:gd name="connsiteX76" fmla="*/ 951643 w 1211103"/>
                <a:gd name="connsiteY76" fmla="*/ 494824 h 961263"/>
                <a:gd name="connsiteX77" fmla="*/ 955929 w 1211103"/>
                <a:gd name="connsiteY77" fmla="*/ 490061 h 961263"/>
                <a:gd name="connsiteX78" fmla="*/ 956977 w 1211103"/>
                <a:gd name="connsiteY78" fmla="*/ 487013 h 961263"/>
                <a:gd name="connsiteX79" fmla="*/ 957072 w 1211103"/>
                <a:gd name="connsiteY79" fmla="*/ 483680 h 961263"/>
                <a:gd name="connsiteX80" fmla="*/ 948404 w 1211103"/>
                <a:gd name="connsiteY80" fmla="*/ 476822 h 961263"/>
                <a:gd name="connsiteX81" fmla="*/ 947547 w 1211103"/>
                <a:gd name="connsiteY81" fmla="*/ 472726 h 961263"/>
                <a:gd name="connsiteX82" fmla="*/ 944404 w 1211103"/>
                <a:gd name="connsiteY82" fmla="*/ 467201 h 961263"/>
                <a:gd name="connsiteX83" fmla="*/ 938022 w 1211103"/>
                <a:gd name="connsiteY83" fmla="*/ 451199 h 961263"/>
                <a:gd name="connsiteX84" fmla="*/ 929164 w 1211103"/>
                <a:gd name="connsiteY84" fmla="*/ 434721 h 961263"/>
                <a:gd name="connsiteX85" fmla="*/ 916877 w 1211103"/>
                <a:gd name="connsiteY85" fmla="*/ 423196 h 961263"/>
                <a:gd name="connsiteX86" fmla="*/ 916686 w 1211103"/>
                <a:gd name="connsiteY86" fmla="*/ 419100 h 961263"/>
                <a:gd name="connsiteX87" fmla="*/ 921830 w 1211103"/>
                <a:gd name="connsiteY87" fmla="*/ 417767 h 961263"/>
                <a:gd name="connsiteX88" fmla="*/ 935069 w 1211103"/>
                <a:gd name="connsiteY88" fmla="*/ 422720 h 961263"/>
                <a:gd name="connsiteX89" fmla="*/ 946404 w 1211103"/>
                <a:gd name="connsiteY89" fmla="*/ 422053 h 961263"/>
                <a:gd name="connsiteX90" fmla="*/ 950690 w 1211103"/>
                <a:gd name="connsiteY90" fmla="*/ 416433 h 961263"/>
                <a:gd name="connsiteX91" fmla="*/ 987076 w 1211103"/>
                <a:gd name="connsiteY91" fmla="*/ 393287 h 961263"/>
                <a:gd name="connsiteX92" fmla="*/ 990410 w 1211103"/>
                <a:gd name="connsiteY92" fmla="*/ 387191 h 961263"/>
                <a:gd name="connsiteX93" fmla="*/ 995934 w 1211103"/>
                <a:gd name="connsiteY93" fmla="*/ 382715 h 961263"/>
                <a:gd name="connsiteX94" fmla="*/ 999649 w 1211103"/>
                <a:gd name="connsiteY94" fmla="*/ 376428 h 961263"/>
                <a:gd name="connsiteX95" fmla="*/ 1012507 w 1211103"/>
                <a:gd name="connsiteY95" fmla="*/ 371570 h 961263"/>
                <a:gd name="connsiteX96" fmla="*/ 1015460 w 1211103"/>
                <a:gd name="connsiteY96" fmla="*/ 364998 h 961263"/>
                <a:gd name="connsiteX97" fmla="*/ 1018889 w 1211103"/>
                <a:gd name="connsiteY97" fmla="*/ 360426 h 961263"/>
                <a:gd name="connsiteX98" fmla="*/ 1025747 w 1211103"/>
                <a:gd name="connsiteY98" fmla="*/ 358997 h 961263"/>
                <a:gd name="connsiteX99" fmla="*/ 1028986 w 1211103"/>
                <a:gd name="connsiteY99" fmla="*/ 356426 h 961263"/>
                <a:gd name="connsiteX100" fmla="*/ 1028700 w 1211103"/>
                <a:gd name="connsiteY100" fmla="*/ 353854 h 961263"/>
                <a:gd name="connsiteX101" fmla="*/ 1026224 w 1211103"/>
                <a:gd name="connsiteY101" fmla="*/ 351282 h 961263"/>
                <a:gd name="connsiteX102" fmla="*/ 1020699 w 1211103"/>
                <a:gd name="connsiteY102" fmla="*/ 349949 h 961263"/>
                <a:gd name="connsiteX103" fmla="*/ 1015746 w 1211103"/>
                <a:gd name="connsiteY103" fmla="*/ 350615 h 961263"/>
                <a:gd name="connsiteX104" fmla="*/ 1013365 w 1211103"/>
                <a:gd name="connsiteY104" fmla="*/ 348901 h 961263"/>
                <a:gd name="connsiteX105" fmla="*/ 1013079 w 1211103"/>
                <a:gd name="connsiteY105" fmla="*/ 347663 h 961263"/>
                <a:gd name="connsiteX106" fmla="*/ 1014794 w 1211103"/>
                <a:gd name="connsiteY106" fmla="*/ 345853 h 961263"/>
                <a:gd name="connsiteX107" fmla="*/ 1014794 w 1211103"/>
                <a:gd name="connsiteY107" fmla="*/ 341376 h 961263"/>
                <a:gd name="connsiteX108" fmla="*/ 1012793 w 1211103"/>
                <a:gd name="connsiteY108" fmla="*/ 333470 h 961263"/>
                <a:gd name="connsiteX109" fmla="*/ 1003459 w 1211103"/>
                <a:gd name="connsiteY109" fmla="*/ 318992 h 961263"/>
                <a:gd name="connsiteX110" fmla="*/ 996506 w 1211103"/>
                <a:gd name="connsiteY110" fmla="*/ 314039 h 961263"/>
                <a:gd name="connsiteX111" fmla="*/ 988695 w 1211103"/>
                <a:gd name="connsiteY111" fmla="*/ 312801 h 961263"/>
                <a:gd name="connsiteX112" fmla="*/ 968693 w 1211103"/>
                <a:gd name="connsiteY112" fmla="*/ 318230 h 961263"/>
                <a:gd name="connsiteX113" fmla="*/ 962120 w 1211103"/>
                <a:gd name="connsiteY113" fmla="*/ 318707 h 961263"/>
                <a:gd name="connsiteX114" fmla="*/ 953833 w 1211103"/>
                <a:gd name="connsiteY114" fmla="*/ 310420 h 961263"/>
                <a:gd name="connsiteX115" fmla="*/ 948023 w 1211103"/>
                <a:gd name="connsiteY115" fmla="*/ 298895 h 961263"/>
                <a:gd name="connsiteX116" fmla="*/ 948595 w 1211103"/>
                <a:gd name="connsiteY116" fmla="*/ 268605 h 961263"/>
                <a:gd name="connsiteX117" fmla="*/ 969264 w 1211103"/>
                <a:gd name="connsiteY117" fmla="*/ 277844 h 961263"/>
                <a:gd name="connsiteX118" fmla="*/ 981647 w 1211103"/>
                <a:gd name="connsiteY118" fmla="*/ 265938 h 961263"/>
                <a:gd name="connsiteX119" fmla="*/ 991457 w 1211103"/>
                <a:gd name="connsiteY119" fmla="*/ 260033 h 961263"/>
                <a:gd name="connsiteX120" fmla="*/ 994791 w 1211103"/>
                <a:gd name="connsiteY120" fmla="*/ 260509 h 961263"/>
                <a:gd name="connsiteX121" fmla="*/ 996982 w 1211103"/>
                <a:gd name="connsiteY121" fmla="*/ 260318 h 961263"/>
                <a:gd name="connsiteX122" fmla="*/ 1002220 w 1211103"/>
                <a:gd name="connsiteY122" fmla="*/ 258794 h 961263"/>
                <a:gd name="connsiteX123" fmla="*/ 1004126 w 1211103"/>
                <a:gd name="connsiteY123" fmla="*/ 259366 h 961263"/>
                <a:gd name="connsiteX124" fmla="*/ 1005554 w 1211103"/>
                <a:gd name="connsiteY124" fmla="*/ 261652 h 961263"/>
                <a:gd name="connsiteX125" fmla="*/ 1007650 w 1211103"/>
                <a:gd name="connsiteY125" fmla="*/ 264605 h 961263"/>
                <a:gd name="connsiteX126" fmla="*/ 1011269 w 1211103"/>
                <a:gd name="connsiteY126" fmla="*/ 267748 h 961263"/>
                <a:gd name="connsiteX127" fmla="*/ 1018794 w 1211103"/>
                <a:gd name="connsiteY127" fmla="*/ 269177 h 961263"/>
                <a:gd name="connsiteX128" fmla="*/ 1021175 w 1211103"/>
                <a:gd name="connsiteY128" fmla="*/ 267367 h 961263"/>
                <a:gd name="connsiteX129" fmla="*/ 1027748 w 1211103"/>
                <a:gd name="connsiteY129" fmla="*/ 264890 h 961263"/>
                <a:gd name="connsiteX130" fmla="*/ 1027176 w 1211103"/>
                <a:gd name="connsiteY130" fmla="*/ 261747 h 961263"/>
                <a:gd name="connsiteX131" fmla="*/ 1024319 w 1211103"/>
                <a:gd name="connsiteY131" fmla="*/ 258413 h 961263"/>
                <a:gd name="connsiteX132" fmla="*/ 1019365 w 1211103"/>
                <a:gd name="connsiteY132" fmla="*/ 251555 h 961263"/>
                <a:gd name="connsiteX133" fmla="*/ 1018985 w 1211103"/>
                <a:gd name="connsiteY133" fmla="*/ 248412 h 961263"/>
                <a:gd name="connsiteX134" fmla="*/ 1020890 w 1211103"/>
                <a:gd name="connsiteY134" fmla="*/ 246602 h 961263"/>
                <a:gd name="connsiteX135" fmla="*/ 1031272 w 1211103"/>
                <a:gd name="connsiteY135" fmla="*/ 247936 h 961263"/>
                <a:gd name="connsiteX136" fmla="*/ 1027938 w 1211103"/>
                <a:gd name="connsiteY136" fmla="*/ 232315 h 961263"/>
                <a:gd name="connsiteX137" fmla="*/ 1030795 w 1211103"/>
                <a:gd name="connsiteY137" fmla="*/ 222314 h 961263"/>
                <a:gd name="connsiteX138" fmla="*/ 1026795 w 1211103"/>
                <a:gd name="connsiteY138" fmla="*/ 216027 h 961263"/>
                <a:gd name="connsiteX139" fmla="*/ 1024223 w 1211103"/>
                <a:gd name="connsiteY139" fmla="*/ 209455 h 961263"/>
                <a:gd name="connsiteX140" fmla="*/ 1024414 w 1211103"/>
                <a:gd name="connsiteY140" fmla="*/ 203168 h 961263"/>
                <a:gd name="connsiteX141" fmla="*/ 1026033 w 1211103"/>
                <a:gd name="connsiteY141" fmla="*/ 198311 h 961263"/>
                <a:gd name="connsiteX142" fmla="*/ 1028700 w 1211103"/>
                <a:gd name="connsiteY142" fmla="*/ 193929 h 961263"/>
                <a:gd name="connsiteX143" fmla="*/ 1030129 w 1211103"/>
                <a:gd name="connsiteY143" fmla="*/ 190976 h 961263"/>
                <a:gd name="connsiteX144" fmla="*/ 1033177 w 1211103"/>
                <a:gd name="connsiteY144" fmla="*/ 187547 h 961263"/>
                <a:gd name="connsiteX145" fmla="*/ 1027271 w 1211103"/>
                <a:gd name="connsiteY145" fmla="*/ 174308 h 961263"/>
                <a:gd name="connsiteX146" fmla="*/ 1024890 w 1211103"/>
                <a:gd name="connsiteY146" fmla="*/ 164783 h 961263"/>
                <a:gd name="connsiteX147" fmla="*/ 1001554 w 1211103"/>
                <a:gd name="connsiteY147" fmla="*/ 143351 h 961263"/>
                <a:gd name="connsiteX148" fmla="*/ 997649 w 1211103"/>
                <a:gd name="connsiteY148" fmla="*/ 139827 h 961263"/>
                <a:gd name="connsiteX149" fmla="*/ 981361 w 1211103"/>
                <a:gd name="connsiteY149" fmla="*/ 134779 h 961263"/>
                <a:gd name="connsiteX150" fmla="*/ 976598 w 1211103"/>
                <a:gd name="connsiteY150" fmla="*/ 140780 h 961263"/>
                <a:gd name="connsiteX151" fmla="*/ 973741 w 1211103"/>
                <a:gd name="connsiteY151" fmla="*/ 128016 h 961263"/>
                <a:gd name="connsiteX152" fmla="*/ 972122 w 1211103"/>
                <a:gd name="connsiteY152" fmla="*/ 127254 h 961263"/>
                <a:gd name="connsiteX153" fmla="*/ 970693 w 1211103"/>
                <a:gd name="connsiteY153" fmla="*/ 126873 h 961263"/>
                <a:gd name="connsiteX154" fmla="*/ 968693 w 1211103"/>
                <a:gd name="connsiteY154" fmla="*/ 128016 h 961263"/>
                <a:gd name="connsiteX155" fmla="*/ 966026 w 1211103"/>
                <a:gd name="connsiteY155" fmla="*/ 128302 h 961263"/>
                <a:gd name="connsiteX156" fmla="*/ 959453 w 1211103"/>
                <a:gd name="connsiteY156" fmla="*/ 125730 h 961263"/>
                <a:gd name="connsiteX157" fmla="*/ 956310 w 1211103"/>
                <a:gd name="connsiteY157" fmla="*/ 122206 h 961263"/>
                <a:gd name="connsiteX158" fmla="*/ 954119 w 1211103"/>
                <a:gd name="connsiteY158" fmla="*/ 118015 h 961263"/>
                <a:gd name="connsiteX159" fmla="*/ 953262 w 1211103"/>
                <a:gd name="connsiteY159" fmla="*/ 109061 h 961263"/>
                <a:gd name="connsiteX160" fmla="*/ 951071 w 1211103"/>
                <a:gd name="connsiteY160" fmla="*/ 98012 h 961263"/>
                <a:gd name="connsiteX161" fmla="*/ 950024 w 1211103"/>
                <a:gd name="connsiteY161" fmla="*/ 88487 h 961263"/>
                <a:gd name="connsiteX162" fmla="*/ 949357 w 1211103"/>
                <a:gd name="connsiteY162" fmla="*/ 79534 h 961263"/>
                <a:gd name="connsiteX163" fmla="*/ 950024 w 1211103"/>
                <a:gd name="connsiteY163" fmla="*/ 75629 h 961263"/>
                <a:gd name="connsiteX164" fmla="*/ 948785 w 1211103"/>
                <a:gd name="connsiteY164" fmla="*/ 72771 h 961263"/>
                <a:gd name="connsiteX165" fmla="*/ 945452 w 1211103"/>
                <a:gd name="connsiteY165" fmla="*/ 69056 h 961263"/>
                <a:gd name="connsiteX166" fmla="*/ 941832 w 1211103"/>
                <a:gd name="connsiteY166" fmla="*/ 67437 h 961263"/>
                <a:gd name="connsiteX167" fmla="*/ 933355 w 1211103"/>
                <a:gd name="connsiteY167" fmla="*/ 66961 h 961263"/>
                <a:gd name="connsiteX168" fmla="*/ 927640 w 1211103"/>
                <a:gd name="connsiteY168" fmla="*/ 8858 h 961263"/>
                <a:gd name="connsiteX169" fmla="*/ 927545 w 1211103"/>
                <a:gd name="connsiteY169" fmla="*/ 7620 h 961263"/>
                <a:gd name="connsiteX170" fmla="*/ 923449 w 1211103"/>
                <a:gd name="connsiteY170" fmla="*/ 11430 h 961263"/>
                <a:gd name="connsiteX171" fmla="*/ 913257 w 1211103"/>
                <a:gd name="connsiteY171" fmla="*/ 9716 h 961263"/>
                <a:gd name="connsiteX172" fmla="*/ 903161 w 1211103"/>
                <a:gd name="connsiteY172" fmla="*/ 3143 h 961263"/>
                <a:gd name="connsiteX173" fmla="*/ 890969 w 1211103"/>
                <a:gd name="connsiteY173" fmla="*/ 0 h 961263"/>
                <a:gd name="connsiteX174" fmla="*/ 885253 w 1211103"/>
                <a:gd name="connsiteY174" fmla="*/ 7620 h 961263"/>
                <a:gd name="connsiteX175" fmla="*/ 878110 w 1211103"/>
                <a:gd name="connsiteY175" fmla="*/ 27908 h 961263"/>
                <a:gd name="connsiteX176" fmla="*/ 872014 w 1211103"/>
                <a:gd name="connsiteY176" fmla="*/ 32766 h 961263"/>
                <a:gd name="connsiteX177" fmla="*/ 848392 w 1211103"/>
                <a:gd name="connsiteY177" fmla="*/ 35433 h 961263"/>
                <a:gd name="connsiteX178" fmla="*/ 832199 w 1211103"/>
                <a:gd name="connsiteY178" fmla="*/ 33909 h 961263"/>
                <a:gd name="connsiteX179" fmla="*/ 821055 w 1211103"/>
                <a:gd name="connsiteY179" fmla="*/ 32861 h 961263"/>
                <a:gd name="connsiteX180" fmla="*/ 813245 w 1211103"/>
                <a:gd name="connsiteY180" fmla="*/ 34576 h 961263"/>
                <a:gd name="connsiteX181" fmla="*/ 792766 w 1211103"/>
                <a:gd name="connsiteY181" fmla="*/ 53531 h 961263"/>
                <a:gd name="connsiteX182" fmla="*/ 777335 w 1211103"/>
                <a:gd name="connsiteY182" fmla="*/ 61722 h 961263"/>
                <a:gd name="connsiteX183" fmla="*/ 772478 w 1211103"/>
                <a:gd name="connsiteY183" fmla="*/ 67342 h 961263"/>
                <a:gd name="connsiteX184" fmla="*/ 766096 w 1211103"/>
                <a:gd name="connsiteY184" fmla="*/ 84773 h 961263"/>
                <a:gd name="connsiteX185" fmla="*/ 761714 w 1211103"/>
                <a:gd name="connsiteY185" fmla="*/ 92202 h 961263"/>
                <a:gd name="connsiteX186" fmla="*/ 752665 w 1211103"/>
                <a:gd name="connsiteY186" fmla="*/ 97345 h 961263"/>
                <a:gd name="connsiteX187" fmla="*/ 741521 w 1211103"/>
                <a:gd name="connsiteY187" fmla="*/ 97917 h 961263"/>
                <a:gd name="connsiteX188" fmla="*/ 724567 w 1211103"/>
                <a:gd name="connsiteY188" fmla="*/ 90964 h 961263"/>
                <a:gd name="connsiteX189" fmla="*/ 720661 w 1211103"/>
                <a:gd name="connsiteY189" fmla="*/ 98869 h 961263"/>
                <a:gd name="connsiteX190" fmla="*/ 717804 w 1211103"/>
                <a:gd name="connsiteY190" fmla="*/ 107728 h 961263"/>
                <a:gd name="connsiteX191" fmla="*/ 716756 w 1211103"/>
                <a:gd name="connsiteY191" fmla="*/ 116967 h 961263"/>
                <a:gd name="connsiteX192" fmla="*/ 717804 w 1211103"/>
                <a:gd name="connsiteY192" fmla="*/ 134303 h 961263"/>
                <a:gd name="connsiteX193" fmla="*/ 721995 w 1211103"/>
                <a:gd name="connsiteY193" fmla="*/ 168593 h 961263"/>
                <a:gd name="connsiteX194" fmla="*/ 721995 w 1211103"/>
                <a:gd name="connsiteY194" fmla="*/ 181832 h 961263"/>
                <a:gd name="connsiteX195" fmla="*/ 727520 w 1211103"/>
                <a:gd name="connsiteY195" fmla="*/ 195548 h 961263"/>
                <a:gd name="connsiteX196" fmla="*/ 744665 w 1211103"/>
                <a:gd name="connsiteY196" fmla="*/ 224314 h 961263"/>
                <a:gd name="connsiteX197" fmla="*/ 746760 w 1211103"/>
                <a:gd name="connsiteY197" fmla="*/ 234029 h 961263"/>
                <a:gd name="connsiteX198" fmla="*/ 751332 w 1211103"/>
                <a:gd name="connsiteY198" fmla="*/ 276797 h 961263"/>
                <a:gd name="connsiteX199" fmla="*/ 746665 w 1211103"/>
                <a:gd name="connsiteY199" fmla="*/ 303562 h 961263"/>
                <a:gd name="connsiteX200" fmla="*/ 745045 w 1211103"/>
                <a:gd name="connsiteY200" fmla="*/ 322612 h 961263"/>
                <a:gd name="connsiteX201" fmla="*/ 747332 w 1211103"/>
                <a:gd name="connsiteY201" fmla="*/ 331280 h 961263"/>
                <a:gd name="connsiteX202" fmla="*/ 751427 w 1211103"/>
                <a:gd name="connsiteY202" fmla="*/ 338423 h 961263"/>
                <a:gd name="connsiteX203" fmla="*/ 753332 w 1211103"/>
                <a:gd name="connsiteY203" fmla="*/ 354425 h 961263"/>
                <a:gd name="connsiteX204" fmla="*/ 753999 w 1211103"/>
                <a:gd name="connsiteY204" fmla="*/ 381286 h 961263"/>
                <a:gd name="connsiteX205" fmla="*/ 759143 w 1211103"/>
                <a:gd name="connsiteY205" fmla="*/ 431483 h 961263"/>
                <a:gd name="connsiteX206" fmla="*/ 763048 w 1211103"/>
                <a:gd name="connsiteY206" fmla="*/ 469011 h 961263"/>
                <a:gd name="connsiteX207" fmla="*/ 763238 w 1211103"/>
                <a:gd name="connsiteY207" fmla="*/ 471583 h 961263"/>
                <a:gd name="connsiteX208" fmla="*/ 764572 w 1211103"/>
                <a:gd name="connsiteY208" fmla="*/ 505016 h 961263"/>
                <a:gd name="connsiteX209" fmla="*/ 761333 w 1211103"/>
                <a:gd name="connsiteY209" fmla="*/ 533876 h 961263"/>
                <a:gd name="connsiteX210" fmla="*/ 753047 w 1211103"/>
                <a:gd name="connsiteY210" fmla="*/ 553974 h 961263"/>
                <a:gd name="connsiteX211" fmla="*/ 734187 w 1211103"/>
                <a:gd name="connsiteY211" fmla="*/ 575786 h 961263"/>
                <a:gd name="connsiteX212" fmla="*/ 727139 w 1211103"/>
                <a:gd name="connsiteY212" fmla="*/ 584073 h 961263"/>
                <a:gd name="connsiteX213" fmla="*/ 717804 w 1211103"/>
                <a:gd name="connsiteY213" fmla="*/ 590836 h 961263"/>
                <a:gd name="connsiteX214" fmla="*/ 713899 w 1211103"/>
                <a:gd name="connsiteY214" fmla="*/ 595979 h 961263"/>
                <a:gd name="connsiteX215" fmla="*/ 713803 w 1211103"/>
                <a:gd name="connsiteY215" fmla="*/ 603599 h 961263"/>
                <a:gd name="connsiteX216" fmla="*/ 707136 w 1211103"/>
                <a:gd name="connsiteY216" fmla="*/ 606266 h 961263"/>
                <a:gd name="connsiteX217" fmla="*/ 698278 w 1211103"/>
                <a:gd name="connsiteY217" fmla="*/ 611886 h 961263"/>
                <a:gd name="connsiteX218" fmla="*/ 690753 w 1211103"/>
                <a:gd name="connsiteY218" fmla="*/ 620173 h 961263"/>
                <a:gd name="connsiteX219" fmla="*/ 687419 w 1211103"/>
                <a:gd name="connsiteY219" fmla="*/ 630460 h 961263"/>
                <a:gd name="connsiteX220" fmla="*/ 649415 w 1211103"/>
                <a:gd name="connsiteY220" fmla="*/ 655511 h 961263"/>
                <a:gd name="connsiteX221" fmla="*/ 634365 w 1211103"/>
                <a:gd name="connsiteY221" fmla="*/ 665417 h 961263"/>
                <a:gd name="connsiteX222" fmla="*/ 619220 w 1211103"/>
                <a:gd name="connsiteY222" fmla="*/ 669703 h 961263"/>
                <a:gd name="connsiteX223" fmla="*/ 613982 w 1211103"/>
                <a:gd name="connsiteY223" fmla="*/ 676751 h 961263"/>
                <a:gd name="connsiteX224" fmla="*/ 609029 w 1211103"/>
                <a:gd name="connsiteY224" fmla="*/ 686372 h 961263"/>
                <a:gd name="connsiteX225" fmla="*/ 601980 w 1211103"/>
                <a:gd name="connsiteY225" fmla="*/ 696659 h 961263"/>
                <a:gd name="connsiteX226" fmla="*/ 587026 w 1211103"/>
                <a:gd name="connsiteY226" fmla="*/ 709517 h 961263"/>
                <a:gd name="connsiteX227" fmla="*/ 576929 w 1211103"/>
                <a:gd name="connsiteY227" fmla="*/ 714470 h 961263"/>
                <a:gd name="connsiteX228" fmla="*/ 553212 w 1211103"/>
                <a:gd name="connsiteY228" fmla="*/ 726091 h 961263"/>
                <a:gd name="connsiteX229" fmla="*/ 486632 w 1211103"/>
                <a:gd name="connsiteY229" fmla="*/ 742379 h 961263"/>
                <a:gd name="connsiteX230" fmla="*/ 462058 w 1211103"/>
                <a:gd name="connsiteY230" fmla="*/ 739807 h 961263"/>
                <a:gd name="connsiteX231" fmla="*/ 443865 w 1211103"/>
                <a:gd name="connsiteY231" fmla="*/ 733997 h 961263"/>
                <a:gd name="connsiteX232" fmla="*/ 441293 w 1211103"/>
                <a:gd name="connsiteY232" fmla="*/ 731806 h 961263"/>
                <a:gd name="connsiteX233" fmla="*/ 437769 w 1211103"/>
                <a:gd name="connsiteY233" fmla="*/ 728853 h 961263"/>
                <a:gd name="connsiteX234" fmla="*/ 418814 w 1211103"/>
                <a:gd name="connsiteY234" fmla="*/ 700754 h 961263"/>
                <a:gd name="connsiteX235" fmla="*/ 414052 w 1211103"/>
                <a:gd name="connsiteY235" fmla="*/ 696659 h 961263"/>
                <a:gd name="connsiteX236" fmla="*/ 380619 w 1211103"/>
                <a:gd name="connsiteY236" fmla="*/ 690277 h 961263"/>
                <a:gd name="connsiteX237" fmla="*/ 348425 w 1211103"/>
                <a:gd name="connsiteY237" fmla="*/ 677132 h 961263"/>
                <a:gd name="connsiteX238" fmla="*/ 329946 w 1211103"/>
                <a:gd name="connsiteY238" fmla="*/ 655415 h 961263"/>
                <a:gd name="connsiteX239" fmla="*/ 322993 w 1211103"/>
                <a:gd name="connsiteY239" fmla="*/ 652653 h 961263"/>
                <a:gd name="connsiteX240" fmla="*/ 317563 w 1211103"/>
                <a:gd name="connsiteY240" fmla="*/ 648176 h 961263"/>
                <a:gd name="connsiteX241" fmla="*/ 313563 w 1211103"/>
                <a:gd name="connsiteY241" fmla="*/ 637032 h 961263"/>
                <a:gd name="connsiteX242" fmla="*/ 302609 w 1211103"/>
                <a:gd name="connsiteY242" fmla="*/ 570643 h 961263"/>
                <a:gd name="connsiteX243" fmla="*/ 299180 w 1211103"/>
                <a:gd name="connsiteY243" fmla="*/ 563975 h 961263"/>
                <a:gd name="connsiteX244" fmla="*/ 293370 w 1211103"/>
                <a:gd name="connsiteY244" fmla="*/ 558260 h 961263"/>
                <a:gd name="connsiteX245" fmla="*/ 290036 w 1211103"/>
                <a:gd name="connsiteY245" fmla="*/ 545116 h 961263"/>
                <a:gd name="connsiteX246" fmla="*/ 286988 w 1211103"/>
                <a:gd name="connsiteY246" fmla="*/ 519779 h 961263"/>
                <a:gd name="connsiteX247" fmla="*/ 283940 w 1211103"/>
                <a:gd name="connsiteY247" fmla="*/ 505587 h 961263"/>
                <a:gd name="connsiteX248" fmla="*/ 280035 w 1211103"/>
                <a:gd name="connsiteY248" fmla="*/ 493776 h 961263"/>
                <a:gd name="connsiteX249" fmla="*/ 278321 w 1211103"/>
                <a:gd name="connsiteY249" fmla="*/ 490252 h 961263"/>
                <a:gd name="connsiteX250" fmla="*/ 265843 w 1211103"/>
                <a:gd name="connsiteY250" fmla="*/ 494824 h 961263"/>
                <a:gd name="connsiteX251" fmla="*/ 263081 w 1211103"/>
                <a:gd name="connsiteY251" fmla="*/ 499967 h 961263"/>
                <a:gd name="connsiteX252" fmla="*/ 260604 w 1211103"/>
                <a:gd name="connsiteY252" fmla="*/ 508445 h 961263"/>
                <a:gd name="connsiteX253" fmla="*/ 259937 w 1211103"/>
                <a:gd name="connsiteY253" fmla="*/ 528638 h 961263"/>
                <a:gd name="connsiteX254" fmla="*/ 247269 w 1211103"/>
                <a:gd name="connsiteY254" fmla="*/ 547973 h 961263"/>
                <a:gd name="connsiteX255" fmla="*/ 231553 w 1211103"/>
                <a:gd name="connsiteY255" fmla="*/ 568357 h 961263"/>
                <a:gd name="connsiteX256" fmla="*/ 207264 w 1211103"/>
                <a:gd name="connsiteY256" fmla="*/ 584930 h 961263"/>
                <a:gd name="connsiteX257" fmla="*/ 203263 w 1211103"/>
                <a:gd name="connsiteY257" fmla="*/ 587502 h 961263"/>
                <a:gd name="connsiteX258" fmla="*/ 196120 w 1211103"/>
                <a:gd name="connsiteY258" fmla="*/ 598742 h 961263"/>
                <a:gd name="connsiteX259" fmla="*/ 195263 w 1211103"/>
                <a:gd name="connsiteY259" fmla="*/ 604171 h 961263"/>
                <a:gd name="connsiteX260" fmla="*/ 193167 w 1211103"/>
                <a:gd name="connsiteY260" fmla="*/ 609791 h 961263"/>
                <a:gd name="connsiteX261" fmla="*/ 189071 w 1211103"/>
                <a:gd name="connsiteY261" fmla="*/ 615410 h 961263"/>
                <a:gd name="connsiteX262" fmla="*/ 181451 w 1211103"/>
                <a:gd name="connsiteY262" fmla="*/ 620744 h 961263"/>
                <a:gd name="connsiteX263" fmla="*/ 150304 w 1211103"/>
                <a:gd name="connsiteY263" fmla="*/ 618744 h 961263"/>
                <a:gd name="connsiteX264" fmla="*/ 141256 w 1211103"/>
                <a:gd name="connsiteY264" fmla="*/ 621125 h 961263"/>
                <a:gd name="connsiteX265" fmla="*/ 138875 w 1211103"/>
                <a:gd name="connsiteY265" fmla="*/ 624935 h 961263"/>
                <a:gd name="connsiteX266" fmla="*/ 135446 w 1211103"/>
                <a:gd name="connsiteY266" fmla="*/ 628745 h 961263"/>
                <a:gd name="connsiteX267" fmla="*/ 122873 w 1211103"/>
                <a:gd name="connsiteY267" fmla="*/ 638651 h 961263"/>
                <a:gd name="connsiteX268" fmla="*/ 87344 w 1211103"/>
                <a:gd name="connsiteY268" fmla="*/ 649129 h 961263"/>
                <a:gd name="connsiteX269" fmla="*/ 76390 w 1211103"/>
                <a:gd name="connsiteY269" fmla="*/ 651224 h 961263"/>
                <a:gd name="connsiteX270" fmla="*/ 79438 w 1211103"/>
                <a:gd name="connsiteY270" fmla="*/ 689229 h 961263"/>
                <a:gd name="connsiteX271" fmla="*/ 74200 w 1211103"/>
                <a:gd name="connsiteY271" fmla="*/ 707708 h 961263"/>
                <a:gd name="connsiteX272" fmla="*/ 56864 w 1211103"/>
                <a:gd name="connsiteY272" fmla="*/ 703040 h 961263"/>
                <a:gd name="connsiteX273" fmla="*/ 44482 w 1211103"/>
                <a:gd name="connsiteY273" fmla="*/ 713042 h 961263"/>
                <a:gd name="connsiteX274" fmla="*/ 24479 w 1211103"/>
                <a:gd name="connsiteY274" fmla="*/ 709136 h 961263"/>
                <a:gd name="connsiteX275" fmla="*/ 10573 w 1211103"/>
                <a:gd name="connsiteY275" fmla="*/ 731520 h 961263"/>
                <a:gd name="connsiteX276" fmla="*/ 4096 w 1211103"/>
                <a:gd name="connsiteY276" fmla="*/ 761619 h 961263"/>
                <a:gd name="connsiteX277" fmla="*/ 0 w 1211103"/>
                <a:gd name="connsiteY277" fmla="*/ 762953 h 961263"/>
                <a:gd name="connsiteX278" fmla="*/ 3715 w 1211103"/>
                <a:gd name="connsiteY278" fmla="*/ 778288 h 961263"/>
                <a:gd name="connsiteX279" fmla="*/ 18288 w 1211103"/>
                <a:gd name="connsiteY279" fmla="*/ 776097 h 961263"/>
                <a:gd name="connsiteX280" fmla="*/ 25908 w 1211103"/>
                <a:gd name="connsiteY280" fmla="*/ 778002 h 961263"/>
                <a:gd name="connsiteX281" fmla="*/ 31623 w 1211103"/>
                <a:gd name="connsiteY281" fmla="*/ 781241 h 961263"/>
                <a:gd name="connsiteX282" fmla="*/ 32671 w 1211103"/>
                <a:gd name="connsiteY282" fmla="*/ 784193 h 961263"/>
                <a:gd name="connsiteX283" fmla="*/ 30766 w 1211103"/>
                <a:gd name="connsiteY283" fmla="*/ 786765 h 961263"/>
                <a:gd name="connsiteX284" fmla="*/ 29432 w 1211103"/>
                <a:gd name="connsiteY284" fmla="*/ 790194 h 961263"/>
                <a:gd name="connsiteX285" fmla="*/ 29527 w 1211103"/>
                <a:gd name="connsiteY285" fmla="*/ 801338 h 961263"/>
                <a:gd name="connsiteX286" fmla="*/ 28670 w 1211103"/>
                <a:gd name="connsiteY286" fmla="*/ 806958 h 961263"/>
                <a:gd name="connsiteX287" fmla="*/ 26956 w 1211103"/>
                <a:gd name="connsiteY287" fmla="*/ 810387 h 961263"/>
                <a:gd name="connsiteX288" fmla="*/ 23813 w 1211103"/>
                <a:gd name="connsiteY288" fmla="*/ 813626 h 961263"/>
                <a:gd name="connsiteX289" fmla="*/ 21431 w 1211103"/>
                <a:gd name="connsiteY289" fmla="*/ 816769 h 961263"/>
                <a:gd name="connsiteX290" fmla="*/ 17717 w 1211103"/>
                <a:gd name="connsiteY290" fmla="*/ 824960 h 961263"/>
                <a:gd name="connsiteX291" fmla="*/ 32099 w 1211103"/>
                <a:gd name="connsiteY291" fmla="*/ 832009 h 961263"/>
                <a:gd name="connsiteX292" fmla="*/ 54864 w 1211103"/>
                <a:gd name="connsiteY292" fmla="*/ 835152 h 961263"/>
                <a:gd name="connsiteX293" fmla="*/ 73533 w 1211103"/>
                <a:gd name="connsiteY293" fmla="*/ 844487 h 961263"/>
                <a:gd name="connsiteX294" fmla="*/ 78105 w 1211103"/>
                <a:gd name="connsiteY294" fmla="*/ 850011 h 961263"/>
                <a:gd name="connsiteX295" fmla="*/ 76581 w 1211103"/>
                <a:gd name="connsiteY295" fmla="*/ 855821 h 961263"/>
                <a:gd name="connsiteX296" fmla="*/ 91059 w 1211103"/>
                <a:gd name="connsiteY296" fmla="*/ 854869 h 961263"/>
                <a:gd name="connsiteX297" fmla="*/ 106490 w 1211103"/>
                <a:gd name="connsiteY297" fmla="*/ 860203 h 961263"/>
                <a:gd name="connsiteX298" fmla="*/ 133826 w 1211103"/>
                <a:gd name="connsiteY298" fmla="*/ 858869 h 961263"/>
                <a:gd name="connsiteX299" fmla="*/ 133350 w 1211103"/>
                <a:gd name="connsiteY299" fmla="*/ 863918 h 961263"/>
                <a:gd name="connsiteX300" fmla="*/ 146113 w 1211103"/>
                <a:gd name="connsiteY300" fmla="*/ 881825 h 961263"/>
                <a:gd name="connsiteX301" fmla="*/ 148495 w 1211103"/>
                <a:gd name="connsiteY301" fmla="*/ 908685 h 961263"/>
                <a:gd name="connsiteX302" fmla="*/ 149257 w 1211103"/>
                <a:gd name="connsiteY302" fmla="*/ 914210 h 961263"/>
                <a:gd name="connsiteX303" fmla="*/ 147733 w 1211103"/>
                <a:gd name="connsiteY303" fmla="*/ 918591 h 961263"/>
                <a:gd name="connsiteX304" fmla="*/ 145447 w 1211103"/>
                <a:gd name="connsiteY304" fmla="*/ 920020 h 961263"/>
                <a:gd name="connsiteX305" fmla="*/ 143732 w 1211103"/>
                <a:gd name="connsiteY305" fmla="*/ 921830 h 961263"/>
                <a:gd name="connsiteX306" fmla="*/ 143923 w 1211103"/>
                <a:gd name="connsiteY306" fmla="*/ 924782 h 961263"/>
                <a:gd name="connsiteX307" fmla="*/ 145256 w 1211103"/>
                <a:gd name="connsiteY307" fmla="*/ 926783 h 961263"/>
                <a:gd name="connsiteX308" fmla="*/ 148209 w 1211103"/>
                <a:gd name="connsiteY308" fmla="*/ 934022 h 961263"/>
                <a:gd name="connsiteX309" fmla="*/ 167354 w 1211103"/>
                <a:gd name="connsiteY309" fmla="*/ 926211 h 961263"/>
                <a:gd name="connsiteX310" fmla="*/ 178403 w 1211103"/>
                <a:gd name="connsiteY310" fmla="*/ 924401 h 961263"/>
                <a:gd name="connsiteX311" fmla="*/ 210598 w 1211103"/>
                <a:gd name="connsiteY311" fmla="*/ 925068 h 961263"/>
                <a:gd name="connsiteX312" fmla="*/ 227171 w 1211103"/>
                <a:gd name="connsiteY312" fmla="*/ 936212 h 961263"/>
                <a:gd name="connsiteX313" fmla="*/ 248698 w 1211103"/>
                <a:gd name="connsiteY313" fmla="*/ 939260 h 961263"/>
                <a:gd name="connsiteX314" fmla="*/ 254603 w 1211103"/>
                <a:gd name="connsiteY314" fmla="*/ 938594 h 961263"/>
                <a:gd name="connsiteX315" fmla="*/ 264033 w 1211103"/>
                <a:gd name="connsiteY315" fmla="*/ 933450 h 961263"/>
                <a:gd name="connsiteX316" fmla="*/ 282892 w 1211103"/>
                <a:gd name="connsiteY316" fmla="*/ 938022 h 961263"/>
                <a:gd name="connsiteX317" fmla="*/ 291370 w 1211103"/>
                <a:gd name="connsiteY317" fmla="*/ 929164 h 961263"/>
                <a:gd name="connsiteX318" fmla="*/ 300038 w 1211103"/>
                <a:gd name="connsiteY318" fmla="*/ 924782 h 961263"/>
                <a:gd name="connsiteX319" fmla="*/ 322040 w 1211103"/>
                <a:gd name="connsiteY319" fmla="*/ 925354 h 961263"/>
                <a:gd name="connsiteX320" fmla="*/ 332708 w 1211103"/>
                <a:gd name="connsiteY320" fmla="*/ 921734 h 961263"/>
                <a:gd name="connsiteX321" fmla="*/ 342614 w 1211103"/>
                <a:gd name="connsiteY321" fmla="*/ 897541 h 961263"/>
                <a:gd name="connsiteX322" fmla="*/ 338614 w 1211103"/>
                <a:gd name="connsiteY322" fmla="*/ 886206 h 961263"/>
                <a:gd name="connsiteX323" fmla="*/ 338995 w 1211103"/>
                <a:gd name="connsiteY323" fmla="*/ 880015 h 961263"/>
                <a:gd name="connsiteX324" fmla="*/ 341376 w 1211103"/>
                <a:gd name="connsiteY324" fmla="*/ 874300 h 961263"/>
                <a:gd name="connsiteX325" fmla="*/ 362045 w 1211103"/>
                <a:gd name="connsiteY325" fmla="*/ 861060 h 961263"/>
                <a:gd name="connsiteX326" fmla="*/ 367665 w 1211103"/>
                <a:gd name="connsiteY326" fmla="*/ 865918 h 961263"/>
                <a:gd name="connsiteX327" fmla="*/ 370618 w 1211103"/>
                <a:gd name="connsiteY327" fmla="*/ 867156 h 961263"/>
                <a:gd name="connsiteX328" fmla="*/ 375190 w 1211103"/>
                <a:gd name="connsiteY328" fmla="*/ 867061 h 961263"/>
                <a:gd name="connsiteX329" fmla="*/ 391859 w 1211103"/>
                <a:gd name="connsiteY329" fmla="*/ 862013 h 961263"/>
                <a:gd name="connsiteX330" fmla="*/ 405479 w 1211103"/>
                <a:gd name="connsiteY330" fmla="*/ 850297 h 961263"/>
                <a:gd name="connsiteX331" fmla="*/ 395859 w 1211103"/>
                <a:gd name="connsiteY331" fmla="*/ 801624 h 961263"/>
                <a:gd name="connsiteX332" fmla="*/ 413290 w 1211103"/>
                <a:gd name="connsiteY332" fmla="*/ 794290 h 961263"/>
                <a:gd name="connsiteX333" fmla="*/ 444817 w 1211103"/>
                <a:gd name="connsiteY333" fmla="*/ 796671 h 961263"/>
                <a:gd name="connsiteX334" fmla="*/ 449961 w 1211103"/>
                <a:gd name="connsiteY334" fmla="*/ 798100 h 961263"/>
                <a:gd name="connsiteX335" fmla="*/ 459867 w 1211103"/>
                <a:gd name="connsiteY335" fmla="*/ 798100 h 961263"/>
                <a:gd name="connsiteX336" fmla="*/ 476726 w 1211103"/>
                <a:gd name="connsiteY336" fmla="*/ 808292 h 961263"/>
                <a:gd name="connsiteX337" fmla="*/ 491395 w 1211103"/>
                <a:gd name="connsiteY337" fmla="*/ 824484 h 961263"/>
                <a:gd name="connsiteX338" fmla="*/ 495776 w 1211103"/>
                <a:gd name="connsiteY338" fmla="*/ 836009 h 961263"/>
                <a:gd name="connsiteX339" fmla="*/ 501872 w 1211103"/>
                <a:gd name="connsiteY339" fmla="*/ 846011 h 961263"/>
                <a:gd name="connsiteX340" fmla="*/ 515684 w 1211103"/>
                <a:gd name="connsiteY340" fmla="*/ 861632 h 961263"/>
                <a:gd name="connsiteX341" fmla="*/ 511778 w 1211103"/>
                <a:gd name="connsiteY341" fmla="*/ 881634 h 961263"/>
                <a:gd name="connsiteX342" fmla="*/ 513588 w 1211103"/>
                <a:gd name="connsiteY342" fmla="*/ 884206 h 961263"/>
                <a:gd name="connsiteX343" fmla="*/ 510445 w 1211103"/>
                <a:gd name="connsiteY343" fmla="*/ 901351 h 961263"/>
                <a:gd name="connsiteX344" fmla="*/ 514826 w 1211103"/>
                <a:gd name="connsiteY344" fmla="*/ 905732 h 961263"/>
                <a:gd name="connsiteX345" fmla="*/ 521208 w 1211103"/>
                <a:gd name="connsiteY345" fmla="*/ 909923 h 961263"/>
                <a:gd name="connsiteX346" fmla="*/ 527971 w 1211103"/>
                <a:gd name="connsiteY346" fmla="*/ 911733 h 961263"/>
                <a:gd name="connsiteX347" fmla="*/ 531876 w 1211103"/>
                <a:gd name="connsiteY347" fmla="*/ 909542 h 961263"/>
                <a:gd name="connsiteX348" fmla="*/ 534638 w 1211103"/>
                <a:gd name="connsiteY348" fmla="*/ 907447 h 961263"/>
                <a:gd name="connsiteX349" fmla="*/ 538544 w 1211103"/>
                <a:gd name="connsiteY349" fmla="*/ 905542 h 961263"/>
                <a:gd name="connsiteX350" fmla="*/ 566833 w 1211103"/>
                <a:gd name="connsiteY350" fmla="*/ 900113 h 961263"/>
                <a:gd name="connsiteX351" fmla="*/ 571500 w 1211103"/>
                <a:gd name="connsiteY351" fmla="*/ 900398 h 961263"/>
                <a:gd name="connsiteX352" fmla="*/ 574072 w 1211103"/>
                <a:gd name="connsiteY352" fmla="*/ 902780 h 961263"/>
                <a:gd name="connsiteX353" fmla="*/ 576167 w 1211103"/>
                <a:gd name="connsiteY353" fmla="*/ 908399 h 961263"/>
                <a:gd name="connsiteX354" fmla="*/ 580168 w 1211103"/>
                <a:gd name="connsiteY354" fmla="*/ 910495 h 961263"/>
                <a:gd name="connsiteX355" fmla="*/ 582549 w 1211103"/>
                <a:gd name="connsiteY355" fmla="*/ 912400 h 961263"/>
                <a:gd name="connsiteX356" fmla="*/ 603980 w 1211103"/>
                <a:gd name="connsiteY356" fmla="*/ 911066 h 961263"/>
                <a:gd name="connsiteX357" fmla="*/ 604647 w 1211103"/>
                <a:gd name="connsiteY357" fmla="*/ 917353 h 961263"/>
                <a:gd name="connsiteX358" fmla="*/ 608552 w 1211103"/>
                <a:gd name="connsiteY358" fmla="*/ 925544 h 961263"/>
                <a:gd name="connsiteX359" fmla="*/ 605600 w 1211103"/>
                <a:gd name="connsiteY359" fmla="*/ 935736 h 961263"/>
                <a:gd name="connsiteX360" fmla="*/ 618554 w 1211103"/>
                <a:gd name="connsiteY360" fmla="*/ 940975 h 961263"/>
                <a:gd name="connsiteX361" fmla="*/ 639318 w 1211103"/>
                <a:gd name="connsiteY361" fmla="*/ 945356 h 961263"/>
                <a:gd name="connsiteX362" fmla="*/ 651320 w 1211103"/>
                <a:gd name="connsiteY362" fmla="*/ 952976 h 961263"/>
                <a:gd name="connsiteX363" fmla="*/ 656368 w 1211103"/>
                <a:gd name="connsiteY363" fmla="*/ 955167 h 961263"/>
                <a:gd name="connsiteX364" fmla="*/ 663226 w 1211103"/>
                <a:gd name="connsiteY364" fmla="*/ 955262 h 961263"/>
                <a:gd name="connsiteX365" fmla="*/ 667798 w 1211103"/>
                <a:gd name="connsiteY365" fmla="*/ 953834 h 961263"/>
                <a:gd name="connsiteX366" fmla="*/ 672560 w 1211103"/>
                <a:gd name="connsiteY366" fmla="*/ 947928 h 961263"/>
                <a:gd name="connsiteX367" fmla="*/ 673036 w 1211103"/>
                <a:gd name="connsiteY367" fmla="*/ 943166 h 961263"/>
                <a:gd name="connsiteX368" fmla="*/ 675227 w 1211103"/>
                <a:gd name="connsiteY368" fmla="*/ 939451 h 961263"/>
                <a:gd name="connsiteX369" fmla="*/ 677323 w 1211103"/>
                <a:gd name="connsiteY369" fmla="*/ 937927 h 961263"/>
                <a:gd name="connsiteX370" fmla="*/ 681609 w 1211103"/>
                <a:gd name="connsiteY370" fmla="*/ 938689 h 961263"/>
                <a:gd name="connsiteX371" fmla="*/ 686753 w 1211103"/>
                <a:gd name="connsiteY371" fmla="*/ 937260 h 961263"/>
                <a:gd name="connsiteX372" fmla="*/ 695135 w 1211103"/>
                <a:gd name="connsiteY372" fmla="*/ 933069 h 961263"/>
                <a:gd name="connsiteX373" fmla="*/ 701040 w 1211103"/>
                <a:gd name="connsiteY373" fmla="*/ 930021 h 961263"/>
                <a:gd name="connsiteX374" fmla="*/ 705803 w 1211103"/>
                <a:gd name="connsiteY374" fmla="*/ 931831 h 961263"/>
                <a:gd name="connsiteX375" fmla="*/ 707898 w 1211103"/>
                <a:gd name="connsiteY375" fmla="*/ 939451 h 961263"/>
                <a:gd name="connsiteX376" fmla="*/ 712375 w 1211103"/>
                <a:gd name="connsiteY376" fmla="*/ 944023 h 961263"/>
                <a:gd name="connsiteX377" fmla="*/ 720090 w 1211103"/>
                <a:gd name="connsiteY377" fmla="*/ 950024 h 961263"/>
                <a:gd name="connsiteX378" fmla="*/ 736187 w 1211103"/>
                <a:gd name="connsiteY378" fmla="*/ 958406 h 961263"/>
                <a:gd name="connsiteX379" fmla="*/ 743712 w 1211103"/>
                <a:gd name="connsiteY379" fmla="*/ 959930 h 961263"/>
                <a:gd name="connsiteX380" fmla="*/ 751046 w 1211103"/>
                <a:gd name="connsiteY380" fmla="*/ 961263 h 961263"/>
                <a:gd name="connsiteX381" fmla="*/ 750570 w 1211103"/>
                <a:gd name="connsiteY381" fmla="*/ 956501 h 961263"/>
                <a:gd name="connsiteX382" fmla="*/ 751808 w 1211103"/>
                <a:gd name="connsiteY382" fmla="*/ 955072 h 961263"/>
                <a:gd name="connsiteX383" fmla="*/ 754761 w 1211103"/>
                <a:gd name="connsiteY383" fmla="*/ 953262 h 961263"/>
                <a:gd name="connsiteX384" fmla="*/ 766953 w 1211103"/>
                <a:gd name="connsiteY384" fmla="*/ 950881 h 961263"/>
                <a:gd name="connsiteX385" fmla="*/ 772001 w 1211103"/>
                <a:gd name="connsiteY385" fmla="*/ 948500 h 961263"/>
                <a:gd name="connsiteX386" fmla="*/ 778002 w 1211103"/>
                <a:gd name="connsiteY386" fmla="*/ 943832 h 961263"/>
                <a:gd name="connsiteX387" fmla="*/ 793242 w 1211103"/>
                <a:gd name="connsiteY387" fmla="*/ 929354 h 961263"/>
                <a:gd name="connsiteX388" fmla="*/ 808577 w 1211103"/>
                <a:gd name="connsiteY388" fmla="*/ 922973 h 961263"/>
                <a:gd name="connsiteX389" fmla="*/ 810006 w 1211103"/>
                <a:gd name="connsiteY389" fmla="*/ 895445 h 961263"/>
                <a:gd name="connsiteX390" fmla="*/ 812959 w 1211103"/>
                <a:gd name="connsiteY390" fmla="*/ 890588 h 961263"/>
                <a:gd name="connsiteX391" fmla="*/ 814673 w 1211103"/>
                <a:gd name="connsiteY391" fmla="*/ 882682 h 961263"/>
                <a:gd name="connsiteX392" fmla="*/ 814483 w 1211103"/>
                <a:gd name="connsiteY392" fmla="*/ 877634 h 961263"/>
                <a:gd name="connsiteX393" fmla="*/ 809053 w 1211103"/>
                <a:gd name="connsiteY393" fmla="*/ 864965 h 961263"/>
                <a:gd name="connsiteX394" fmla="*/ 805053 w 1211103"/>
                <a:gd name="connsiteY394" fmla="*/ 849440 h 961263"/>
                <a:gd name="connsiteX395" fmla="*/ 810006 w 1211103"/>
                <a:gd name="connsiteY395" fmla="*/ 851535 h 961263"/>
                <a:gd name="connsiteX396" fmla="*/ 825722 w 1211103"/>
                <a:gd name="connsiteY396" fmla="*/ 849916 h 961263"/>
                <a:gd name="connsiteX397" fmla="*/ 834199 w 1211103"/>
                <a:gd name="connsiteY397" fmla="*/ 852964 h 961263"/>
                <a:gd name="connsiteX398" fmla="*/ 837533 w 1211103"/>
                <a:gd name="connsiteY398" fmla="*/ 857060 h 961263"/>
                <a:gd name="connsiteX399" fmla="*/ 846201 w 1211103"/>
                <a:gd name="connsiteY399" fmla="*/ 872395 h 961263"/>
                <a:gd name="connsiteX400" fmla="*/ 848868 w 1211103"/>
                <a:gd name="connsiteY400" fmla="*/ 873633 h 961263"/>
                <a:gd name="connsiteX401" fmla="*/ 856869 w 1211103"/>
                <a:gd name="connsiteY401" fmla="*/ 880682 h 961263"/>
                <a:gd name="connsiteX402" fmla="*/ 859536 w 1211103"/>
                <a:gd name="connsiteY402" fmla="*/ 884682 h 961263"/>
                <a:gd name="connsiteX403" fmla="*/ 862774 w 1211103"/>
                <a:gd name="connsiteY403" fmla="*/ 887730 h 961263"/>
                <a:gd name="connsiteX404" fmla="*/ 869632 w 1211103"/>
                <a:gd name="connsiteY404" fmla="*/ 889921 h 961263"/>
                <a:gd name="connsiteX405" fmla="*/ 876967 w 1211103"/>
                <a:gd name="connsiteY405" fmla="*/ 892302 h 961263"/>
                <a:gd name="connsiteX406" fmla="*/ 879539 w 1211103"/>
                <a:gd name="connsiteY406" fmla="*/ 894969 h 961263"/>
                <a:gd name="connsiteX407" fmla="*/ 887635 w 1211103"/>
                <a:gd name="connsiteY407" fmla="*/ 906780 h 961263"/>
                <a:gd name="connsiteX408" fmla="*/ 901732 w 1211103"/>
                <a:gd name="connsiteY408" fmla="*/ 891159 h 961263"/>
                <a:gd name="connsiteX409" fmla="*/ 910399 w 1211103"/>
                <a:gd name="connsiteY409" fmla="*/ 875348 h 961263"/>
                <a:gd name="connsiteX410" fmla="*/ 908685 w 1211103"/>
                <a:gd name="connsiteY410" fmla="*/ 861155 h 961263"/>
                <a:gd name="connsiteX411" fmla="*/ 919067 w 1211103"/>
                <a:gd name="connsiteY411" fmla="*/ 856393 h 961263"/>
                <a:gd name="connsiteX412" fmla="*/ 923449 w 1211103"/>
                <a:gd name="connsiteY412" fmla="*/ 837438 h 961263"/>
                <a:gd name="connsiteX413" fmla="*/ 933831 w 1211103"/>
                <a:gd name="connsiteY413" fmla="*/ 842105 h 961263"/>
                <a:gd name="connsiteX414" fmla="*/ 950309 w 1211103"/>
                <a:gd name="connsiteY414" fmla="*/ 851630 h 961263"/>
                <a:gd name="connsiteX415" fmla="*/ 964978 w 1211103"/>
                <a:gd name="connsiteY415" fmla="*/ 861155 h 961263"/>
                <a:gd name="connsiteX416" fmla="*/ 972788 w 1211103"/>
                <a:gd name="connsiteY416" fmla="*/ 854774 h 961263"/>
                <a:gd name="connsiteX417" fmla="*/ 982313 w 1211103"/>
                <a:gd name="connsiteY417" fmla="*/ 862679 h 961263"/>
                <a:gd name="connsiteX418" fmla="*/ 997077 w 1211103"/>
                <a:gd name="connsiteY418" fmla="*/ 865918 h 961263"/>
                <a:gd name="connsiteX419" fmla="*/ 1010983 w 1211103"/>
                <a:gd name="connsiteY419" fmla="*/ 869061 h 961263"/>
                <a:gd name="connsiteX420" fmla="*/ 1017841 w 1211103"/>
                <a:gd name="connsiteY420" fmla="*/ 883253 h 961263"/>
                <a:gd name="connsiteX421" fmla="*/ 1023937 w 1211103"/>
                <a:gd name="connsiteY421" fmla="*/ 894398 h 961263"/>
                <a:gd name="connsiteX422" fmla="*/ 1032701 w 1211103"/>
                <a:gd name="connsiteY422" fmla="*/ 906304 h 961263"/>
                <a:gd name="connsiteX423" fmla="*/ 1052798 w 1211103"/>
                <a:gd name="connsiteY423" fmla="*/ 922306 h 961263"/>
                <a:gd name="connsiteX424" fmla="*/ 1054513 w 1211103"/>
                <a:gd name="connsiteY424" fmla="*/ 926592 h 961263"/>
                <a:gd name="connsiteX425" fmla="*/ 1063371 w 1211103"/>
                <a:gd name="connsiteY425" fmla="*/ 930307 h 961263"/>
                <a:gd name="connsiteX426" fmla="*/ 1072801 w 1211103"/>
                <a:gd name="connsiteY426" fmla="*/ 934212 h 961263"/>
                <a:gd name="connsiteX427" fmla="*/ 1078706 w 1211103"/>
                <a:gd name="connsiteY427" fmla="*/ 928973 h 961263"/>
                <a:gd name="connsiteX428" fmla="*/ 1079564 w 1211103"/>
                <a:gd name="connsiteY428" fmla="*/ 926783 h 961263"/>
                <a:gd name="connsiteX429" fmla="*/ 1103186 w 1211103"/>
                <a:gd name="connsiteY429" fmla="*/ 934879 h 961263"/>
                <a:gd name="connsiteX430" fmla="*/ 1109853 w 1211103"/>
                <a:gd name="connsiteY430" fmla="*/ 923449 h 961263"/>
                <a:gd name="connsiteX431" fmla="*/ 1110234 w 1211103"/>
                <a:gd name="connsiteY431" fmla="*/ 921068 h 961263"/>
                <a:gd name="connsiteX432" fmla="*/ 1110806 w 1211103"/>
                <a:gd name="connsiteY432" fmla="*/ 918972 h 961263"/>
                <a:gd name="connsiteX433" fmla="*/ 1108901 w 1211103"/>
                <a:gd name="connsiteY433" fmla="*/ 916115 h 961263"/>
                <a:gd name="connsiteX434" fmla="*/ 1094899 w 1211103"/>
                <a:gd name="connsiteY434" fmla="*/ 907066 h 961263"/>
                <a:gd name="connsiteX435" fmla="*/ 1099185 w 1211103"/>
                <a:gd name="connsiteY435" fmla="*/ 900589 h 961263"/>
                <a:gd name="connsiteX436" fmla="*/ 1109758 w 1211103"/>
                <a:gd name="connsiteY436" fmla="*/ 893921 h 961263"/>
                <a:gd name="connsiteX437" fmla="*/ 1121664 w 1211103"/>
                <a:gd name="connsiteY437" fmla="*/ 891445 h 961263"/>
                <a:gd name="connsiteX438" fmla="*/ 1133475 w 1211103"/>
                <a:gd name="connsiteY438" fmla="*/ 894779 h 961263"/>
                <a:gd name="connsiteX439" fmla="*/ 1132618 w 1211103"/>
                <a:gd name="connsiteY439" fmla="*/ 890588 h 961263"/>
                <a:gd name="connsiteX440" fmla="*/ 1132427 w 1211103"/>
                <a:gd name="connsiteY440" fmla="*/ 888301 h 961263"/>
                <a:gd name="connsiteX441" fmla="*/ 1136904 w 1211103"/>
                <a:gd name="connsiteY441" fmla="*/ 888016 h 961263"/>
                <a:gd name="connsiteX442" fmla="*/ 1141952 w 1211103"/>
                <a:gd name="connsiteY442" fmla="*/ 890016 h 961263"/>
                <a:gd name="connsiteX443" fmla="*/ 1147096 w 1211103"/>
                <a:gd name="connsiteY443" fmla="*/ 889159 h 961263"/>
                <a:gd name="connsiteX444" fmla="*/ 1165098 w 1211103"/>
                <a:gd name="connsiteY444" fmla="*/ 879253 h 961263"/>
                <a:gd name="connsiteX445" fmla="*/ 1191578 w 1211103"/>
                <a:gd name="connsiteY445" fmla="*/ 852297 h 961263"/>
                <a:gd name="connsiteX446" fmla="*/ 1191958 w 1211103"/>
                <a:gd name="connsiteY446" fmla="*/ 842582 h 961263"/>
                <a:gd name="connsiteX447" fmla="*/ 1191292 w 1211103"/>
                <a:gd name="connsiteY447" fmla="*/ 838105 h 961263"/>
                <a:gd name="connsiteX448" fmla="*/ 1189863 w 1211103"/>
                <a:gd name="connsiteY448" fmla="*/ 831818 h 96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Lst>
              <a:rect l="l" t="t" r="r" b="b"/>
              <a:pathLst>
                <a:path w="1211103" h="961263">
                  <a:moveTo>
                    <a:pt x="1189863" y="831818"/>
                  </a:moveTo>
                  <a:lnTo>
                    <a:pt x="1186339" y="828770"/>
                  </a:lnTo>
                  <a:lnTo>
                    <a:pt x="1183196" y="823341"/>
                  </a:lnTo>
                  <a:lnTo>
                    <a:pt x="1183577" y="821055"/>
                  </a:lnTo>
                  <a:lnTo>
                    <a:pt x="1183100" y="813816"/>
                  </a:lnTo>
                  <a:lnTo>
                    <a:pt x="1211104" y="809054"/>
                  </a:lnTo>
                  <a:lnTo>
                    <a:pt x="1202722" y="801148"/>
                  </a:lnTo>
                  <a:lnTo>
                    <a:pt x="1200245" y="797528"/>
                  </a:lnTo>
                  <a:lnTo>
                    <a:pt x="1197578" y="794576"/>
                  </a:lnTo>
                  <a:lnTo>
                    <a:pt x="1195673" y="791909"/>
                  </a:lnTo>
                  <a:lnTo>
                    <a:pt x="1195769" y="788099"/>
                  </a:lnTo>
                  <a:lnTo>
                    <a:pt x="1196912" y="784765"/>
                  </a:lnTo>
                  <a:lnTo>
                    <a:pt x="1198816" y="780669"/>
                  </a:lnTo>
                  <a:lnTo>
                    <a:pt x="1201960" y="775145"/>
                  </a:lnTo>
                  <a:lnTo>
                    <a:pt x="1201769" y="767144"/>
                  </a:lnTo>
                  <a:lnTo>
                    <a:pt x="1198340" y="759428"/>
                  </a:lnTo>
                  <a:lnTo>
                    <a:pt x="1196054" y="750284"/>
                  </a:lnTo>
                  <a:lnTo>
                    <a:pt x="1192721" y="744379"/>
                  </a:lnTo>
                  <a:lnTo>
                    <a:pt x="1192435" y="738473"/>
                  </a:lnTo>
                  <a:lnTo>
                    <a:pt x="1186625" y="732377"/>
                  </a:lnTo>
                  <a:lnTo>
                    <a:pt x="1184815" y="722948"/>
                  </a:lnTo>
                  <a:lnTo>
                    <a:pt x="1178814" y="726853"/>
                  </a:lnTo>
                  <a:lnTo>
                    <a:pt x="1177290" y="727329"/>
                  </a:lnTo>
                  <a:lnTo>
                    <a:pt x="1168813" y="725043"/>
                  </a:lnTo>
                  <a:lnTo>
                    <a:pt x="1169003" y="731901"/>
                  </a:lnTo>
                  <a:lnTo>
                    <a:pt x="1170051" y="735140"/>
                  </a:lnTo>
                  <a:lnTo>
                    <a:pt x="1171004" y="740759"/>
                  </a:lnTo>
                  <a:lnTo>
                    <a:pt x="1160907" y="755714"/>
                  </a:lnTo>
                  <a:lnTo>
                    <a:pt x="1148906" y="763810"/>
                  </a:lnTo>
                  <a:lnTo>
                    <a:pt x="1139762" y="760857"/>
                  </a:lnTo>
                  <a:lnTo>
                    <a:pt x="1139476" y="756190"/>
                  </a:lnTo>
                  <a:lnTo>
                    <a:pt x="1138904" y="752666"/>
                  </a:lnTo>
                  <a:lnTo>
                    <a:pt x="1137761" y="747903"/>
                  </a:lnTo>
                  <a:lnTo>
                    <a:pt x="1135571" y="742760"/>
                  </a:lnTo>
                  <a:lnTo>
                    <a:pt x="1132808" y="737902"/>
                  </a:lnTo>
                  <a:lnTo>
                    <a:pt x="1128617" y="735140"/>
                  </a:lnTo>
                  <a:lnTo>
                    <a:pt x="1122236" y="735330"/>
                  </a:lnTo>
                  <a:lnTo>
                    <a:pt x="1105376" y="744188"/>
                  </a:lnTo>
                  <a:lnTo>
                    <a:pt x="1101757" y="748665"/>
                  </a:lnTo>
                  <a:lnTo>
                    <a:pt x="1096708" y="752761"/>
                  </a:lnTo>
                  <a:lnTo>
                    <a:pt x="1094804" y="756761"/>
                  </a:lnTo>
                  <a:lnTo>
                    <a:pt x="1091089" y="760000"/>
                  </a:lnTo>
                  <a:lnTo>
                    <a:pt x="1090803" y="762191"/>
                  </a:lnTo>
                  <a:lnTo>
                    <a:pt x="1091470" y="763905"/>
                  </a:lnTo>
                  <a:lnTo>
                    <a:pt x="1092708" y="765524"/>
                  </a:lnTo>
                  <a:lnTo>
                    <a:pt x="1085850" y="765905"/>
                  </a:lnTo>
                  <a:lnTo>
                    <a:pt x="1050322" y="754190"/>
                  </a:lnTo>
                  <a:lnTo>
                    <a:pt x="1048512" y="733330"/>
                  </a:lnTo>
                  <a:lnTo>
                    <a:pt x="1052227" y="726662"/>
                  </a:lnTo>
                  <a:lnTo>
                    <a:pt x="1059942" y="719995"/>
                  </a:lnTo>
                  <a:lnTo>
                    <a:pt x="1060514" y="708755"/>
                  </a:lnTo>
                  <a:lnTo>
                    <a:pt x="1053179" y="695325"/>
                  </a:lnTo>
                  <a:lnTo>
                    <a:pt x="1046512" y="681895"/>
                  </a:lnTo>
                  <a:lnTo>
                    <a:pt x="1060514" y="670655"/>
                  </a:lnTo>
                  <a:lnTo>
                    <a:pt x="1048322" y="654939"/>
                  </a:lnTo>
                  <a:lnTo>
                    <a:pt x="1038606" y="640366"/>
                  </a:lnTo>
                  <a:lnTo>
                    <a:pt x="1048322" y="639223"/>
                  </a:lnTo>
                  <a:lnTo>
                    <a:pt x="1062323" y="634746"/>
                  </a:lnTo>
                  <a:lnTo>
                    <a:pt x="1070896" y="623507"/>
                  </a:lnTo>
                  <a:lnTo>
                    <a:pt x="1077563" y="614553"/>
                  </a:lnTo>
                  <a:lnTo>
                    <a:pt x="1068419" y="602171"/>
                  </a:lnTo>
                  <a:lnTo>
                    <a:pt x="1064228" y="588645"/>
                  </a:lnTo>
                  <a:lnTo>
                    <a:pt x="1061752" y="570643"/>
                  </a:lnTo>
                  <a:lnTo>
                    <a:pt x="1056799" y="556070"/>
                  </a:lnTo>
                  <a:lnTo>
                    <a:pt x="1048893" y="551593"/>
                  </a:lnTo>
                  <a:lnTo>
                    <a:pt x="1035558" y="551593"/>
                  </a:lnTo>
                  <a:lnTo>
                    <a:pt x="1030033" y="541401"/>
                  </a:lnTo>
                  <a:lnTo>
                    <a:pt x="1013555" y="545878"/>
                  </a:lnTo>
                  <a:lnTo>
                    <a:pt x="987361" y="548164"/>
                  </a:lnTo>
                  <a:lnTo>
                    <a:pt x="968693" y="542449"/>
                  </a:lnTo>
                  <a:lnTo>
                    <a:pt x="971264" y="533972"/>
                  </a:lnTo>
                  <a:lnTo>
                    <a:pt x="972217" y="527114"/>
                  </a:lnTo>
                  <a:lnTo>
                    <a:pt x="969740" y="519303"/>
                  </a:lnTo>
                  <a:lnTo>
                    <a:pt x="961739" y="511302"/>
                  </a:lnTo>
                  <a:lnTo>
                    <a:pt x="955072" y="501777"/>
                  </a:lnTo>
                  <a:lnTo>
                    <a:pt x="951452" y="497015"/>
                  </a:lnTo>
                  <a:lnTo>
                    <a:pt x="951643" y="494824"/>
                  </a:lnTo>
                  <a:lnTo>
                    <a:pt x="955929" y="490061"/>
                  </a:lnTo>
                  <a:lnTo>
                    <a:pt x="956977" y="487013"/>
                  </a:lnTo>
                  <a:lnTo>
                    <a:pt x="957072" y="483680"/>
                  </a:lnTo>
                  <a:lnTo>
                    <a:pt x="948404" y="476822"/>
                  </a:lnTo>
                  <a:lnTo>
                    <a:pt x="947547" y="472726"/>
                  </a:lnTo>
                  <a:lnTo>
                    <a:pt x="944404" y="467201"/>
                  </a:lnTo>
                  <a:lnTo>
                    <a:pt x="938022" y="451199"/>
                  </a:lnTo>
                  <a:lnTo>
                    <a:pt x="929164" y="434721"/>
                  </a:lnTo>
                  <a:lnTo>
                    <a:pt x="916877" y="423196"/>
                  </a:lnTo>
                  <a:lnTo>
                    <a:pt x="916686" y="419100"/>
                  </a:lnTo>
                  <a:lnTo>
                    <a:pt x="921830" y="417767"/>
                  </a:lnTo>
                  <a:lnTo>
                    <a:pt x="935069" y="422720"/>
                  </a:lnTo>
                  <a:lnTo>
                    <a:pt x="946404" y="422053"/>
                  </a:lnTo>
                  <a:lnTo>
                    <a:pt x="950690" y="416433"/>
                  </a:lnTo>
                  <a:lnTo>
                    <a:pt x="987076" y="393287"/>
                  </a:lnTo>
                  <a:lnTo>
                    <a:pt x="990410" y="387191"/>
                  </a:lnTo>
                  <a:lnTo>
                    <a:pt x="995934" y="382715"/>
                  </a:lnTo>
                  <a:lnTo>
                    <a:pt x="999649" y="376428"/>
                  </a:lnTo>
                  <a:lnTo>
                    <a:pt x="1012507" y="371570"/>
                  </a:lnTo>
                  <a:lnTo>
                    <a:pt x="1015460" y="364998"/>
                  </a:lnTo>
                  <a:lnTo>
                    <a:pt x="1018889" y="360426"/>
                  </a:lnTo>
                  <a:lnTo>
                    <a:pt x="1025747" y="358997"/>
                  </a:lnTo>
                  <a:lnTo>
                    <a:pt x="1028986" y="356426"/>
                  </a:lnTo>
                  <a:lnTo>
                    <a:pt x="1028700" y="353854"/>
                  </a:lnTo>
                  <a:lnTo>
                    <a:pt x="1026224" y="351282"/>
                  </a:lnTo>
                  <a:lnTo>
                    <a:pt x="1020699" y="349949"/>
                  </a:lnTo>
                  <a:lnTo>
                    <a:pt x="1015746" y="350615"/>
                  </a:lnTo>
                  <a:lnTo>
                    <a:pt x="1013365" y="348901"/>
                  </a:lnTo>
                  <a:lnTo>
                    <a:pt x="1013079" y="347663"/>
                  </a:lnTo>
                  <a:lnTo>
                    <a:pt x="1014794" y="345853"/>
                  </a:lnTo>
                  <a:lnTo>
                    <a:pt x="1014794" y="341376"/>
                  </a:lnTo>
                  <a:lnTo>
                    <a:pt x="1012793" y="333470"/>
                  </a:lnTo>
                  <a:lnTo>
                    <a:pt x="1003459" y="318992"/>
                  </a:lnTo>
                  <a:lnTo>
                    <a:pt x="996506" y="314039"/>
                  </a:lnTo>
                  <a:lnTo>
                    <a:pt x="988695" y="312801"/>
                  </a:lnTo>
                  <a:lnTo>
                    <a:pt x="968693" y="318230"/>
                  </a:lnTo>
                  <a:lnTo>
                    <a:pt x="962120" y="318707"/>
                  </a:lnTo>
                  <a:lnTo>
                    <a:pt x="953833" y="310420"/>
                  </a:lnTo>
                  <a:lnTo>
                    <a:pt x="948023" y="298895"/>
                  </a:lnTo>
                  <a:lnTo>
                    <a:pt x="948595" y="268605"/>
                  </a:lnTo>
                  <a:lnTo>
                    <a:pt x="969264" y="277844"/>
                  </a:lnTo>
                  <a:lnTo>
                    <a:pt x="981647" y="265938"/>
                  </a:lnTo>
                  <a:lnTo>
                    <a:pt x="991457" y="260033"/>
                  </a:lnTo>
                  <a:lnTo>
                    <a:pt x="994791" y="260509"/>
                  </a:lnTo>
                  <a:lnTo>
                    <a:pt x="996982" y="260318"/>
                  </a:lnTo>
                  <a:lnTo>
                    <a:pt x="1002220" y="258794"/>
                  </a:lnTo>
                  <a:lnTo>
                    <a:pt x="1004126" y="259366"/>
                  </a:lnTo>
                  <a:lnTo>
                    <a:pt x="1005554" y="261652"/>
                  </a:lnTo>
                  <a:lnTo>
                    <a:pt x="1007650" y="264605"/>
                  </a:lnTo>
                  <a:lnTo>
                    <a:pt x="1011269" y="267748"/>
                  </a:lnTo>
                  <a:lnTo>
                    <a:pt x="1018794" y="269177"/>
                  </a:lnTo>
                  <a:lnTo>
                    <a:pt x="1021175" y="267367"/>
                  </a:lnTo>
                  <a:lnTo>
                    <a:pt x="1027748" y="264890"/>
                  </a:lnTo>
                  <a:lnTo>
                    <a:pt x="1027176" y="261747"/>
                  </a:lnTo>
                  <a:lnTo>
                    <a:pt x="1024319" y="258413"/>
                  </a:lnTo>
                  <a:lnTo>
                    <a:pt x="1019365" y="251555"/>
                  </a:lnTo>
                  <a:lnTo>
                    <a:pt x="1018985" y="248412"/>
                  </a:lnTo>
                  <a:lnTo>
                    <a:pt x="1020890" y="246602"/>
                  </a:lnTo>
                  <a:lnTo>
                    <a:pt x="1031272" y="247936"/>
                  </a:lnTo>
                  <a:lnTo>
                    <a:pt x="1027938" y="232315"/>
                  </a:lnTo>
                  <a:lnTo>
                    <a:pt x="1030795" y="222314"/>
                  </a:lnTo>
                  <a:lnTo>
                    <a:pt x="1026795" y="216027"/>
                  </a:lnTo>
                  <a:lnTo>
                    <a:pt x="1024223" y="209455"/>
                  </a:lnTo>
                  <a:lnTo>
                    <a:pt x="1024414" y="203168"/>
                  </a:lnTo>
                  <a:lnTo>
                    <a:pt x="1026033" y="198311"/>
                  </a:lnTo>
                  <a:lnTo>
                    <a:pt x="1028700" y="193929"/>
                  </a:lnTo>
                  <a:lnTo>
                    <a:pt x="1030129" y="190976"/>
                  </a:lnTo>
                  <a:lnTo>
                    <a:pt x="1033177" y="187547"/>
                  </a:lnTo>
                  <a:lnTo>
                    <a:pt x="1027271" y="174308"/>
                  </a:lnTo>
                  <a:lnTo>
                    <a:pt x="1024890" y="164783"/>
                  </a:lnTo>
                  <a:lnTo>
                    <a:pt x="1001554" y="143351"/>
                  </a:lnTo>
                  <a:lnTo>
                    <a:pt x="997649" y="139827"/>
                  </a:lnTo>
                  <a:lnTo>
                    <a:pt x="981361" y="134779"/>
                  </a:lnTo>
                  <a:lnTo>
                    <a:pt x="976598" y="140780"/>
                  </a:lnTo>
                  <a:lnTo>
                    <a:pt x="973741" y="128016"/>
                  </a:lnTo>
                  <a:lnTo>
                    <a:pt x="972122" y="127254"/>
                  </a:lnTo>
                  <a:lnTo>
                    <a:pt x="970693" y="126873"/>
                  </a:lnTo>
                  <a:lnTo>
                    <a:pt x="968693" y="128016"/>
                  </a:lnTo>
                  <a:lnTo>
                    <a:pt x="966026" y="128302"/>
                  </a:lnTo>
                  <a:lnTo>
                    <a:pt x="959453" y="125730"/>
                  </a:lnTo>
                  <a:lnTo>
                    <a:pt x="956310" y="122206"/>
                  </a:lnTo>
                  <a:lnTo>
                    <a:pt x="954119" y="118015"/>
                  </a:lnTo>
                  <a:lnTo>
                    <a:pt x="953262" y="109061"/>
                  </a:lnTo>
                  <a:lnTo>
                    <a:pt x="951071" y="98012"/>
                  </a:lnTo>
                  <a:lnTo>
                    <a:pt x="950024" y="88487"/>
                  </a:lnTo>
                  <a:lnTo>
                    <a:pt x="949357" y="79534"/>
                  </a:lnTo>
                  <a:lnTo>
                    <a:pt x="950024" y="75629"/>
                  </a:lnTo>
                  <a:lnTo>
                    <a:pt x="948785" y="72771"/>
                  </a:lnTo>
                  <a:lnTo>
                    <a:pt x="945452" y="69056"/>
                  </a:lnTo>
                  <a:lnTo>
                    <a:pt x="941832" y="67437"/>
                  </a:lnTo>
                  <a:lnTo>
                    <a:pt x="933355" y="66961"/>
                  </a:lnTo>
                  <a:lnTo>
                    <a:pt x="927640" y="8858"/>
                  </a:lnTo>
                  <a:lnTo>
                    <a:pt x="927545" y="7620"/>
                  </a:lnTo>
                  <a:lnTo>
                    <a:pt x="923449" y="11430"/>
                  </a:lnTo>
                  <a:lnTo>
                    <a:pt x="913257" y="9716"/>
                  </a:lnTo>
                  <a:lnTo>
                    <a:pt x="903161" y="3143"/>
                  </a:lnTo>
                  <a:lnTo>
                    <a:pt x="890969" y="0"/>
                  </a:lnTo>
                  <a:lnTo>
                    <a:pt x="885253" y="7620"/>
                  </a:lnTo>
                  <a:lnTo>
                    <a:pt x="878110" y="27908"/>
                  </a:lnTo>
                  <a:lnTo>
                    <a:pt x="872014" y="32766"/>
                  </a:lnTo>
                  <a:lnTo>
                    <a:pt x="848392" y="35433"/>
                  </a:lnTo>
                  <a:lnTo>
                    <a:pt x="832199" y="33909"/>
                  </a:lnTo>
                  <a:lnTo>
                    <a:pt x="821055" y="32861"/>
                  </a:lnTo>
                  <a:lnTo>
                    <a:pt x="813245" y="34576"/>
                  </a:lnTo>
                  <a:lnTo>
                    <a:pt x="792766" y="53531"/>
                  </a:lnTo>
                  <a:lnTo>
                    <a:pt x="777335" y="61722"/>
                  </a:lnTo>
                  <a:lnTo>
                    <a:pt x="772478" y="67342"/>
                  </a:lnTo>
                  <a:lnTo>
                    <a:pt x="766096" y="84773"/>
                  </a:lnTo>
                  <a:lnTo>
                    <a:pt x="761714" y="92202"/>
                  </a:lnTo>
                  <a:lnTo>
                    <a:pt x="752665" y="97345"/>
                  </a:lnTo>
                  <a:lnTo>
                    <a:pt x="741521" y="97917"/>
                  </a:lnTo>
                  <a:lnTo>
                    <a:pt x="724567" y="90964"/>
                  </a:lnTo>
                  <a:lnTo>
                    <a:pt x="720661" y="98869"/>
                  </a:lnTo>
                  <a:lnTo>
                    <a:pt x="717804" y="107728"/>
                  </a:lnTo>
                  <a:lnTo>
                    <a:pt x="716756" y="116967"/>
                  </a:lnTo>
                  <a:lnTo>
                    <a:pt x="717804" y="134303"/>
                  </a:lnTo>
                  <a:lnTo>
                    <a:pt x="721995" y="168593"/>
                  </a:lnTo>
                  <a:lnTo>
                    <a:pt x="721995" y="181832"/>
                  </a:lnTo>
                  <a:lnTo>
                    <a:pt x="727520" y="195548"/>
                  </a:lnTo>
                  <a:lnTo>
                    <a:pt x="744665" y="224314"/>
                  </a:lnTo>
                  <a:lnTo>
                    <a:pt x="746760" y="234029"/>
                  </a:lnTo>
                  <a:lnTo>
                    <a:pt x="751332" y="276797"/>
                  </a:lnTo>
                  <a:lnTo>
                    <a:pt x="746665" y="303562"/>
                  </a:lnTo>
                  <a:lnTo>
                    <a:pt x="745045" y="322612"/>
                  </a:lnTo>
                  <a:lnTo>
                    <a:pt x="747332" y="331280"/>
                  </a:lnTo>
                  <a:lnTo>
                    <a:pt x="751427" y="338423"/>
                  </a:lnTo>
                  <a:lnTo>
                    <a:pt x="753332" y="354425"/>
                  </a:lnTo>
                  <a:lnTo>
                    <a:pt x="753999" y="381286"/>
                  </a:lnTo>
                  <a:lnTo>
                    <a:pt x="759143" y="431483"/>
                  </a:lnTo>
                  <a:lnTo>
                    <a:pt x="763048" y="469011"/>
                  </a:lnTo>
                  <a:lnTo>
                    <a:pt x="763238" y="471583"/>
                  </a:lnTo>
                  <a:lnTo>
                    <a:pt x="764572" y="505016"/>
                  </a:lnTo>
                  <a:lnTo>
                    <a:pt x="761333" y="533876"/>
                  </a:lnTo>
                  <a:lnTo>
                    <a:pt x="753047" y="553974"/>
                  </a:lnTo>
                  <a:lnTo>
                    <a:pt x="734187" y="575786"/>
                  </a:lnTo>
                  <a:lnTo>
                    <a:pt x="727139" y="584073"/>
                  </a:lnTo>
                  <a:lnTo>
                    <a:pt x="717804" y="590836"/>
                  </a:lnTo>
                  <a:lnTo>
                    <a:pt x="713899" y="595979"/>
                  </a:lnTo>
                  <a:lnTo>
                    <a:pt x="713803" y="603599"/>
                  </a:lnTo>
                  <a:lnTo>
                    <a:pt x="707136" y="606266"/>
                  </a:lnTo>
                  <a:lnTo>
                    <a:pt x="698278" y="611886"/>
                  </a:lnTo>
                  <a:lnTo>
                    <a:pt x="690753" y="620173"/>
                  </a:lnTo>
                  <a:lnTo>
                    <a:pt x="687419" y="630460"/>
                  </a:lnTo>
                  <a:lnTo>
                    <a:pt x="649415" y="655511"/>
                  </a:lnTo>
                  <a:lnTo>
                    <a:pt x="634365" y="665417"/>
                  </a:lnTo>
                  <a:lnTo>
                    <a:pt x="619220" y="669703"/>
                  </a:lnTo>
                  <a:lnTo>
                    <a:pt x="613982" y="676751"/>
                  </a:lnTo>
                  <a:lnTo>
                    <a:pt x="609029" y="686372"/>
                  </a:lnTo>
                  <a:lnTo>
                    <a:pt x="601980" y="696659"/>
                  </a:lnTo>
                  <a:lnTo>
                    <a:pt x="587026" y="709517"/>
                  </a:lnTo>
                  <a:lnTo>
                    <a:pt x="576929" y="714470"/>
                  </a:lnTo>
                  <a:lnTo>
                    <a:pt x="553212" y="726091"/>
                  </a:lnTo>
                  <a:lnTo>
                    <a:pt x="486632" y="742379"/>
                  </a:lnTo>
                  <a:lnTo>
                    <a:pt x="462058" y="739807"/>
                  </a:lnTo>
                  <a:lnTo>
                    <a:pt x="443865" y="733997"/>
                  </a:lnTo>
                  <a:lnTo>
                    <a:pt x="441293" y="731806"/>
                  </a:lnTo>
                  <a:lnTo>
                    <a:pt x="437769" y="728853"/>
                  </a:lnTo>
                  <a:lnTo>
                    <a:pt x="418814" y="700754"/>
                  </a:lnTo>
                  <a:lnTo>
                    <a:pt x="414052" y="696659"/>
                  </a:lnTo>
                  <a:lnTo>
                    <a:pt x="380619" y="690277"/>
                  </a:lnTo>
                  <a:lnTo>
                    <a:pt x="348425" y="677132"/>
                  </a:lnTo>
                  <a:lnTo>
                    <a:pt x="329946" y="655415"/>
                  </a:lnTo>
                  <a:lnTo>
                    <a:pt x="322993" y="652653"/>
                  </a:lnTo>
                  <a:lnTo>
                    <a:pt x="317563" y="648176"/>
                  </a:lnTo>
                  <a:lnTo>
                    <a:pt x="313563" y="637032"/>
                  </a:lnTo>
                  <a:lnTo>
                    <a:pt x="302609" y="570643"/>
                  </a:lnTo>
                  <a:lnTo>
                    <a:pt x="299180" y="563975"/>
                  </a:lnTo>
                  <a:lnTo>
                    <a:pt x="293370" y="558260"/>
                  </a:lnTo>
                  <a:lnTo>
                    <a:pt x="290036" y="545116"/>
                  </a:lnTo>
                  <a:lnTo>
                    <a:pt x="286988" y="519779"/>
                  </a:lnTo>
                  <a:lnTo>
                    <a:pt x="283940" y="505587"/>
                  </a:lnTo>
                  <a:lnTo>
                    <a:pt x="280035" y="493776"/>
                  </a:lnTo>
                  <a:lnTo>
                    <a:pt x="278321" y="490252"/>
                  </a:lnTo>
                  <a:lnTo>
                    <a:pt x="265843" y="494824"/>
                  </a:lnTo>
                  <a:lnTo>
                    <a:pt x="263081" y="499967"/>
                  </a:lnTo>
                  <a:lnTo>
                    <a:pt x="260604" y="508445"/>
                  </a:lnTo>
                  <a:lnTo>
                    <a:pt x="259937" y="528638"/>
                  </a:lnTo>
                  <a:lnTo>
                    <a:pt x="247269" y="547973"/>
                  </a:lnTo>
                  <a:lnTo>
                    <a:pt x="231553" y="568357"/>
                  </a:lnTo>
                  <a:lnTo>
                    <a:pt x="207264" y="584930"/>
                  </a:lnTo>
                  <a:lnTo>
                    <a:pt x="203263" y="587502"/>
                  </a:lnTo>
                  <a:lnTo>
                    <a:pt x="196120" y="598742"/>
                  </a:lnTo>
                  <a:lnTo>
                    <a:pt x="195263" y="604171"/>
                  </a:lnTo>
                  <a:lnTo>
                    <a:pt x="193167" y="609791"/>
                  </a:lnTo>
                  <a:lnTo>
                    <a:pt x="189071" y="615410"/>
                  </a:lnTo>
                  <a:lnTo>
                    <a:pt x="181451" y="620744"/>
                  </a:lnTo>
                  <a:lnTo>
                    <a:pt x="150304" y="618744"/>
                  </a:lnTo>
                  <a:lnTo>
                    <a:pt x="141256" y="621125"/>
                  </a:lnTo>
                  <a:lnTo>
                    <a:pt x="138875" y="624935"/>
                  </a:lnTo>
                  <a:lnTo>
                    <a:pt x="135446" y="628745"/>
                  </a:lnTo>
                  <a:lnTo>
                    <a:pt x="122873" y="638651"/>
                  </a:lnTo>
                  <a:lnTo>
                    <a:pt x="87344" y="649129"/>
                  </a:lnTo>
                  <a:lnTo>
                    <a:pt x="76390" y="651224"/>
                  </a:lnTo>
                  <a:lnTo>
                    <a:pt x="79438" y="689229"/>
                  </a:lnTo>
                  <a:lnTo>
                    <a:pt x="74200" y="707708"/>
                  </a:lnTo>
                  <a:lnTo>
                    <a:pt x="56864" y="703040"/>
                  </a:lnTo>
                  <a:lnTo>
                    <a:pt x="44482" y="713042"/>
                  </a:lnTo>
                  <a:lnTo>
                    <a:pt x="24479" y="709136"/>
                  </a:lnTo>
                  <a:lnTo>
                    <a:pt x="10573" y="731520"/>
                  </a:lnTo>
                  <a:lnTo>
                    <a:pt x="4096" y="761619"/>
                  </a:lnTo>
                  <a:lnTo>
                    <a:pt x="0" y="762953"/>
                  </a:lnTo>
                  <a:lnTo>
                    <a:pt x="3715" y="778288"/>
                  </a:lnTo>
                  <a:lnTo>
                    <a:pt x="18288" y="776097"/>
                  </a:lnTo>
                  <a:lnTo>
                    <a:pt x="25908" y="778002"/>
                  </a:lnTo>
                  <a:lnTo>
                    <a:pt x="31623" y="781241"/>
                  </a:lnTo>
                  <a:lnTo>
                    <a:pt x="32671" y="784193"/>
                  </a:lnTo>
                  <a:lnTo>
                    <a:pt x="30766" y="786765"/>
                  </a:lnTo>
                  <a:lnTo>
                    <a:pt x="29432" y="790194"/>
                  </a:lnTo>
                  <a:lnTo>
                    <a:pt x="29527" y="801338"/>
                  </a:lnTo>
                  <a:lnTo>
                    <a:pt x="28670" y="806958"/>
                  </a:lnTo>
                  <a:lnTo>
                    <a:pt x="26956" y="810387"/>
                  </a:lnTo>
                  <a:lnTo>
                    <a:pt x="23813" y="813626"/>
                  </a:lnTo>
                  <a:lnTo>
                    <a:pt x="21431" y="816769"/>
                  </a:lnTo>
                  <a:lnTo>
                    <a:pt x="17717" y="824960"/>
                  </a:lnTo>
                  <a:lnTo>
                    <a:pt x="32099" y="832009"/>
                  </a:lnTo>
                  <a:lnTo>
                    <a:pt x="54864" y="835152"/>
                  </a:lnTo>
                  <a:lnTo>
                    <a:pt x="73533" y="844487"/>
                  </a:lnTo>
                  <a:lnTo>
                    <a:pt x="78105" y="850011"/>
                  </a:lnTo>
                  <a:lnTo>
                    <a:pt x="76581" y="855821"/>
                  </a:lnTo>
                  <a:lnTo>
                    <a:pt x="91059" y="854869"/>
                  </a:lnTo>
                  <a:lnTo>
                    <a:pt x="106490" y="860203"/>
                  </a:lnTo>
                  <a:lnTo>
                    <a:pt x="133826" y="858869"/>
                  </a:lnTo>
                  <a:lnTo>
                    <a:pt x="133350" y="863918"/>
                  </a:lnTo>
                  <a:lnTo>
                    <a:pt x="146113" y="881825"/>
                  </a:lnTo>
                  <a:lnTo>
                    <a:pt x="148495" y="908685"/>
                  </a:lnTo>
                  <a:lnTo>
                    <a:pt x="149257" y="914210"/>
                  </a:lnTo>
                  <a:lnTo>
                    <a:pt x="147733" y="918591"/>
                  </a:lnTo>
                  <a:lnTo>
                    <a:pt x="145447" y="920020"/>
                  </a:lnTo>
                  <a:lnTo>
                    <a:pt x="143732" y="921830"/>
                  </a:lnTo>
                  <a:lnTo>
                    <a:pt x="143923" y="924782"/>
                  </a:lnTo>
                  <a:lnTo>
                    <a:pt x="145256" y="926783"/>
                  </a:lnTo>
                  <a:lnTo>
                    <a:pt x="148209" y="934022"/>
                  </a:lnTo>
                  <a:lnTo>
                    <a:pt x="167354" y="926211"/>
                  </a:lnTo>
                  <a:lnTo>
                    <a:pt x="178403" y="924401"/>
                  </a:lnTo>
                  <a:lnTo>
                    <a:pt x="210598" y="925068"/>
                  </a:lnTo>
                  <a:lnTo>
                    <a:pt x="227171" y="936212"/>
                  </a:lnTo>
                  <a:lnTo>
                    <a:pt x="248698" y="939260"/>
                  </a:lnTo>
                  <a:lnTo>
                    <a:pt x="254603" y="938594"/>
                  </a:lnTo>
                  <a:lnTo>
                    <a:pt x="264033" y="933450"/>
                  </a:lnTo>
                  <a:lnTo>
                    <a:pt x="282892" y="938022"/>
                  </a:lnTo>
                  <a:lnTo>
                    <a:pt x="291370" y="929164"/>
                  </a:lnTo>
                  <a:lnTo>
                    <a:pt x="300038" y="924782"/>
                  </a:lnTo>
                  <a:lnTo>
                    <a:pt x="322040" y="925354"/>
                  </a:lnTo>
                  <a:lnTo>
                    <a:pt x="332708" y="921734"/>
                  </a:lnTo>
                  <a:lnTo>
                    <a:pt x="342614" y="897541"/>
                  </a:lnTo>
                  <a:lnTo>
                    <a:pt x="338614" y="886206"/>
                  </a:lnTo>
                  <a:lnTo>
                    <a:pt x="338995" y="880015"/>
                  </a:lnTo>
                  <a:lnTo>
                    <a:pt x="341376" y="874300"/>
                  </a:lnTo>
                  <a:lnTo>
                    <a:pt x="362045" y="861060"/>
                  </a:lnTo>
                  <a:lnTo>
                    <a:pt x="367665" y="865918"/>
                  </a:lnTo>
                  <a:lnTo>
                    <a:pt x="370618" y="867156"/>
                  </a:lnTo>
                  <a:lnTo>
                    <a:pt x="375190" y="867061"/>
                  </a:lnTo>
                  <a:lnTo>
                    <a:pt x="391859" y="862013"/>
                  </a:lnTo>
                  <a:lnTo>
                    <a:pt x="405479" y="850297"/>
                  </a:lnTo>
                  <a:lnTo>
                    <a:pt x="395859" y="801624"/>
                  </a:lnTo>
                  <a:lnTo>
                    <a:pt x="413290" y="794290"/>
                  </a:lnTo>
                  <a:lnTo>
                    <a:pt x="444817" y="796671"/>
                  </a:lnTo>
                  <a:lnTo>
                    <a:pt x="449961" y="798100"/>
                  </a:lnTo>
                  <a:lnTo>
                    <a:pt x="459867" y="798100"/>
                  </a:lnTo>
                  <a:lnTo>
                    <a:pt x="476726" y="808292"/>
                  </a:lnTo>
                  <a:lnTo>
                    <a:pt x="491395" y="824484"/>
                  </a:lnTo>
                  <a:lnTo>
                    <a:pt x="495776" y="836009"/>
                  </a:lnTo>
                  <a:lnTo>
                    <a:pt x="501872" y="846011"/>
                  </a:lnTo>
                  <a:lnTo>
                    <a:pt x="515684" y="861632"/>
                  </a:lnTo>
                  <a:lnTo>
                    <a:pt x="511778" y="881634"/>
                  </a:lnTo>
                  <a:lnTo>
                    <a:pt x="513588" y="884206"/>
                  </a:lnTo>
                  <a:lnTo>
                    <a:pt x="510445" y="901351"/>
                  </a:lnTo>
                  <a:lnTo>
                    <a:pt x="514826" y="905732"/>
                  </a:lnTo>
                  <a:lnTo>
                    <a:pt x="521208" y="909923"/>
                  </a:lnTo>
                  <a:lnTo>
                    <a:pt x="527971" y="911733"/>
                  </a:lnTo>
                  <a:lnTo>
                    <a:pt x="531876" y="909542"/>
                  </a:lnTo>
                  <a:lnTo>
                    <a:pt x="534638" y="907447"/>
                  </a:lnTo>
                  <a:lnTo>
                    <a:pt x="538544" y="905542"/>
                  </a:lnTo>
                  <a:lnTo>
                    <a:pt x="566833" y="900113"/>
                  </a:lnTo>
                  <a:lnTo>
                    <a:pt x="571500" y="900398"/>
                  </a:lnTo>
                  <a:lnTo>
                    <a:pt x="574072" y="902780"/>
                  </a:lnTo>
                  <a:lnTo>
                    <a:pt x="576167" y="908399"/>
                  </a:lnTo>
                  <a:lnTo>
                    <a:pt x="580168" y="910495"/>
                  </a:lnTo>
                  <a:lnTo>
                    <a:pt x="582549" y="912400"/>
                  </a:lnTo>
                  <a:lnTo>
                    <a:pt x="603980" y="911066"/>
                  </a:lnTo>
                  <a:lnTo>
                    <a:pt x="604647" y="917353"/>
                  </a:lnTo>
                  <a:lnTo>
                    <a:pt x="608552" y="925544"/>
                  </a:lnTo>
                  <a:lnTo>
                    <a:pt x="605600" y="935736"/>
                  </a:lnTo>
                  <a:lnTo>
                    <a:pt x="618554" y="940975"/>
                  </a:lnTo>
                  <a:lnTo>
                    <a:pt x="639318" y="945356"/>
                  </a:lnTo>
                  <a:lnTo>
                    <a:pt x="651320" y="952976"/>
                  </a:lnTo>
                  <a:lnTo>
                    <a:pt x="656368" y="955167"/>
                  </a:lnTo>
                  <a:lnTo>
                    <a:pt x="663226" y="955262"/>
                  </a:lnTo>
                  <a:lnTo>
                    <a:pt x="667798" y="953834"/>
                  </a:lnTo>
                  <a:lnTo>
                    <a:pt x="672560" y="947928"/>
                  </a:lnTo>
                  <a:lnTo>
                    <a:pt x="673036" y="943166"/>
                  </a:lnTo>
                  <a:lnTo>
                    <a:pt x="675227" y="939451"/>
                  </a:lnTo>
                  <a:lnTo>
                    <a:pt x="677323" y="937927"/>
                  </a:lnTo>
                  <a:lnTo>
                    <a:pt x="681609" y="938689"/>
                  </a:lnTo>
                  <a:lnTo>
                    <a:pt x="686753" y="937260"/>
                  </a:lnTo>
                  <a:lnTo>
                    <a:pt x="695135" y="933069"/>
                  </a:lnTo>
                  <a:lnTo>
                    <a:pt x="701040" y="930021"/>
                  </a:lnTo>
                  <a:lnTo>
                    <a:pt x="705803" y="931831"/>
                  </a:lnTo>
                  <a:lnTo>
                    <a:pt x="707898" y="939451"/>
                  </a:lnTo>
                  <a:lnTo>
                    <a:pt x="712375" y="944023"/>
                  </a:lnTo>
                  <a:lnTo>
                    <a:pt x="720090" y="950024"/>
                  </a:lnTo>
                  <a:lnTo>
                    <a:pt x="736187" y="958406"/>
                  </a:lnTo>
                  <a:lnTo>
                    <a:pt x="743712" y="959930"/>
                  </a:lnTo>
                  <a:lnTo>
                    <a:pt x="751046" y="961263"/>
                  </a:lnTo>
                  <a:lnTo>
                    <a:pt x="750570" y="956501"/>
                  </a:lnTo>
                  <a:lnTo>
                    <a:pt x="751808" y="955072"/>
                  </a:lnTo>
                  <a:lnTo>
                    <a:pt x="754761" y="953262"/>
                  </a:lnTo>
                  <a:lnTo>
                    <a:pt x="766953" y="950881"/>
                  </a:lnTo>
                  <a:lnTo>
                    <a:pt x="772001" y="948500"/>
                  </a:lnTo>
                  <a:lnTo>
                    <a:pt x="778002" y="943832"/>
                  </a:lnTo>
                  <a:lnTo>
                    <a:pt x="793242" y="929354"/>
                  </a:lnTo>
                  <a:lnTo>
                    <a:pt x="808577" y="922973"/>
                  </a:lnTo>
                  <a:lnTo>
                    <a:pt x="810006" y="895445"/>
                  </a:lnTo>
                  <a:lnTo>
                    <a:pt x="812959" y="890588"/>
                  </a:lnTo>
                  <a:lnTo>
                    <a:pt x="814673" y="882682"/>
                  </a:lnTo>
                  <a:lnTo>
                    <a:pt x="814483" y="877634"/>
                  </a:lnTo>
                  <a:lnTo>
                    <a:pt x="809053" y="864965"/>
                  </a:lnTo>
                  <a:lnTo>
                    <a:pt x="805053" y="849440"/>
                  </a:lnTo>
                  <a:lnTo>
                    <a:pt x="810006" y="851535"/>
                  </a:lnTo>
                  <a:lnTo>
                    <a:pt x="825722" y="849916"/>
                  </a:lnTo>
                  <a:lnTo>
                    <a:pt x="834199" y="852964"/>
                  </a:lnTo>
                  <a:lnTo>
                    <a:pt x="837533" y="857060"/>
                  </a:lnTo>
                  <a:lnTo>
                    <a:pt x="846201" y="872395"/>
                  </a:lnTo>
                  <a:lnTo>
                    <a:pt x="848868" y="873633"/>
                  </a:lnTo>
                  <a:lnTo>
                    <a:pt x="856869" y="880682"/>
                  </a:lnTo>
                  <a:lnTo>
                    <a:pt x="859536" y="884682"/>
                  </a:lnTo>
                  <a:lnTo>
                    <a:pt x="862774" y="887730"/>
                  </a:lnTo>
                  <a:lnTo>
                    <a:pt x="869632" y="889921"/>
                  </a:lnTo>
                  <a:lnTo>
                    <a:pt x="876967" y="892302"/>
                  </a:lnTo>
                  <a:lnTo>
                    <a:pt x="879539" y="894969"/>
                  </a:lnTo>
                  <a:lnTo>
                    <a:pt x="887635" y="906780"/>
                  </a:lnTo>
                  <a:lnTo>
                    <a:pt x="901732" y="891159"/>
                  </a:lnTo>
                  <a:lnTo>
                    <a:pt x="910399" y="875348"/>
                  </a:lnTo>
                  <a:lnTo>
                    <a:pt x="908685" y="861155"/>
                  </a:lnTo>
                  <a:lnTo>
                    <a:pt x="919067" y="856393"/>
                  </a:lnTo>
                  <a:lnTo>
                    <a:pt x="923449" y="837438"/>
                  </a:lnTo>
                  <a:lnTo>
                    <a:pt x="933831" y="842105"/>
                  </a:lnTo>
                  <a:lnTo>
                    <a:pt x="950309" y="851630"/>
                  </a:lnTo>
                  <a:lnTo>
                    <a:pt x="964978" y="861155"/>
                  </a:lnTo>
                  <a:lnTo>
                    <a:pt x="972788" y="854774"/>
                  </a:lnTo>
                  <a:lnTo>
                    <a:pt x="982313" y="862679"/>
                  </a:lnTo>
                  <a:lnTo>
                    <a:pt x="997077" y="865918"/>
                  </a:lnTo>
                  <a:lnTo>
                    <a:pt x="1010983" y="869061"/>
                  </a:lnTo>
                  <a:lnTo>
                    <a:pt x="1017841" y="883253"/>
                  </a:lnTo>
                  <a:lnTo>
                    <a:pt x="1023937" y="894398"/>
                  </a:lnTo>
                  <a:lnTo>
                    <a:pt x="1032701" y="906304"/>
                  </a:lnTo>
                  <a:lnTo>
                    <a:pt x="1052798" y="922306"/>
                  </a:lnTo>
                  <a:lnTo>
                    <a:pt x="1054513" y="926592"/>
                  </a:lnTo>
                  <a:lnTo>
                    <a:pt x="1063371" y="930307"/>
                  </a:lnTo>
                  <a:lnTo>
                    <a:pt x="1072801" y="934212"/>
                  </a:lnTo>
                  <a:lnTo>
                    <a:pt x="1078706" y="928973"/>
                  </a:lnTo>
                  <a:lnTo>
                    <a:pt x="1079564" y="926783"/>
                  </a:lnTo>
                  <a:lnTo>
                    <a:pt x="1103186" y="934879"/>
                  </a:lnTo>
                  <a:lnTo>
                    <a:pt x="1109853" y="923449"/>
                  </a:lnTo>
                  <a:lnTo>
                    <a:pt x="1110234" y="921068"/>
                  </a:lnTo>
                  <a:lnTo>
                    <a:pt x="1110806" y="918972"/>
                  </a:lnTo>
                  <a:lnTo>
                    <a:pt x="1108901" y="916115"/>
                  </a:lnTo>
                  <a:lnTo>
                    <a:pt x="1094899" y="907066"/>
                  </a:lnTo>
                  <a:lnTo>
                    <a:pt x="1099185" y="900589"/>
                  </a:lnTo>
                  <a:lnTo>
                    <a:pt x="1109758" y="893921"/>
                  </a:lnTo>
                  <a:lnTo>
                    <a:pt x="1121664" y="891445"/>
                  </a:lnTo>
                  <a:lnTo>
                    <a:pt x="1133475" y="894779"/>
                  </a:lnTo>
                  <a:lnTo>
                    <a:pt x="1132618" y="890588"/>
                  </a:lnTo>
                  <a:lnTo>
                    <a:pt x="1132427" y="888301"/>
                  </a:lnTo>
                  <a:lnTo>
                    <a:pt x="1136904" y="888016"/>
                  </a:lnTo>
                  <a:lnTo>
                    <a:pt x="1141952" y="890016"/>
                  </a:lnTo>
                  <a:lnTo>
                    <a:pt x="1147096" y="889159"/>
                  </a:lnTo>
                  <a:lnTo>
                    <a:pt x="1165098" y="879253"/>
                  </a:lnTo>
                  <a:lnTo>
                    <a:pt x="1191578" y="852297"/>
                  </a:lnTo>
                  <a:lnTo>
                    <a:pt x="1191958" y="842582"/>
                  </a:lnTo>
                  <a:lnTo>
                    <a:pt x="1191292" y="838105"/>
                  </a:lnTo>
                  <a:lnTo>
                    <a:pt x="1189863" y="831818"/>
                  </a:lnTo>
                  <a:close/>
                </a:path>
              </a:pathLst>
            </a:custGeom>
            <a:grpFill/>
            <a:ln w="9525" cap="sq">
              <a:noFill/>
              <a:prstDash val="solid"/>
              <a:bevel/>
            </a:ln>
          </p:spPr>
          <p:txBody>
            <a:bodyPr rtlCol="0" anchor="ctr"/>
            <a:lstStyle/>
            <a:p>
              <a:endParaRPr lang="cs-CZ"/>
            </a:p>
          </p:txBody>
        </p:sp>
        <p:sp>
          <p:nvSpPr>
            <p:cNvPr id="163" name="Freeform: Shape 162">
              <a:extLst>
                <a:ext uri="{FF2B5EF4-FFF2-40B4-BE49-F238E27FC236}">
                  <a16:creationId xmlns:a16="http://schemas.microsoft.com/office/drawing/2014/main" id="{A8E4FBC3-DA0B-81A9-386A-89AAC3412341}"/>
                </a:ext>
              </a:extLst>
            </p:cNvPr>
            <p:cNvSpPr/>
            <p:nvPr/>
          </p:nvSpPr>
          <p:spPr>
            <a:xfrm>
              <a:off x="8633505" y="7098409"/>
              <a:ext cx="1592960" cy="602361"/>
            </a:xfrm>
            <a:custGeom>
              <a:avLst/>
              <a:gdLst>
                <a:gd name="connsiteX0" fmla="*/ 1591437 w 1592960"/>
                <a:gd name="connsiteY0" fmla="*/ 198215 h 602361"/>
                <a:gd name="connsiteX1" fmla="*/ 1588008 w 1592960"/>
                <a:gd name="connsiteY1" fmla="*/ 194024 h 602361"/>
                <a:gd name="connsiteX2" fmla="*/ 1587056 w 1592960"/>
                <a:gd name="connsiteY2" fmla="*/ 186119 h 602361"/>
                <a:gd name="connsiteX3" fmla="*/ 1588484 w 1592960"/>
                <a:gd name="connsiteY3" fmla="*/ 177355 h 602361"/>
                <a:gd name="connsiteX4" fmla="*/ 1587437 w 1592960"/>
                <a:gd name="connsiteY4" fmla="*/ 169640 h 602361"/>
                <a:gd name="connsiteX5" fmla="*/ 1587151 w 1592960"/>
                <a:gd name="connsiteY5" fmla="*/ 164116 h 602361"/>
                <a:gd name="connsiteX6" fmla="*/ 1584770 w 1592960"/>
                <a:gd name="connsiteY6" fmla="*/ 154305 h 602361"/>
                <a:gd name="connsiteX7" fmla="*/ 1585246 w 1592960"/>
                <a:gd name="connsiteY7" fmla="*/ 151829 h 602361"/>
                <a:gd name="connsiteX8" fmla="*/ 1574102 w 1592960"/>
                <a:gd name="connsiteY8" fmla="*/ 140875 h 602361"/>
                <a:gd name="connsiteX9" fmla="*/ 1561338 w 1592960"/>
                <a:gd name="connsiteY9" fmla="*/ 133064 h 602361"/>
                <a:gd name="connsiteX10" fmla="*/ 1560100 w 1592960"/>
                <a:gd name="connsiteY10" fmla="*/ 122015 h 602361"/>
                <a:gd name="connsiteX11" fmla="*/ 1550289 w 1592960"/>
                <a:gd name="connsiteY11" fmla="*/ 123063 h 602361"/>
                <a:gd name="connsiteX12" fmla="*/ 1536954 w 1592960"/>
                <a:gd name="connsiteY12" fmla="*/ 126397 h 602361"/>
                <a:gd name="connsiteX13" fmla="*/ 1528382 w 1592960"/>
                <a:gd name="connsiteY13" fmla="*/ 135255 h 602361"/>
                <a:gd name="connsiteX14" fmla="*/ 1521047 w 1592960"/>
                <a:gd name="connsiteY14" fmla="*/ 145256 h 602361"/>
                <a:gd name="connsiteX15" fmla="*/ 1508855 w 1592960"/>
                <a:gd name="connsiteY15" fmla="*/ 144209 h 602361"/>
                <a:gd name="connsiteX16" fmla="*/ 1493044 w 1592960"/>
                <a:gd name="connsiteY16" fmla="*/ 154210 h 602361"/>
                <a:gd name="connsiteX17" fmla="*/ 1435703 w 1592960"/>
                <a:gd name="connsiteY17" fmla="*/ 154210 h 602361"/>
                <a:gd name="connsiteX18" fmla="*/ 1430655 w 1592960"/>
                <a:gd name="connsiteY18" fmla="*/ 183737 h 602361"/>
                <a:gd name="connsiteX19" fmla="*/ 1421035 w 1592960"/>
                <a:gd name="connsiteY19" fmla="*/ 202121 h 602361"/>
                <a:gd name="connsiteX20" fmla="*/ 1417891 w 1592960"/>
                <a:gd name="connsiteY20" fmla="*/ 206502 h 602361"/>
                <a:gd name="connsiteX21" fmla="*/ 1397889 w 1592960"/>
                <a:gd name="connsiteY21" fmla="*/ 218599 h 602361"/>
                <a:gd name="connsiteX22" fmla="*/ 1395127 w 1592960"/>
                <a:gd name="connsiteY22" fmla="*/ 205073 h 602361"/>
                <a:gd name="connsiteX23" fmla="*/ 1393984 w 1592960"/>
                <a:gd name="connsiteY23" fmla="*/ 201454 h 602361"/>
                <a:gd name="connsiteX24" fmla="*/ 1386459 w 1592960"/>
                <a:gd name="connsiteY24" fmla="*/ 197453 h 602361"/>
                <a:gd name="connsiteX25" fmla="*/ 1371886 w 1592960"/>
                <a:gd name="connsiteY25" fmla="*/ 202216 h 602361"/>
                <a:gd name="connsiteX26" fmla="*/ 1361599 w 1592960"/>
                <a:gd name="connsiteY26" fmla="*/ 190024 h 602361"/>
                <a:gd name="connsiteX27" fmla="*/ 1364171 w 1592960"/>
                <a:gd name="connsiteY27" fmla="*/ 184213 h 602361"/>
                <a:gd name="connsiteX28" fmla="*/ 1358837 w 1592960"/>
                <a:gd name="connsiteY28" fmla="*/ 179261 h 602361"/>
                <a:gd name="connsiteX29" fmla="*/ 1350645 w 1592960"/>
                <a:gd name="connsiteY29" fmla="*/ 177355 h 602361"/>
                <a:gd name="connsiteX30" fmla="*/ 1345311 w 1592960"/>
                <a:gd name="connsiteY30" fmla="*/ 173736 h 602361"/>
                <a:gd name="connsiteX31" fmla="*/ 1335405 w 1592960"/>
                <a:gd name="connsiteY31" fmla="*/ 171069 h 602361"/>
                <a:gd name="connsiteX32" fmla="*/ 1320356 w 1592960"/>
                <a:gd name="connsiteY32" fmla="*/ 178117 h 602361"/>
                <a:gd name="connsiteX33" fmla="*/ 1307021 w 1592960"/>
                <a:gd name="connsiteY33" fmla="*/ 188023 h 602361"/>
                <a:gd name="connsiteX34" fmla="*/ 1299972 w 1592960"/>
                <a:gd name="connsiteY34" fmla="*/ 190500 h 602361"/>
                <a:gd name="connsiteX35" fmla="*/ 1293304 w 1592960"/>
                <a:gd name="connsiteY35" fmla="*/ 188500 h 602361"/>
                <a:gd name="connsiteX36" fmla="*/ 1285208 w 1592960"/>
                <a:gd name="connsiteY36" fmla="*/ 181070 h 602361"/>
                <a:gd name="connsiteX37" fmla="*/ 1278065 w 1592960"/>
                <a:gd name="connsiteY37" fmla="*/ 162687 h 602361"/>
                <a:gd name="connsiteX38" fmla="*/ 1257967 w 1592960"/>
                <a:gd name="connsiteY38" fmla="*/ 182404 h 602361"/>
                <a:gd name="connsiteX39" fmla="*/ 1257110 w 1592960"/>
                <a:gd name="connsiteY39" fmla="*/ 173927 h 602361"/>
                <a:gd name="connsiteX40" fmla="*/ 1255300 w 1592960"/>
                <a:gd name="connsiteY40" fmla="*/ 170783 h 602361"/>
                <a:gd name="connsiteX41" fmla="*/ 1251871 w 1592960"/>
                <a:gd name="connsiteY41" fmla="*/ 167450 h 602361"/>
                <a:gd name="connsiteX42" fmla="*/ 1250823 w 1592960"/>
                <a:gd name="connsiteY42" fmla="*/ 163354 h 602361"/>
                <a:gd name="connsiteX43" fmla="*/ 1251585 w 1592960"/>
                <a:gd name="connsiteY43" fmla="*/ 160401 h 602361"/>
                <a:gd name="connsiteX44" fmla="*/ 1255966 w 1592960"/>
                <a:gd name="connsiteY44" fmla="*/ 158591 h 602361"/>
                <a:gd name="connsiteX45" fmla="*/ 1258443 w 1592960"/>
                <a:gd name="connsiteY45" fmla="*/ 155448 h 602361"/>
                <a:gd name="connsiteX46" fmla="*/ 1259396 w 1592960"/>
                <a:gd name="connsiteY46" fmla="*/ 151448 h 602361"/>
                <a:gd name="connsiteX47" fmla="*/ 1248156 w 1592960"/>
                <a:gd name="connsiteY47" fmla="*/ 140303 h 602361"/>
                <a:gd name="connsiteX48" fmla="*/ 1219962 w 1592960"/>
                <a:gd name="connsiteY48" fmla="*/ 129635 h 602361"/>
                <a:gd name="connsiteX49" fmla="*/ 1216533 w 1592960"/>
                <a:gd name="connsiteY49" fmla="*/ 109442 h 602361"/>
                <a:gd name="connsiteX50" fmla="*/ 1217009 w 1592960"/>
                <a:gd name="connsiteY50" fmla="*/ 103346 h 602361"/>
                <a:gd name="connsiteX51" fmla="*/ 1221105 w 1592960"/>
                <a:gd name="connsiteY51" fmla="*/ 98203 h 602361"/>
                <a:gd name="connsiteX52" fmla="*/ 1223582 w 1592960"/>
                <a:gd name="connsiteY52" fmla="*/ 92583 h 602361"/>
                <a:gd name="connsiteX53" fmla="*/ 1226344 w 1592960"/>
                <a:gd name="connsiteY53" fmla="*/ 88487 h 602361"/>
                <a:gd name="connsiteX54" fmla="*/ 1223200 w 1592960"/>
                <a:gd name="connsiteY54" fmla="*/ 74962 h 602361"/>
                <a:gd name="connsiteX55" fmla="*/ 1217295 w 1592960"/>
                <a:gd name="connsiteY55" fmla="*/ 66675 h 602361"/>
                <a:gd name="connsiteX56" fmla="*/ 1211199 w 1592960"/>
                <a:gd name="connsiteY56" fmla="*/ 66104 h 602361"/>
                <a:gd name="connsiteX57" fmla="*/ 1209008 w 1592960"/>
                <a:gd name="connsiteY57" fmla="*/ 64008 h 602361"/>
                <a:gd name="connsiteX58" fmla="*/ 1205389 w 1592960"/>
                <a:gd name="connsiteY58" fmla="*/ 58960 h 602361"/>
                <a:gd name="connsiteX59" fmla="*/ 1201007 w 1592960"/>
                <a:gd name="connsiteY59" fmla="*/ 54007 h 602361"/>
                <a:gd name="connsiteX60" fmla="*/ 1193102 w 1592960"/>
                <a:gd name="connsiteY60" fmla="*/ 47244 h 602361"/>
                <a:gd name="connsiteX61" fmla="*/ 1185672 w 1592960"/>
                <a:gd name="connsiteY61" fmla="*/ 48863 h 602361"/>
                <a:gd name="connsiteX62" fmla="*/ 1183100 w 1592960"/>
                <a:gd name="connsiteY62" fmla="*/ 54292 h 602361"/>
                <a:gd name="connsiteX63" fmla="*/ 1186434 w 1592960"/>
                <a:gd name="connsiteY63" fmla="*/ 56864 h 602361"/>
                <a:gd name="connsiteX64" fmla="*/ 1186625 w 1592960"/>
                <a:gd name="connsiteY64" fmla="*/ 61055 h 602361"/>
                <a:gd name="connsiteX65" fmla="*/ 1185672 w 1592960"/>
                <a:gd name="connsiteY65" fmla="*/ 66580 h 602361"/>
                <a:gd name="connsiteX66" fmla="*/ 1180910 w 1592960"/>
                <a:gd name="connsiteY66" fmla="*/ 74962 h 602361"/>
                <a:gd name="connsiteX67" fmla="*/ 1179386 w 1592960"/>
                <a:gd name="connsiteY67" fmla="*/ 79915 h 602361"/>
                <a:gd name="connsiteX68" fmla="*/ 1164527 w 1592960"/>
                <a:gd name="connsiteY68" fmla="*/ 88297 h 602361"/>
                <a:gd name="connsiteX69" fmla="*/ 1155478 w 1592960"/>
                <a:gd name="connsiteY69" fmla="*/ 75152 h 602361"/>
                <a:gd name="connsiteX70" fmla="*/ 1144905 w 1592960"/>
                <a:gd name="connsiteY70" fmla="*/ 72961 h 602361"/>
                <a:gd name="connsiteX71" fmla="*/ 1130713 w 1592960"/>
                <a:gd name="connsiteY71" fmla="*/ 65627 h 602361"/>
                <a:gd name="connsiteX72" fmla="*/ 1113758 w 1592960"/>
                <a:gd name="connsiteY72" fmla="*/ 65532 h 602361"/>
                <a:gd name="connsiteX73" fmla="*/ 1091851 w 1592960"/>
                <a:gd name="connsiteY73" fmla="*/ 58007 h 602361"/>
                <a:gd name="connsiteX74" fmla="*/ 1065371 w 1592960"/>
                <a:gd name="connsiteY74" fmla="*/ 84963 h 602361"/>
                <a:gd name="connsiteX75" fmla="*/ 1047369 w 1592960"/>
                <a:gd name="connsiteY75" fmla="*/ 94869 h 602361"/>
                <a:gd name="connsiteX76" fmla="*/ 1042225 w 1592960"/>
                <a:gd name="connsiteY76" fmla="*/ 95726 h 602361"/>
                <a:gd name="connsiteX77" fmla="*/ 1037177 w 1592960"/>
                <a:gd name="connsiteY77" fmla="*/ 93726 h 602361"/>
                <a:gd name="connsiteX78" fmla="*/ 1032700 w 1592960"/>
                <a:gd name="connsiteY78" fmla="*/ 94012 h 602361"/>
                <a:gd name="connsiteX79" fmla="*/ 1032891 w 1592960"/>
                <a:gd name="connsiteY79" fmla="*/ 96298 h 602361"/>
                <a:gd name="connsiteX80" fmla="*/ 1033748 w 1592960"/>
                <a:gd name="connsiteY80" fmla="*/ 100489 h 602361"/>
                <a:gd name="connsiteX81" fmla="*/ 1021937 w 1592960"/>
                <a:gd name="connsiteY81" fmla="*/ 97155 h 602361"/>
                <a:gd name="connsiteX82" fmla="*/ 1010031 w 1592960"/>
                <a:gd name="connsiteY82" fmla="*/ 99631 h 602361"/>
                <a:gd name="connsiteX83" fmla="*/ 999458 w 1592960"/>
                <a:gd name="connsiteY83" fmla="*/ 106299 h 602361"/>
                <a:gd name="connsiteX84" fmla="*/ 995172 w 1592960"/>
                <a:gd name="connsiteY84" fmla="*/ 112776 h 602361"/>
                <a:gd name="connsiteX85" fmla="*/ 1009174 w 1592960"/>
                <a:gd name="connsiteY85" fmla="*/ 121825 h 602361"/>
                <a:gd name="connsiteX86" fmla="*/ 1011079 w 1592960"/>
                <a:gd name="connsiteY86" fmla="*/ 124682 h 602361"/>
                <a:gd name="connsiteX87" fmla="*/ 1010507 w 1592960"/>
                <a:gd name="connsiteY87" fmla="*/ 126778 h 602361"/>
                <a:gd name="connsiteX88" fmla="*/ 1010126 w 1592960"/>
                <a:gd name="connsiteY88" fmla="*/ 129159 h 602361"/>
                <a:gd name="connsiteX89" fmla="*/ 1003459 w 1592960"/>
                <a:gd name="connsiteY89" fmla="*/ 140589 h 602361"/>
                <a:gd name="connsiteX90" fmla="*/ 979837 w 1592960"/>
                <a:gd name="connsiteY90" fmla="*/ 132493 h 602361"/>
                <a:gd name="connsiteX91" fmla="*/ 978979 w 1592960"/>
                <a:gd name="connsiteY91" fmla="*/ 134684 h 602361"/>
                <a:gd name="connsiteX92" fmla="*/ 973074 w 1592960"/>
                <a:gd name="connsiteY92" fmla="*/ 139922 h 602361"/>
                <a:gd name="connsiteX93" fmla="*/ 963644 w 1592960"/>
                <a:gd name="connsiteY93" fmla="*/ 136017 h 602361"/>
                <a:gd name="connsiteX94" fmla="*/ 954786 w 1592960"/>
                <a:gd name="connsiteY94" fmla="*/ 132302 h 602361"/>
                <a:gd name="connsiteX95" fmla="*/ 953072 w 1592960"/>
                <a:gd name="connsiteY95" fmla="*/ 128016 h 602361"/>
                <a:gd name="connsiteX96" fmla="*/ 932974 w 1592960"/>
                <a:gd name="connsiteY96" fmla="*/ 112014 h 602361"/>
                <a:gd name="connsiteX97" fmla="*/ 924211 w 1592960"/>
                <a:gd name="connsiteY97" fmla="*/ 100108 h 602361"/>
                <a:gd name="connsiteX98" fmla="*/ 918115 w 1592960"/>
                <a:gd name="connsiteY98" fmla="*/ 88963 h 602361"/>
                <a:gd name="connsiteX99" fmla="*/ 911257 w 1592960"/>
                <a:gd name="connsiteY99" fmla="*/ 74771 h 602361"/>
                <a:gd name="connsiteX100" fmla="*/ 897350 w 1592960"/>
                <a:gd name="connsiteY100" fmla="*/ 71628 h 602361"/>
                <a:gd name="connsiteX101" fmla="*/ 882586 w 1592960"/>
                <a:gd name="connsiteY101" fmla="*/ 68390 h 602361"/>
                <a:gd name="connsiteX102" fmla="*/ 873061 w 1592960"/>
                <a:gd name="connsiteY102" fmla="*/ 60484 h 602361"/>
                <a:gd name="connsiteX103" fmla="*/ 865251 w 1592960"/>
                <a:gd name="connsiteY103" fmla="*/ 66865 h 602361"/>
                <a:gd name="connsiteX104" fmla="*/ 850582 w 1592960"/>
                <a:gd name="connsiteY104" fmla="*/ 57340 h 602361"/>
                <a:gd name="connsiteX105" fmla="*/ 834104 w 1592960"/>
                <a:gd name="connsiteY105" fmla="*/ 47815 h 602361"/>
                <a:gd name="connsiteX106" fmla="*/ 823722 w 1592960"/>
                <a:gd name="connsiteY106" fmla="*/ 43148 h 602361"/>
                <a:gd name="connsiteX107" fmla="*/ 819340 w 1592960"/>
                <a:gd name="connsiteY107" fmla="*/ 62103 h 602361"/>
                <a:gd name="connsiteX108" fmla="*/ 808958 w 1592960"/>
                <a:gd name="connsiteY108" fmla="*/ 66865 h 602361"/>
                <a:gd name="connsiteX109" fmla="*/ 810673 w 1592960"/>
                <a:gd name="connsiteY109" fmla="*/ 81058 h 602361"/>
                <a:gd name="connsiteX110" fmla="*/ 802005 w 1592960"/>
                <a:gd name="connsiteY110" fmla="*/ 96869 h 602361"/>
                <a:gd name="connsiteX111" fmla="*/ 787908 w 1592960"/>
                <a:gd name="connsiteY111" fmla="*/ 112490 h 602361"/>
                <a:gd name="connsiteX112" fmla="*/ 779812 w 1592960"/>
                <a:gd name="connsiteY112" fmla="*/ 100679 h 602361"/>
                <a:gd name="connsiteX113" fmla="*/ 777240 w 1592960"/>
                <a:gd name="connsiteY113" fmla="*/ 98012 h 602361"/>
                <a:gd name="connsiteX114" fmla="*/ 769906 w 1592960"/>
                <a:gd name="connsiteY114" fmla="*/ 95631 h 602361"/>
                <a:gd name="connsiteX115" fmla="*/ 763048 w 1592960"/>
                <a:gd name="connsiteY115" fmla="*/ 93440 h 602361"/>
                <a:gd name="connsiteX116" fmla="*/ 759809 w 1592960"/>
                <a:gd name="connsiteY116" fmla="*/ 90392 h 602361"/>
                <a:gd name="connsiteX117" fmla="*/ 757142 w 1592960"/>
                <a:gd name="connsiteY117" fmla="*/ 86392 h 602361"/>
                <a:gd name="connsiteX118" fmla="*/ 749141 w 1592960"/>
                <a:gd name="connsiteY118" fmla="*/ 79343 h 602361"/>
                <a:gd name="connsiteX119" fmla="*/ 746474 w 1592960"/>
                <a:gd name="connsiteY119" fmla="*/ 78105 h 602361"/>
                <a:gd name="connsiteX120" fmla="*/ 737807 w 1592960"/>
                <a:gd name="connsiteY120" fmla="*/ 62770 h 602361"/>
                <a:gd name="connsiteX121" fmla="*/ 734473 w 1592960"/>
                <a:gd name="connsiteY121" fmla="*/ 58674 h 602361"/>
                <a:gd name="connsiteX122" fmla="*/ 725995 w 1592960"/>
                <a:gd name="connsiteY122" fmla="*/ 55626 h 602361"/>
                <a:gd name="connsiteX123" fmla="*/ 710279 w 1592960"/>
                <a:gd name="connsiteY123" fmla="*/ 57245 h 602361"/>
                <a:gd name="connsiteX124" fmla="*/ 705326 w 1592960"/>
                <a:gd name="connsiteY124" fmla="*/ 55150 h 602361"/>
                <a:gd name="connsiteX125" fmla="*/ 709327 w 1592960"/>
                <a:gd name="connsiteY125" fmla="*/ 70675 h 602361"/>
                <a:gd name="connsiteX126" fmla="*/ 714756 w 1592960"/>
                <a:gd name="connsiteY126" fmla="*/ 83344 h 602361"/>
                <a:gd name="connsiteX127" fmla="*/ 714947 w 1592960"/>
                <a:gd name="connsiteY127" fmla="*/ 88392 h 602361"/>
                <a:gd name="connsiteX128" fmla="*/ 713232 w 1592960"/>
                <a:gd name="connsiteY128" fmla="*/ 96298 h 602361"/>
                <a:gd name="connsiteX129" fmla="*/ 710279 w 1592960"/>
                <a:gd name="connsiteY129" fmla="*/ 101155 h 602361"/>
                <a:gd name="connsiteX130" fmla="*/ 708850 w 1592960"/>
                <a:gd name="connsiteY130" fmla="*/ 128683 h 602361"/>
                <a:gd name="connsiteX131" fmla="*/ 693515 w 1592960"/>
                <a:gd name="connsiteY131" fmla="*/ 135065 h 602361"/>
                <a:gd name="connsiteX132" fmla="*/ 678275 w 1592960"/>
                <a:gd name="connsiteY132" fmla="*/ 149542 h 602361"/>
                <a:gd name="connsiteX133" fmla="*/ 672274 w 1592960"/>
                <a:gd name="connsiteY133" fmla="*/ 154210 h 602361"/>
                <a:gd name="connsiteX134" fmla="*/ 667226 w 1592960"/>
                <a:gd name="connsiteY134" fmla="*/ 156591 h 602361"/>
                <a:gd name="connsiteX135" fmla="*/ 655034 w 1592960"/>
                <a:gd name="connsiteY135" fmla="*/ 158972 h 602361"/>
                <a:gd name="connsiteX136" fmla="*/ 652082 w 1592960"/>
                <a:gd name="connsiteY136" fmla="*/ 160782 h 602361"/>
                <a:gd name="connsiteX137" fmla="*/ 650843 w 1592960"/>
                <a:gd name="connsiteY137" fmla="*/ 162211 h 602361"/>
                <a:gd name="connsiteX138" fmla="*/ 651320 w 1592960"/>
                <a:gd name="connsiteY138" fmla="*/ 166973 h 602361"/>
                <a:gd name="connsiteX139" fmla="*/ 643985 w 1592960"/>
                <a:gd name="connsiteY139" fmla="*/ 165640 h 602361"/>
                <a:gd name="connsiteX140" fmla="*/ 636461 w 1592960"/>
                <a:gd name="connsiteY140" fmla="*/ 164116 h 602361"/>
                <a:gd name="connsiteX141" fmla="*/ 620363 w 1592960"/>
                <a:gd name="connsiteY141" fmla="*/ 155734 h 602361"/>
                <a:gd name="connsiteX142" fmla="*/ 612648 w 1592960"/>
                <a:gd name="connsiteY142" fmla="*/ 149733 h 602361"/>
                <a:gd name="connsiteX143" fmla="*/ 608171 w 1592960"/>
                <a:gd name="connsiteY143" fmla="*/ 145161 h 602361"/>
                <a:gd name="connsiteX144" fmla="*/ 606076 w 1592960"/>
                <a:gd name="connsiteY144" fmla="*/ 137541 h 602361"/>
                <a:gd name="connsiteX145" fmla="*/ 601313 w 1592960"/>
                <a:gd name="connsiteY145" fmla="*/ 135731 h 602361"/>
                <a:gd name="connsiteX146" fmla="*/ 595408 w 1592960"/>
                <a:gd name="connsiteY146" fmla="*/ 138779 h 602361"/>
                <a:gd name="connsiteX147" fmla="*/ 587026 w 1592960"/>
                <a:gd name="connsiteY147" fmla="*/ 142970 h 602361"/>
                <a:gd name="connsiteX148" fmla="*/ 581882 w 1592960"/>
                <a:gd name="connsiteY148" fmla="*/ 144399 h 602361"/>
                <a:gd name="connsiteX149" fmla="*/ 577596 w 1592960"/>
                <a:gd name="connsiteY149" fmla="*/ 143637 h 602361"/>
                <a:gd name="connsiteX150" fmla="*/ 575500 w 1592960"/>
                <a:gd name="connsiteY150" fmla="*/ 145161 h 602361"/>
                <a:gd name="connsiteX151" fmla="*/ 573310 w 1592960"/>
                <a:gd name="connsiteY151" fmla="*/ 148876 h 602361"/>
                <a:gd name="connsiteX152" fmla="*/ 572833 w 1592960"/>
                <a:gd name="connsiteY152" fmla="*/ 153638 h 602361"/>
                <a:gd name="connsiteX153" fmla="*/ 568071 w 1592960"/>
                <a:gd name="connsiteY153" fmla="*/ 159544 h 602361"/>
                <a:gd name="connsiteX154" fmla="*/ 563499 w 1592960"/>
                <a:gd name="connsiteY154" fmla="*/ 160973 h 602361"/>
                <a:gd name="connsiteX155" fmla="*/ 556641 w 1592960"/>
                <a:gd name="connsiteY155" fmla="*/ 160877 h 602361"/>
                <a:gd name="connsiteX156" fmla="*/ 551593 w 1592960"/>
                <a:gd name="connsiteY156" fmla="*/ 158686 h 602361"/>
                <a:gd name="connsiteX157" fmla="*/ 539591 w 1592960"/>
                <a:gd name="connsiteY157" fmla="*/ 151067 h 602361"/>
                <a:gd name="connsiteX158" fmla="*/ 518827 w 1592960"/>
                <a:gd name="connsiteY158" fmla="*/ 146685 h 602361"/>
                <a:gd name="connsiteX159" fmla="*/ 505873 w 1592960"/>
                <a:gd name="connsiteY159" fmla="*/ 141446 h 602361"/>
                <a:gd name="connsiteX160" fmla="*/ 508825 w 1592960"/>
                <a:gd name="connsiteY160" fmla="*/ 131254 h 602361"/>
                <a:gd name="connsiteX161" fmla="*/ 504920 w 1592960"/>
                <a:gd name="connsiteY161" fmla="*/ 123063 h 602361"/>
                <a:gd name="connsiteX162" fmla="*/ 504253 w 1592960"/>
                <a:gd name="connsiteY162" fmla="*/ 116777 h 602361"/>
                <a:gd name="connsiteX163" fmla="*/ 482822 w 1592960"/>
                <a:gd name="connsiteY163" fmla="*/ 118110 h 602361"/>
                <a:gd name="connsiteX164" fmla="*/ 480441 w 1592960"/>
                <a:gd name="connsiteY164" fmla="*/ 116205 h 602361"/>
                <a:gd name="connsiteX165" fmla="*/ 476440 w 1592960"/>
                <a:gd name="connsiteY165" fmla="*/ 114109 h 602361"/>
                <a:gd name="connsiteX166" fmla="*/ 474345 w 1592960"/>
                <a:gd name="connsiteY166" fmla="*/ 108490 h 602361"/>
                <a:gd name="connsiteX167" fmla="*/ 471773 w 1592960"/>
                <a:gd name="connsiteY167" fmla="*/ 106108 h 602361"/>
                <a:gd name="connsiteX168" fmla="*/ 467106 w 1592960"/>
                <a:gd name="connsiteY168" fmla="*/ 105823 h 602361"/>
                <a:gd name="connsiteX169" fmla="*/ 438817 w 1592960"/>
                <a:gd name="connsiteY169" fmla="*/ 111252 h 602361"/>
                <a:gd name="connsiteX170" fmla="*/ 434911 w 1592960"/>
                <a:gd name="connsiteY170" fmla="*/ 113157 h 602361"/>
                <a:gd name="connsiteX171" fmla="*/ 432149 w 1592960"/>
                <a:gd name="connsiteY171" fmla="*/ 115252 h 602361"/>
                <a:gd name="connsiteX172" fmla="*/ 428244 w 1592960"/>
                <a:gd name="connsiteY172" fmla="*/ 117443 h 602361"/>
                <a:gd name="connsiteX173" fmla="*/ 421481 w 1592960"/>
                <a:gd name="connsiteY173" fmla="*/ 115633 h 602361"/>
                <a:gd name="connsiteX174" fmla="*/ 415099 w 1592960"/>
                <a:gd name="connsiteY174" fmla="*/ 111442 h 602361"/>
                <a:gd name="connsiteX175" fmla="*/ 410718 w 1592960"/>
                <a:gd name="connsiteY175" fmla="*/ 107061 h 602361"/>
                <a:gd name="connsiteX176" fmla="*/ 413861 w 1592960"/>
                <a:gd name="connsiteY176" fmla="*/ 89916 h 602361"/>
                <a:gd name="connsiteX177" fmla="*/ 412051 w 1592960"/>
                <a:gd name="connsiteY177" fmla="*/ 87344 h 602361"/>
                <a:gd name="connsiteX178" fmla="*/ 415957 w 1592960"/>
                <a:gd name="connsiteY178" fmla="*/ 67342 h 602361"/>
                <a:gd name="connsiteX179" fmla="*/ 402146 w 1592960"/>
                <a:gd name="connsiteY179" fmla="*/ 51721 h 602361"/>
                <a:gd name="connsiteX180" fmla="*/ 396049 w 1592960"/>
                <a:gd name="connsiteY180" fmla="*/ 41719 h 602361"/>
                <a:gd name="connsiteX181" fmla="*/ 391668 w 1592960"/>
                <a:gd name="connsiteY181" fmla="*/ 30194 h 602361"/>
                <a:gd name="connsiteX182" fmla="*/ 376999 w 1592960"/>
                <a:gd name="connsiteY182" fmla="*/ 14002 h 602361"/>
                <a:gd name="connsiteX183" fmla="*/ 360140 w 1592960"/>
                <a:gd name="connsiteY183" fmla="*/ 3810 h 602361"/>
                <a:gd name="connsiteX184" fmla="*/ 350234 w 1592960"/>
                <a:gd name="connsiteY184" fmla="*/ 3810 h 602361"/>
                <a:gd name="connsiteX185" fmla="*/ 345091 w 1592960"/>
                <a:gd name="connsiteY185" fmla="*/ 2381 h 602361"/>
                <a:gd name="connsiteX186" fmla="*/ 313563 w 1592960"/>
                <a:gd name="connsiteY186" fmla="*/ 0 h 602361"/>
                <a:gd name="connsiteX187" fmla="*/ 296132 w 1592960"/>
                <a:gd name="connsiteY187" fmla="*/ 7334 h 602361"/>
                <a:gd name="connsiteX188" fmla="*/ 305753 w 1592960"/>
                <a:gd name="connsiteY188" fmla="*/ 56007 h 602361"/>
                <a:gd name="connsiteX189" fmla="*/ 292132 w 1592960"/>
                <a:gd name="connsiteY189" fmla="*/ 67723 h 602361"/>
                <a:gd name="connsiteX190" fmla="*/ 275463 w 1592960"/>
                <a:gd name="connsiteY190" fmla="*/ 72771 h 602361"/>
                <a:gd name="connsiteX191" fmla="*/ 270891 w 1592960"/>
                <a:gd name="connsiteY191" fmla="*/ 72866 h 602361"/>
                <a:gd name="connsiteX192" fmla="*/ 267938 w 1592960"/>
                <a:gd name="connsiteY192" fmla="*/ 71628 h 602361"/>
                <a:gd name="connsiteX193" fmla="*/ 262319 w 1592960"/>
                <a:gd name="connsiteY193" fmla="*/ 66770 h 602361"/>
                <a:gd name="connsiteX194" fmla="*/ 241649 w 1592960"/>
                <a:gd name="connsiteY194" fmla="*/ 80010 h 602361"/>
                <a:gd name="connsiteX195" fmla="*/ 239268 w 1592960"/>
                <a:gd name="connsiteY195" fmla="*/ 85725 h 602361"/>
                <a:gd name="connsiteX196" fmla="*/ 238887 w 1592960"/>
                <a:gd name="connsiteY196" fmla="*/ 91916 h 602361"/>
                <a:gd name="connsiteX197" fmla="*/ 242888 w 1592960"/>
                <a:gd name="connsiteY197" fmla="*/ 103251 h 602361"/>
                <a:gd name="connsiteX198" fmla="*/ 232981 w 1592960"/>
                <a:gd name="connsiteY198" fmla="*/ 127444 h 602361"/>
                <a:gd name="connsiteX199" fmla="*/ 222313 w 1592960"/>
                <a:gd name="connsiteY199" fmla="*/ 131064 h 602361"/>
                <a:gd name="connsiteX200" fmla="*/ 200311 w 1592960"/>
                <a:gd name="connsiteY200" fmla="*/ 130492 h 602361"/>
                <a:gd name="connsiteX201" fmla="*/ 191643 w 1592960"/>
                <a:gd name="connsiteY201" fmla="*/ 134874 h 602361"/>
                <a:gd name="connsiteX202" fmla="*/ 183166 w 1592960"/>
                <a:gd name="connsiteY202" fmla="*/ 143732 h 602361"/>
                <a:gd name="connsiteX203" fmla="*/ 164306 w 1592960"/>
                <a:gd name="connsiteY203" fmla="*/ 139160 h 602361"/>
                <a:gd name="connsiteX204" fmla="*/ 154876 w 1592960"/>
                <a:gd name="connsiteY204" fmla="*/ 144304 h 602361"/>
                <a:gd name="connsiteX205" fmla="*/ 148971 w 1592960"/>
                <a:gd name="connsiteY205" fmla="*/ 144971 h 602361"/>
                <a:gd name="connsiteX206" fmla="*/ 127444 w 1592960"/>
                <a:gd name="connsiteY206" fmla="*/ 141923 h 602361"/>
                <a:gd name="connsiteX207" fmla="*/ 110871 w 1592960"/>
                <a:gd name="connsiteY207" fmla="*/ 130778 h 602361"/>
                <a:gd name="connsiteX208" fmla="*/ 78676 w 1592960"/>
                <a:gd name="connsiteY208" fmla="*/ 130111 h 602361"/>
                <a:gd name="connsiteX209" fmla="*/ 67627 w 1592960"/>
                <a:gd name="connsiteY209" fmla="*/ 131921 h 602361"/>
                <a:gd name="connsiteX210" fmla="*/ 48482 w 1592960"/>
                <a:gd name="connsiteY210" fmla="*/ 139732 h 602361"/>
                <a:gd name="connsiteX211" fmla="*/ 38481 w 1592960"/>
                <a:gd name="connsiteY211" fmla="*/ 141161 h 602361"/>
                <a:gd name="connsiteX212" fmla="*/ 40386 w 1592960"/>
                <a:gd name="connsiteY212" fmla="*/ 153734 h 602361"/>
                <a:gd name="connsiteX213" fmla="*/ 49530 w 1592960"/>
                <a:gd name="connsiteY213" fmla="*/ 158496 h 602361"/>
                <a:gd name="connsiteX214" fmla="*/ 53149 w 1592960"/>
                <a:gd name="connsiteY214" fmla="*/ 167830 h 602361"/>
                <a:gd name="connsiteX215" fmla="*/ 61436 w 1592960"/>
                <a:gd name="connsiteY215" fmla="*/ 177832 h 602361"/>
                <a:gd name="connsiteX216" fmla="*/ 59531 w 1592960"/>
                <a:gd name="connsiteY216" fmla="*/ 187357 h 602361"/>
                <a:gd name="connsiteX217" fmla="*/ 54292 w 1592960"/>
                <a:gd name="connsiteY217" fmla="*/ 197072 h 602361"/>
                <a:gd name="connsiteX218" fmla="*/ 49816 w 1592960"/>
                <a:gd name="connsiteY218" fmla="*/ 201740 h 602361"/>
                <a:gd name="connsiteX219" fmla="*/ 45053 w 1592960"/>
                <a:gd name="connsiteY219" fmla="*/ 204025 h 602361"/>
                <a:gd name="connsiteX220" fmla="*/ 35719 w 1592960"/>
                <a:gd name="connsiteY220" fmla="*/ 204025 h 602361"/>
                <a:gd name="connsiteX221" fmla="*/ 30956 w 1592960"/>
                <a:gd name="connsiteY221" fmla="*/ 204883 h 602361"/>
                <a:gd name="connsiteX222" fmla="*/ 29432 w 1592960"/>
                <a:gd name="connsiteY222" fmla="*/ 208217 h 602361"/>
                <a:gd name="connsiteX223" fmla="*/ 29337 w 1592960"/>
                <a:gd name="connsiteY223" fmla="*/ 211550 h 602361"/>
                <a:gd name="connsiteX224" fmla="*/ 29432 w 1592960"/>
                <a:gd name="connsiteY224" fmla="*/ 214979 h 602361"/>
                <a:gd name="connsiteX225" fmla="*/ 30099 w 1592960"/>
                <a:gd name="connsiteY225" fmla="*/ 217837 h 602361"/>
                <a:gd name="connsiteX226" fmla="*/ 32290 w 1592960"/>
                <a:gd name="connsiteY226" fmla="*/ 219265 h 602361"/>
                <a:gd name="connsiteX227" fmla="*/ 33909 w 1592960"/>
                <a:gd name="connsiteY227" fmla="*/ 222409 h 602361"/>
                <a:gd name="connsiteX228" fmla="*/ 35242 w 1592960"/>
                <a:gd name="connsiteY228" fmla="*/ 224028 h 602361"/>
                <a:gd name="connsiteX229" fmla="*/ 37624 w 1592960"/>
                <a:gd name="connsiteY229" fmla="*/ 231553 h 602361"/>
                <a:gd name="connsiteX230" fmla="*/ 28003 w 1592960"/>
                <a:gd name="connsiteY230" fmla="*/ 232219 h 602361"/>
                <a:gd name="connsiteX231" fmla="*/ 20955 w 1592960"/>
                <a:gd name="connsiteY231" fmla="*/ 236029 h 602361"/>
                <a:gd name="connsiteX232" fmla="*/ 13430 w 1592960"/>
                <a:gd name="connsiteY232" fmla="*/ 233553 h 602361"/>
                <a:gd name="connsiteX233" fmla="*/ 12001 w 1592960"/>
                <a:gd name="connsiteY233" fmla="*/ 233744 h 602361"/>
                <a:gd name="connsiteX234" fmla="*/ 4191 w 1592960"/>
                <a:gd name="connsiteY234" fmla="*/ 233648 h 602361"/>
                <a:gd name="connsiteX235" fmla="*/ 0 w 1592960"/>
                <a:gd name="connsiteY235" fmla="*/ 284512 h 602361"/>
                <a:gd name="connsiteX236" fmla="*/ 15526 w 1592960"/>
                <a:gd name="connsiteY236" fmla="*/ 297180 h 602361"/>
                <a:gd name="connsiteX237" fmla="*/ 16954 w 1592960"/>
                <a:gd name="connsiteY237" fmla="*/ 302323 h 602361"/>
                <a:gd name="connsiteX238" fmla="*/ 18193 w 1592960"/>
                <a:gd name="connsiteY238" fmla="*/ 311086 h 602361"/>
                <a:gd name="connsiteX239" fmla="*/ 16097 w 1592960"/>
                <a:gd name="connsiteY239" fmla="*/ 315563 h 602361"/>
                <a:gd name="connsiteX240" fmla="*/ 13716 w 1592960"/>
                <a:gd name="connsiteY240" fmla="*/ 319469 h 602361"/>
                <a:gd name="connsiteX241" fmla="*/ 9811 w 1592960"/>
                <a:gd name="connsiteY241" fmla="*/ 332994 h 602361"/>
                <a:gd name="connsiteX242" fmla="*/ 25717 w 1592960"/>
                <a:gd name="connsiteY242" fmla="*/ 334899 h 602361"/>
                <a:gd name="connsiteX243" fmla="*/ 32956 w 1592960"/>
                <a:gd name="connsiteY243" fmla="*/ 337280 h 602361"/>
                <a:gd name="connsiteX244" fmla="*/ 46863 w 1592960"/>
                <a:gd name="connsiteY244" fmla="*/ 348425 h 602361"/>
                <a:gd name="connsiteX245" fmla="*/ 61150 w 1592960"/>
                <a:gd name="connsiteY245" fmla="*/ 352234 h 602361"/>
                <a:gd name="connsiteX246" fmla="*/ 61627 w 1592960"/>
                <a:gd name="connsiteY246" fmla="*/ 352330 h 602361"/>
                <a:gd name="connsiteX247" fmla="*/ 73057 w 1592960"/>
                <a:gd name="connsiteY247" fmla="*/ 344329 h 602361"/>
                <a:gd name="connsiteX248" fmla="*/ 86868 w 1592960"/>
                <a:gd name="connsiteY248" fmla="*/ 341757 h 602361"/>
                <a:gd name="connsiteX249" fmla="*/ 99536 w 1592960"/>
                <a:gd name="connsiteY249" fmla="*/ 348901 h 602361"/>
                <a:gd name="connsiteX250" fmla="*/ 108966 w 1592960"/>
                <a:gd name="connsiteY250" fmla="*/ 369189 h 602361"/>
                <a:gd name="connsiteX251" fmla="*/ 122777 w 1592960"/>
                <a:gd name="connsiteY251" fmla="*/ 403860 h 602361"/>
                <a:gd name="connsiteX252" fmla="*/ 140494 w 1592960"/>
                <a:gd name="connsiteY252" fmla="*/ 417671 h 602361"/>
                <a:gd name="connsiteX253" fmla="*/ 160115 w 1592960"/>
                <a:gd name="connsiteY253" fmla="*/ 412909 h 602361"/>
                <a:gd name="connsiteX254" fmla="*/ 179642 w 1592960"/>
                <a:gd name="connsiteY254" fmla="*/ 391763 h 602361"/>
                <a:gd name="connsiteX255" fmla="*/ 176308 w 1592960"/>
                <a:gd name="connsiteY255" fmla="*/ 384524 h 602361"/>
                <a:gd name="connsiteX256" fmla="*/ 183451 w 1592960"/>
                <a:gd name="connsiteY256" fmla="*/ 379857 h 602361"/>
                <a:gd name="connsiteX257" fmla="*/ 228600 w 1592960"/>
                <a:gd name="connsiteY257" fmla="*/ 369284 h 602361"/>
                <a:gd name="connsiteX258" fmla="*/ 237268 w 1592960"/>
                <a:gd name="connsiteY258" fmla="*/ 370999 h 602361"/>
                <a:gd name="connsiteX259" fmla="*/ 263461 w 1592960"/>
                <a:gd name="connsiteY259" fmla="*/ 382238 h 602361"/>
                <a:gd name="connsiteX260" fmla="*/ 303752 w 1592960"/>
                <a:gd name="connsiteY260" fmla="*/ 399383 h 602361"/>
                <a:gd name="connsiteX261" fmla="*/ 317754 w 1592960"/>
                <a:gd name="connsiteY261" fmla="*/ 400431 h 602361"/>
                <a:gd name="connsiteX262" fmla="*/ 341186 w 1592960"/>
                <a:gd name="connsiteY262" fmla="*/ 386429 h 602361"/>
                <a:gd name="connsiteX263" fmla="*/ 353759 w 1592960"/>
                <a:gd name="connsiteY263" fmla="*/ 382810 h 602361"/>
                <a:gd name="connsiteX264" fmla="*/ 380809 w 1592960"/>
                <a:gd name="connsiteY264" fmla="*/ 384143 h 602361"/>
                <a:gd name="connsiteX265" fmla="*/ 391478 w 1592960"/>
                <a:gd name="connsiteY265" fmla="*/ 382334 h 602361"/>
                <a:gd name="connsiteX266" fmla="*/ 394716 w 1592960"/>
                <a:gd name="connsiteY266" fmla="*/ 383572 h 602361"/>
                <a:gd name="connsiteX267" fmla="*/ 397955 w 1592960"/>
                <a:gd name="connsiteY267" fmla="*/ 388430 h 602361"/>
                <a:gd name="connsiteX268" fmla="*/ 398526 w 1592960"/>
                <a:gd name="connsiteY268" fmla="*/ 393573 h 602361"/>
                <a:gd name="connsiteX269" fmla="*/ 398050 w 1592960"/>
                <a:gd name="connsiteY269" fmla="*/ 398050 h 602361"/>
                <a:gd name="connsiteX270" fmla="*/ 398526 w 1592960"/>
                <a:gd name="connsiteY270" fmla="*/ 400336 h 602361"/>
                <a:gd name="connsiteX271" fmla="*/ 410718 w 1592960"/>
                <a:gd name="connsiteY271" fmla="*/ 402336 h 602361"/>
                <a:gd name="connsiteX272" fmla="*/ 437483 w 1592960"/>
                <a:gd name="connsiteY272" fmla="*/ 396050 h 602361"/>
                <a:gd name="connsiteX273" fmla="*/ 450437 w 1592960"/>
                <a:gd name="connsiteY273" fmla="*/ 396430 h 602361"/>
                <a:gd name="connsiteX274" fmla="*/ 455486 w 1592960"/>
                <a:gd name="connsiteY274" fmla="*/ 398050 h 602361"/>
                <a:gd name="connsiteX275" fmla="*/ 498348 w 1592960"/>
                <a:gd name="connsiteY275" fmla="*/ 411861 h 602361"/>
                <a:gd name="connsiteX276" fmla="*/ 534924 w 1592960"/>
                <a:gd name="connsiteY276" fmla="*/ 440722 h 602361"/>
                <a:gd name="connsiteX277" fmla="*/ 547973 w 1592960"/>
                <a:gd name="connsiteY277" fmla="*/ 448151 h 602361"/>
                <a:gd name="connsiteX278" fmla="*/ 559784 w 1592960"/>
                <a:gd name="connsiteY278" fmla="*/ 450437 h 602361"/>
                <a:gd name="connsiteX279" fmla="*/ 560356 w 1592960"/>
                <a:gd name="connsiteY279" fmla="*/ 450342 h 602361"/>
                <a:gd name="connsiteX280" fmla="*/ 570643 w 1592960"/>
                <a:gd name="connsiteY280" fmla="*/ 448437 h 602361"/>
                <a:gd name="connsiteX281" fmla="*/ 617696 w 1592960"/>
                <a:gd name="connsiteY281" fmla="*/ 423672 h 602361"/>
                <a:gd name="connsiteX282" fmla="*/ 629698 w 1592960"/>
                <a:gd name="connsiteY282" fmla="*/ 421576 h 602361"/>
                <a:gd name="connsiteX283" fmla="*/ 642271 w 1592960"/>
                <a:gd name="connsiteY283" fmla="*/ 426530 h 602361"/>
                <a:gd name="connsiteX284" fmla="*/ 667036 w 1592960"/>
                <a:gd name="connsiteY284" fmla="*/ 444722 h 602361"/>
                <a:gd name="connsiteX285" fmla="*/ 679799 w 1592960"/>
                <a:gd name="connsiteY285" fmla="*/ 448246 h 602361"/>
                <a:gd name="connsiteX286" fmla="*/ 693039 w 1592960"/>
                <a:gd name="connsiteY286" fmla="*/ 442436 h 602361"/>
                <a:gd name="connsiteX287" fmla="*/ 715518 w 1592960"/>
                <a:gd name="connsiteY287" fmla="*/ 429292 h 602361"/>
                <a:gd name="connsiteX288" fmla="*/ 722852 w 1592960"/>
                <a:gd name="connsiteY288" fmla="*/ 421576 h 602361"/>
                <a:gd name="connsiteX289" fmla="*/ 728662 w 1592960"/>
                <a:gd name="connsiteY289" fmla="*/ 413671 h 602361"/>
                <a:gd name="connsiteX290" fmla="*/ 754570 w 1592960"/>
                <a:gd name="connsiteY290" fmla="*/ 378428 h 602361"/>
                <a:gd name="connsiteX291" fmla="*/ 769906 w 1592960"/>
                <a:gd name="connsiteY291" fmla="*/ 366331 h 602361"/>
                <a:gd name="connsiteX292" fmla="*/ 784098 w 1592960"/>
                <a:gd name="connsiteY292" fmla="*/ 359950 h 602361"/>
                <a:gd name="connsiteX293" fmla="*/ 819340 w 1592960"/>
                <a:gd name="connsiteY293" fmla="*/ 344234 h 602361"/>
                <a:gd name="connsiteX294" fmla="*/ 823246 w 1592960"/>
                <a:gd name="connsiteY294" fmla="*/ 344138 h 602361"/>
                <a:gd name="connsiteX295" fmla="*/ 831818 w 1592960"/>
                <a:gd name="connsiteY295" fmla="*/ 347567 h 602361"/>
                <a:gd name="connsiteX296" fmla="*/ 835057 w 1592960"/>
                <a:gd name="connsiteY296" fmla="*/ 346805 h 602361"/>
                <a:gd name="connsiteX297" fmla="*/ 837438 w 1592960"/>
                <a:gd name="connsiteY297" fmla="*/ 340709 h 602361"/>
                <a:gd name="connsiteX298" fmla="*/ 837914 w 1592960"/>
                <a:gd name="connsiteY298" fmla="*/ 332899 h 602361"/>
                <a:gd name="connsiteX299" fmla="*/ 839438 w 1592960"/>
                <a:gd name="connsiteY299" fmla="*/ 325374 h 602361"/>
                <a:gd name="connsiteX300" fmla="*/ 844772 w 1592960"/>
                <a:gd name="connsiteY300" fmla="*/ 320326 h 602361"/>
                <a:gd name="connsiteX301" fmla="*/ 853059 w 1592960"/>
                <a:gd name="connsiteY301" fmla="*/ 322993 h 602361"/>
                <a:gd name="connsiteX302" fmla="*/ 860012 w 1592960"/>
                <a:gd name="connsiteY302" fmla="*/ 334804 h 602361"/>
                <a:gd name="connsiteX303" fmla="*/ 870204 w 1592960"/>
                <a:gd name="connsiteY303" fmla="*/ 364426 h 602361"/>
                <a:gd name="connsiteX304" fmla="*/ 880300 w 1592960"/>
                <a:gd name="connsiteY304" fmla="*/ 407003 h 602361"/>
                <a:gd name="connsiteX305" fmla="*/ 884587 w 1592960"/>
                <a:gd name="connsiteY305" fmla="*/ 420053 h 602361"/>
                <a:gd name="connsiteX306" fmla="*/ 888492 w 1592960"/>
                <a:gd name="connsiteY306" fmla="*/ 427196 h 602361"/>
                <a:gd name="connsiteX307" fmla="*/ 901446 w 1592960"/>
                <a:gd name="connsiteY307" fmla="*/ 441674 h 602361"/>
                <a:gd name="connsiteX308" fmla="*/ 905256 w 1592960"/>
                <a:gd name="connsiteY308" fmla="*/ 448532 h 602361"/>
                <a:gd name="connsiteX309" fmla="*/ 912209 w 1592960"/>
                <a:gd name="connsiteY309" fmla="*/ 471011 h 602361"/>
                <a:gd name="connsiteX310" fmla="*/ 923544 w 1592960"/>
                <a:gd name="connsiteY310" fmla="*/ 492157 h 602361"/>
                <a:gd name="connsiteX311" fmla="*/ 937546 w 1592960"/>
                <a:gd name="connsiteY311" fmla="*/ 502539 h 602361"/>
                <a:gd name="connsiteX312" fmla="*/ 1030986 w 1592960"/>
                <a:gd name="connsiteY312" fmla="*/ 518731 h 602361"/>
                <a:gd name="connsiteX313" fmla="*/ 1072134 w 1592960"/>
                <a:gd name="connsiteY313" fmla="*/ 525875 h 602361"/>
                <a:gd name="connsiteX314" fmla="*/ 1098614 w 1592960"/>
                <a:gd name="connsiteY314" fmla="*/ 521017 h 602361"/>
                <a:gd name="connsiteX315" fmla="*/ 1118140 w 1592960"/>
                <a:gd name="connsiteY315" fmla="*/ 530447 h 602361"/>
                <a:gd name="connsiteX316" fmla="*/ 1124807 w 1592960"/>
                <a:gd name="connsiteY316" fmla="*/ 531876 h 602361"/>
                <a:gd name="connsiteX317" fmla="*/ 1148048 w 1592960"/>
                <a:gd name="connsiteY317" fmla="*/ 529971 h 602361"/>
                <a:gd name="connsiteX318" fmla="*/ 1152811 w 1592960"/>
                <a:gd name="connsiteY318" fmla="*/ 532067 h 602361"/>
                <a:gd name="connsiteX319" fmla="*/ 1155668 w 1592960"/>
                <a:gd name="connsiteY319" fmla="*/ 538163 h 602361"/>
                <a:gd name="connsiteX320" fmla="*/ 1162907 w 1592960"/>
                <a:gd name="connsiteY320" fmla="*/ 561689 h 602361"/>
                <a:gd name="connsiteX321" fmla="*/ 1166241 w 1592960"/>
                <a:gd name="connsiteY321" fmla="*/ 569024 h 602361"/>
                <a:gd name="connsiteX322" fmla="*/ 1171004 w 1592960"/>
                <a:gd name="connsiteY322" fmla="*/ 573786 h 602361"/>
                <a:gd name="connsiteX323" fmla="*/ 1193387 w 1592960"/>
                <a:gd name="connsiteY323" fmla="*/ 589407 h 602361"/>
                <a:gd name="connsiteX324" fmla="*/ 1204817 w 1592960"/>
                <a:gd name="connsiteY324" fmla="*/ 602361 h 602361"/>
                <a:gd name="connsiteX325" fmla="*/ 1204912 w 1592960"/>
                <a:gd name="connsiteY325" fmla="*/ 602266 h 602361"/>
                <a:gd name="connsiteX326" fmla="*/ 1210723 w 1592960"/>
                <a:gd name="connsiteY326" fmla="*/ 596741 h 602361"/>
                <a:gd name="connsiteX327" fmla="*/ 1221200 w 1592960"/>
                <a:gd name="connsiteY327" fmla="*/ 589788 h 602361"/>
                <a:gd name="connsiteX328" fmla="*/ 1223962 w 1592960"/>
                <a:gd name="connsiteY328" fmla="*/ 584645 h 602361"/>
                <a:gd name="connsiteX329" fmla="*/ 1225582 w 1592960"/>
                <a:gd name="connsiteY329" fmla="*/ 578072 h 602361"/>
                <a:gd name="connsiteX330" fmla="*/ 1229868 w 1592960"/>
                <a:gd name="connsiteY330" fmla="*/ 573214 h 602361"/>
                <a:gd name="connsiteX331" fmla="*/ 1227487 w 1592960"/>
                <a:gd name="connsiteY331" fmla="*/ 568452 h 602361"/>
                <a:gd name="connsiteX332" fmla="*/ 1226344 w 1592960"/>
                <a:gd name="connsiteY332" fmla="*/ 565309 h 602361"/>
                <a:gd name="connsiteX333" fmla="*/ 1221391 w 1592960"/>
                <a:gd name="connsiteY333" fmla="*/ 557593 h 602361"/>
                <a:gd name="connsiteX334" fmla="*/ 1220057 w 1592960"/>
                <a:gd name="connsiteY334" fmla="*/ 553879 h 602361"/>
                <a:gd name="connsiteX335" fmla="*/ 1218724 w 1592960"/>
                <a:gd name="connsiteY335" fmla="*/ 544639 h 602361"/>
                <a:gd name="connsiteX336" fmla="*/ 1251680 w 1592960"/>
                <a:gd name="connsiteY336" fmla="*/ 574453 h 602361"/>
                <a:gd name="connsiteX337" fmla="*/ 1255681 w 1592960"/>
                <a:gd name="connsiteY337" fmla="*/ 581025 h 602361"/>
                <a:gd name="connsiteX338" fmla="*/ 1261777 w 1592960"/>
                <a:gd name="connsiteY338" fmla="*/ 587216 h 602361"/>
                <a:gd name="connsiteX339" fmla="*/ 1266730 w 1592960"/>
                <a:gd name="connsiteY339" fmla="*/ 586454 h 602361"/>
                <a:gd name="connsiteX340" fmla="*/ 1277493 w 1592960"/>
                <a:gd name="connsiteY340" fmla="*/ 577405 h 602361"/>
                <a:gd name="connsiteX341" fmla="*/ 1280350 w 1592960"/>
                <a:gd name="connsiteY341" fmla="*/ 574167 h 602361"/>
                <a:gd name="connsiteX342" fmla="*/ 1287399 w 1592960"/>
                <a:gd name="connsiteY342" fmla="*/ 569405 h 602361"/>
                <a:gd name="connsiteX343" fmla="*/ 1294352 w 1592960"/>
                <a:gd name="connsiteY343" fmla="*/ 574929 h 602361"/>
                <a:gd name="connsiteX344" fmla="*/ 1298829 w 1592960"/>
                <a:gd name="connsiteY344" fmla="*/ 582454 h 602361"/>
                <a:gd name="connsiteX345" fmla="*/ 1302449 w 1592960"/>
                <a:gd name="connsiteY345" fmla="*/ 584073 h 602361"/>
                <a:gd name="connsiteX346" fmla="*/ 1307402 w 1592960"/>
                <a:gd name="connsiteY346" fmla="*/ 583121 h 602361"/>
                <a:gd name="connsiteX347" fmla="*/ 1315307 w 1592960"/>
                <a:gd name="connsiteY347" fmla="*/ 575310 h 602361"/>
                <a:gd name="connsiteX348" fmla="*/ 1320451 w 1592960"/>
                <a:gd name="connsiteY348" fmla="*/ 567785 h 602361"/>
                <a:gd name="connsiteX349" fmla="*/ 1322451 w 1592960"/>
                <a:gd name="connsiteY349" fmla="*/ 563404 h 602361"/>
                <a:gd name="connsiteX350" fmla="*/ 1326737 w 1592960"/>
                <a:gd name="connsiteY350" fmla="*/ 559499 h 602361"/>
                <a:gd name="connsiteX351" fmla="*/ 1331404 w 1592960"/>
                <a:gd name="connsiteY351" fmla="*/ 560070 h 602361"/>
                <a:gd name="connsiteX352" fmla="*/ 1334738 w 1592960"/>
                <a:gd name="connsiteY352" fmla="*/ 561689 h 602361"/>
                <a:gd name="connsiteX353" fmla="*/ 1343787 w 1592960"/>
                <a:gd name="connsiteY353" fmla="*/ 554164 h 602361"/>
                <a:gd name="connsiteX354" fmla="*/ 1343978 w 1592960"/>
                <a:gd name="connsiteY354" fmla="*/ 547783 h 602361"/>
                <a:gd name="connsiteX355" fmla="*/ 1343311 w 1592960"/>
                <a:gd name="connsiteY355" fmla="*/ 545878 h 602361"/>
                <a:gd name="connsiteX356" fmla="*/ 1338548 w 1592960"/>
                <a:gd name="connsiteY356" fmla="*/ 538829 h 602361"/>
                <a:gd name="connsiteX357" fmla="*/ 1364552 w 1592960"/>
                <a:gd name="connsiteY357" fmla="*/ 516160 h 602361"/>
                <a:gd name="connsiteX358" fmla="*/ 1369981 w 1592960"/>
                <a:gd name="connsiteY358" fmla="*/ 514445 h 602361"/>
                <a:gd name="connsiteX359" fmla="*/ 1379220 w 1592960"/>
                <a:gd name="connsiteY359" fmla="*/ 513683 h 602361"/>
                <a:gd name="connsiteX360" fmla="*/ 1384554 w 1592960"/>
                <a:gd name="connsiteY360" fmla="*/ 517208 h 602361"/>
                <a:gd name="connsiteX361" fmla="*/ 1394365 w 1592960"/>
                <a:gd name="connsiteY361" fmla="*/ 519398 h 602361"/>
                <a:gd name="connsiteX362" fmla="*/ 1403223 w 1592960"/>
                <a:gd name="connsiteY362" fmla="*/ 523208 h 602361"/>
                <a:gd name="connsiteX363" fmla="*/ 1406366 w 1592960"/>
                <a:gd name="connsiteY363" fmla="*/ 525399 h 602361"/>
                <a:gd name="connsiteX364" fmla="*/ 1408081 w 1592960"/>
                <a:gd name="connsiteY364" fmla="*/ 528447 h 602361"/>
                <a:gd name="connsiteX365" fmla="*/ 1409319 w 1592960"/>
                <a:gd name="connsiteY365" fmla="*/ 531590 h 602361"/>
                <a:gd name="connsiteX366" fmla="*/ 1408462 w 1592960"/>
                <a:gd name="connsiteY366" fmla="*/ 536067 h 602361"/>
                <a:gd name="connsiteX367" fmla="*/ 1407128 w 1592960"/>
                <a:gd name="connsiteY367" fmla="*/ 539115 h 602361"/>
                <a:gd name="connsiteX368" fmla="*/ 1407604 w 1592960"/>
                <a:gd name="connsiteY368" fmla="*/ 544639 h 602361"/>
                <a:gd name="connsiteX369" fmla="*/ 1418844 w 1592960"/>
                <a:gd name="connsiteY369" fmla="*/ 565118 h 602361"/>
                <a:gd name="connsiteX370" fmla="*/ 1417796 w 1592960"/>
                <a:gd name="connsiteY370" fmla="*/ 555022 h 602361"/>
                <a:gd name="connsiteX371" fmla="*/ 1417129 w 1592960"/>
                <a:gd name="connsiteY371" fmla="*/ 536638 h 602361"/>
                <a:gd name="connsiteX372" fmla="*/ 1415510 w 1592960"/>
                <a:gd name="connsiteY372" fmla="*/ 525971 h 602361"/>
                <a:gd name="connsiteX373" fmla="*/ 1412272 w 1592960"/>
                <a:gd name="connsiteY373" fmla="*/ 516826 h 602361"/>
                <a:gd name="connsiteX374" fmla="*/ 1401604 w 1592960"/>
                <a:gd name="connsiteY374" fmla="*/ 502349 h 602361"/>
                <a:gd name="connsiteX375" fmla="*/ 1387316 w 1592960"/>
                <a:gd name="connsiteY375" fmla="*/ 483108 h 602361"/>
                <a:gd name="connsiteX376" fmla="*/ 1381506 w 1592960"/>
                <a:gd name="connsiteY376" fmla="*/ 479108 h 602361"/>
                <a:gd name="connsiteX377" fmla="*/ 1377601 w 1592960"/>
                <a:gd name="connsiteY377" fmla="*/ 478441 h 602361"/>
                <a:gd name="connsiteX378" fmla="*/ 1369886 w 1592960"/>
                <a:gd name="connsiteY378" fmla="*/ 475488 h 602361"/>
                <a:gd name="connsiteX379" fmla="*/ 1365504 w 1592960"/>
                <a:gd name="connsiteY379" fmla="*/ 474726 h 602361"/>
                <a:gd name="connsiteX380" fmla="*/ 1359789 w 1592960"/>
                <a:gd name="connsiteY380" fmla="*/ 472440 h 602361"/>
                <a:gd name="connsiteX381" fmla="*/ 1358075 w 1592960"/>
                <a:gd name="connsiteY381" fmla="*/ 466344 h 602361"/>
                <a:gd name="connsiteX382" fmla="*/ 1358837 w 1592960"/>
                <a:gd name="connsiteY382" fmla="*/ 450437 h 602361"/>
                <a:gd name="connsiteX383" fmla="*/ 1359313 w 1592960"/>
                <a:gd name="connsiteY383" fmla="*/ 446818 h 602361"/>
                <a:gd name="connsiteX384" fmla="*/ 1360456 w 1592960"/>
                <a:gd name="connsiteY384" fmla="*/ 442436 h 602361"/>
                <a:gd name="connsiteX385" fmla="*/ 1361408 w 1592960"/>
                <a:gd name="connsiteY385" fmla="*/ 437483 h 602361"/>
                <a:gd name="connsiteX386" fmla="*/ 1361504 w 1592960"/>
                <a:gd name="connsiteY386" fmla="*/ 431673 h 602361"/>
                <a:gd name="connsiteX387" fmla="*/ 1360837 w 1592960"/>
                <a:gd name="connsiteY387" fmla="*/ 432245 h 602361"/>
                <a:gd name="connsiteX388" fmla="*/ 1359122 w 1592960"/>
                <a:gd name="connsiteY388" fmla="*/ 430816 h 602361"/>
                <a:gd name="connsiteX389" fmla="*/ 1357217 w 1592960"/>
                <a:gd name="connsiteY389" fmla="*/ 428625 h 602361"/>
                <a:gd name="connsiteX390" fmla="*/ 1356170 w 1592960"/>
                <a:gd name="connsiteY390" fmla="*/ 426910 h 602361"/>
                <a:gd name="connsiteX391" fmla="*/ 1355789 w 1592960"/>
                <a:gd name="connsiteY391" fmla="*/ 423291 h 602361"/>
                <a:gd name="connsiteX392" fmla="*/ 1356170 w 1592960"/>
                <a:gd name="connsiteY392" fmla="*/ 409670 h 602361"/>
                <a:gd name="connsiteX393" fmla="*/ 1354931 w 1592960"/>
                <a:gd name="connsiteY393" fmla="*/ 405955 h 602361"/>
                <a:gd name="connsiteX394" fmla="*/ 1349407 w 1592960"/>
                <a:gd name="connsiteY394" fmla="*/ 394430 h 602361"/>
                <a:gd name="connsiteX395" fmla="*/ 1348169 w 1592960"/>
                <a:gd name="connsiteY395" fmla="*/ 390716 h 602361"/>
                <a:gd name="connsiteX396" fmla="*/ 1347883 w 1592960"/>
                <a:gd name="connsiteY396" fmla="*/ 376047 h 602361"/>
                <a:gd name="connsiteX397" fmla="*/ 1347025 w 1592960"/>
                <a:gd name="connsiteY397" fmla="*/ 369760 h 602361"/>
                <a:gd name="connsiteX398" fmla="*/ 1345597 w 1592960"/>
                <a:gd name="connsiteY398" fmla="*/ 364141 h 602361"/>
                <a:gd name="connsiteX399" fmla="*/ 1340739 w 1592960"/>
                <a:gd name="connsiteY399" fmla="*/ 357854 h 602361"/>
                <a:gd name="connsiteX400" fmla="*/ 1326833 w 1592960"/>
                <a:gd name="connsiteY400" fmla="*/ 346138 h 602361"/>
                <a:gd name="connsiteX401" fmla="*/ 1318927 w 1592960"/>
                <a:gd name="connsiteY401" fmla="*/ 345757 h 602361"/>
                <a:gd name="connsiteX402" fmla="*/ 1344168 w 1592960"/>
                <a:gd name="connsiteY402" fmla="*/ 329660 h 602361"/>
                <a:gd name="connsiteX403" fmla="*/ 1358932 w 1592960"/>
                <a:gd name="connsiteY403" fmla="*/ 309563 h 602361"/>
                <a:gd name="connsiteX404" fmla="*/ 1362075 w 1592960"/>
                <a:gd name="connsiteY404" fmla="*/ 298799 h 602361"/>
                <a:gd name="connsiteX405" fmla="*/ 1375124 w 1592960"/>
                <a:gd name="connsiteY405" fmla="*/ 280702 h 602361"/>
                <a:gd name="connsiteX406" fmla="*/ 1384554 w 1592960"/>
                <a:gd name="connsiteY406" fmla="*/ 271367 h 602361"/>
                <a:gd name="connsiteX407" fmla="*/ 1397508 w 1592960"/>
                <a:gd name="connsiteY407" fmla="*/ 267176 h 602361"/>
                <a:gd name="connsiteX408" fmla="*/ 1404842 w 1592960"/>
                <a:gd name="connsiteY408" fmla="*/ 268796 h 602361"/>
                <a:gd name="connsiteX409" fmla="*/ 1407319 w 1592960"/>
                <a:gd name="connsiteY409" fmla="*/ 271367 h 602361"/>
                <a:gd name="connsiteX410" fmla="*/ 1409319 w 1592960"/>
                <a:gd name="connsiteY410" fmla="*/ 274987 h 602361"/>
                <a:gd name="connsiteX411" fmla="*/ 1410272 w 1592960"/>
                <a:gd name="connsiteY411" fmla="*/ 281083 h 602361"/>
                <a:gd name="connsiteX412" fmla="*/ 1421892 w 1592960"/>
                <a:gd name="connsiteY412" fmla="*/ 297752 h 602361"/>
                <a:gd name="connsiteX413" fmla="*/ 1425607 w 1592960"/>
                <a:gd name="connsiteY413" fmla="*/ 314515 h 602361"/>
                <a:gd name="connsiteX414" fmla="*/ 1444943 w 1592960"/>
                <a:gd name="connsiteY414" fmla="*/ 304324 h 602361"/>
                <a:gd name="connsiteX415" fmla="*/ 1454087 w 1592960"/>
                <a:gd name="connsiteY415" fmla="*/ 296799 h 602361"/>
                <a:gd name="connsiteX416" fmla="*/ 1457992 w 1592960"/>
                <a:gd name="connsiteY416" fmla="*/ 292036 h 602361"/>
                <a:gd name="connsiteX417" fmla="*/ 1462754 w 1592960"/>
                <a:gd name="connsiteY417" fmla="*/ 287655 h 602361"/>
                <a:gd name="connsiteX418" fmla="*/ 1469422 w 1592960"/>
                <a:gd name="connsiteY418" fmla="*/ 284036 h 602361"/>
                <a:gd name="connsiteX419" fmla="*/ 1478756 w 1592960"/>
                <a:gd name="connsiteY419" fmla="*/ 282702 h 602361"/>
                <a:gd name="connsiteX420" fmla="*/ 1490472 w 1592960"/>
                <a:gd name="connsiteY420" fmla="*/ 284321 h 602361"/>
                <a:gd name="connsiteX421" fmla="*/ 1494949 w 1592960"/>
                <a:gd name="connsiteY421" fmla="*/ 287084 h 602361"/>
                <a:gd name="connsiteX422" fmla="*/ 1502283 w 1592960"/>
                <a:gd name="connsiteY422" fmla="*/ 289560 h 602361"/>
                <a:gd name="connsiteX423" fmla="*/ 1516666 w 1592960"/>
                <a:gd name="connsiteY423" fmla="*/ 287750 h 602361"/>
                <a:gd name="connsiteX424" fmla="*/ 1516856 w 1592960"/>
                <a:gd name="connsiteY424" fmla="*/ 283655 h 602361"/>
                <a:gd name="connsiteX425" fmla="*/ 1517047 w 1592960"/>
                <a:gd name="connsiteY425" fmla="*/ 282988 h 602361"/>
                <a:gd name="connsiteX426" fmla="*/ 1515428 w 1592960"/>
                <a:gd name="connsiteY426" fmla="*/ 282226 h 602361"/>
                <a:gd name="connsiteX427" fmla="*/ 1515618 w 1592960"/>
                <a:gd name="connsiteY427" fmla="*/ 278702 h 602361"/>
                <a:gd name="connsiteX428" fmla="*/ 1516190 w 1592960"/>
                <a:gd name="connsiteY428" fmla="*/ 275177 h 602361"/>
                <a:gd name="connsiteX429" fmla="*/ 1528858 w 1592960"/>
                <a:gd name="connsiteY429" fmla="*/ 248984 h 602361"/>
                <a:gd name="connsiteX430" fmla="*/ 1559528 w 1592960"/>
                <a:gd name="connsiteY430" fmla="*/ 247269 h 602361"/>
                <a:gd name="connsiteX431" fmla="*/ 1565720 w 1592960"/>
                <a:gd name="connsiteY431" fmla="*/ 249365 h 602361"/>
                <a:gd name="connsiteX432" fmla="*/ 1574006 w 1592960"/>
                <a:gd name="connsiteY432" fmla="*/ 238315 h 602361"/>
                <a:gd name="connsiteX433" fmla="*/ 1568387 w 1592960"/>
                <a:gd name="connsiteY433" fmla="*/ 224504 h 602361"/>
                <a:gd name="connsiteX434" fmla="*/ 1571244 w 1592960"/>
                <a:gd name="connsiteY434" fmla="*/ 218218 h 602361"/>
                <a:gd name="connsiteX435" fmla="*/ 1576387 w 1592960"/>
                <a:gd name="connsiteY435" fmla="*/ 212122 h 602361"/>
                <a:gd name="connsiteX436" fmla="*/ 1591628 w 1592960"/>
                <a:gd name="connsiteY436" fmla="*/ 204216 h 602361"/>
                <a:gd name="connsiteX437" fmla="*/ 1592961 w 1592960"/>
                <a:gd name="connsiteY437" fmla="*/ 201930 h 602361"/>
                <a:gd name="connsiteX438" fmla="*/ 1591437 w 1592960"/>
                <a:gd name="connsiteY438" fmla="*/ 198215 h 602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Lst>
              <a:rect l="l" t="t" r="r" b="b"/>
              <a:pathLst>
                <a:path w="1592960" h="602361">
                  <a:moveTo>
                    <a:pt x="1591437" y="198215"/>
                  </a:moveTo>
                  <a:lnTo>
                    <a:pt x="1588008" y="194024"/>
                  </a:lnTo>
                  <a:lnTo>
                    <a:pt x="1587056" y="186119"/>
                  </a:lnTo>
                  <a:lnTo>
                    <a:pt x="1588484" y="177355"/>
                  </a:lnTo>
                  <a:lnTo>
                    <a:pt x="1587437" y="169640"/>
                  </a:lnTo>
                  <a:lnTo>
                    <a:pt x="1587151" y="164116"/>
                  </a:lnTo>
                  <a:lnTo>
                    <a:pt x="1584770" y="154305"/>
                  </a:lnTo>
                  <a:lnTo>
                    <a:pt x="1585246" y="151829"/>
                  </a:lnTo>
                  <a:lnTo>
                    <a:pt x="1574102" y="140875"/>
                  </a:lnTo>
                  <a:lnTo>
                    <a:pt x="1561338" y="133064"/>
                  </a:lnTo>
                  <a:lnTo>
                    <a:pt x="1560100" y="122015"/>
                  </a:lnTo>
                  <a:lnTo>
                    <a:pt x="1550289" y="123063"/>
                  </a:lnTo>
                  <a:lnTo>
                    <a:pt x="1536954" y="126397"/>
                  </a:lnTo>
                  <a:lnTo>
                    <a:pt x="1528382" y="135255"/>
                  </a:lnTo>
                  <a:lnTo>
                    <a:pt x="1521047" y="145256"/>
                  </a:lnTo>
                  <a:lnTo>
                    <a:pt x="1508855" y="144209"/>
                  </a:lnTo>
                  <a:lnTo>
                    <a:pt x="1493044" y="154210"/>
                  </a:lnTo>
                  <a:lnTo>
                    <a:pt x="1435703" y="154210"/>
                  </a:lnTo>
                  <a:lnTo>
                    <a:pt x="1430655" y="183737"/>
                  </a:lnTo>
                  <a:lnTo>
                    <a:pt x="1421035" y="202121"/>
                  </a:lnTo>
                  <a:lnTo>
                    <a:pt x="1417891" y="206502"/>
                  </a:lnTo>
                  <a:lnTo>
                    <a:pt x="1397889" y="218599"/>
                  </a:lnTo>
                  <a:lnTo>
                    <a:pt x="1395127" y="205073"/>
                  </a:lnTo>
                  <a:lnTo>
                    <a:pt x="1393984" y="201454"/>
                  </a:lnTo>
                  <a:lnTo>
                    <a:pt x="1386459" y="197453"/>
                  </a:lnTo>
                  <a:lnTo>
                    <a:pt x="1371886" y="202216"/>
                  </a:lnTo>
                  <a:lnTo>
                    <a:pt x="1361599" y="190024"/>
                  </a:lnTo>
                  <a:lnTo>
                    <a:pt x="1364171" y="184213"/>
                  </a:lnTo>
                  <a:lnTo>
                    <a:pt x="1358837" y="179261"/>
                  </a:lnTo>
                  <a:lnTo>
                    <a:pt x="1350645" y="177355"/>
                  </a:lnTo>
                  <a:lnTo>
                    <a:pt x="1345311" y="173736"/>
                  </a:lnTo>
                  <a:lnTo>
                    <a:pt x="1335405" y="171069"/>
                  </a:lnTo>
                  <a:lnTo>
                    <a:pt x="1320356" y="178117"/>
                  </a:lnTo>
                  <a:lnTo>
                    <a:pt x="1307021" y="188023"/>
                  </a:lnTo>
                  <a:lnTo>
                    <a:pt x="1299972" y="190500"/>
                  </a:lnTo>
                  <a:lnTo>
                    <a:pt x="1293304" y="188500"/>
                  </a:lnTo>
                  <a:lnTo>
                    <a:pt x="1285208" y="181070"/>
                  </a:lnTo>
                  <a:lnTo>
                    <a:pt x="1278065" y="162687"/>
                  </a:lnTo>
                  <a:lnTo>
                    <a:pt x="1257967" y="182404"/>
                  </a:lnTo>
                  <a:lnTo>
                    <a:pt x="1257110" y="173927"/>
                  </a:lnTo>
                  <a:lnTo>
                    <a:pt x="1255300" y="170783"/>
                  </a:lnTo>
                  <a:lnTo>
                    <a:pt x="1251871" y="167450"/>
                  </a:lnTo>
                  <a:lnTo>
                    <a:pt x="1250823" y="163354"/>
                  </a:lnTo>
                  <a:lnTo>
                    <a:pt x="1251585" y="160401"/>
                  </a:lnTo>
                  <a:lnTo>
                    <a:pt x="1255966" y="158591"/>
                  </a:lnTo>
                  <a:lnTo>
                    <a:pt x="1258443" y="155448"/>
                  </a:lnTo>
                  <a:lnTo>
                    <a:pt x="1259396" y="151448"/>
                  </a:lnTo>
                  <a:lnTo>
                    <a:pt x="1248156" y="140303"/>
                  </a:lnTo>
                  <a:lnTo>
                    <a:pt x="1219962" y="129635"/>
                  </a:lnTo>
                  <a:lnTo>
                    <a:pt x="1216533" y="109442"/>
                  </a:lnTo>
                  <a:lnTo>
                    <a:pt x="1217009" y="103346"/>
                  </a:lnTo>
                  <a:lnTo>
                    <a:pt x="1221105" y="98203"/>
                  </a:lnTo>
                  <a:lnTo>
                    <a:pt x="1223582" y="92583"/>
                  </a:lnTo>
                  <a:lnTo>
                    <a:pt x="1226344" y="88487"/>
                  </a:lnTo>
                  <a:lnTo>
                    <a:pt x="1223200" y="74962"/>
                  </a:lnTo>
                  <a:lnTo>
                    <a:pt x="1217295" y="66675"/>
                  </a:lnTo>
                  <a:lnTo>
                    <a:pt x="1211199" y="66104"/>
                  </a:lnTo>
                  <a:lnTo>
                    <a:pt x="1209008" y="64008"/>
                  </a:lnTo>
                  <a:lnTo>
                    <a:pt x="1205389" y="58960"/>
                  </a:lnTo>
                  <a:lnTo>
                    <a:pt x="1201007" y="54007"/>
                  </a:lnTo>
                  <a:lnTo>
                    <a:pt x="1193102" y="47244"/>
                  </a:lnTo>
                  <a:lnTo>
                    <a:pt x="1185672" y="48863"/>
                  </a:lnTo>
                  <a:lnTo>
                    <a:pt x="1183100" y="54292"/>
                  </a:lnTo>
                  <a:lnTo>
                    <a:pt x="1186434" y="56864"/>
                  </a:lnTo>
                  <a:lnTo>
                    <a:pt x="1186625" y="61055"/>
                  </a:lnTo>
                  <a:lnTo>
                    <a:pt x="1185672" y="66580"/>
                  </a:lnTo>
                  <a:lnTo>
                    <a:pt x="1180910" y="74962"/>
                  </a:lnTo>
                  <a:lnTo>
                    <a:pt x="1179386" y="79915"/>
                  </a:lnTo>
                  <a:lnTo>
                    <a:pt x="1164527" y="88297"/>
                  </a:lnTo>
                  <a:lnTo>
                    <a:pt x="1155478" y="75152"/>
                  </a:lnTo>
                  <a:lnTo>
                    <a:pt x="1144905" y="72961"/>
                  </a:lnTo>
                  <a:lnTo>
                    <a:pt x="1130713" y="65627"/>
                  </a:lnTo>
                  <a:lnTo>
                    <a:pt x="1113758" y="65532"/>
                  </a:lnTo>
                  <a:lnTo>
                    <a:pt x="1091851" y="58007"/>
                  </a:lnTo>
                  <a:lnTo>
                    <a:pt x="1065371" y="84963"/>
                  </a:lnTo>
                  <a:lnTo>
                    <a:pt x="1047369" y="94869"/>
                  </a:lnTo>
                  <a:lnTo>
                    <a:pt x="1042225" y="95726"/>
                  </a:lnTo>
                  <a:lnTo>
                    <a:pt x="1037177" y="93726"/>
                  </a:lnTo>
                  <a:lnTo>
                    <a:pt x="1032700" y="94012"/>
                  </a:lnTo>
                  <a:lnTo>
                    <a:pt x="1032891" y="96298"/>
                  </a:lnTo>
                  <a:lnTo>
                    <a:pt x="1033748" y="100489"/>
                  </a:lnTo>
                  <a:lnTo>
                    <a:pt x="1021937" y="97155"/>
                  </a:lnTo>
                  <a:lnTo>
                    <a:pt x="1010031" y="99631"/>
                  </a:lnTo>
                  <a:lnTo>
                    <a:pt x="999458" y="106299"/>
                  </a:lnTo>
                  <a:lnTo>
                    <a:pt x="995172" y="112776"/>
                  </a:lnTo>
                  <a:lnTo>
                    <a:pt x="1009174" y="121825"/>
                  </a:lnTo>
                  <a:lnTo>
                    <a:pt x="1011079" y="124682"/>
                  </a:lnTo>
                  <a:lnTo>
                    <a:pt x="1010507" y="126778"/>
                  </a:lnTo>
                  <a:lnTo>
                    <a:pt x="1010126" y="129159"/>
                  </a:lnTo>
                  <a:lnTo>
                    <a:pt x="1003459" y="140589"/>
                  </a:lnTo>
                  <a:lnTo>
                    <a:pt x="979837" y="132493"/>
                  </a:lnTo>
                  <a:lnTo>
                    <a:pt x="978979" y="134684"/>
                  </a:lnTo>
                  <a:lnTo>
                    <a:pt x="973074" y="139922"/>
                  </a:lnTo>
                  <a:lnTo>
                    <a:pt x="963644" y="136017"/>
                  </a:lnTo>
                  <a:lnTo>
                    <a:pt x="954786" y="132302"/>
                  </a:lnTo>
                  <a:lnTo>
                    <a:pt x="953072" y="128016"/>
                  </a:lnTo>
                  <a:lnTo>
                    <a:pt x="932974" y="112014"/>
                  </a:lnTo>
                  <a:lnTo>
                    <a:pt x="924211" y="100108"/>
                  </a:lnTo>
                  <a:lnTo>
                    <a:pt x="918115" y="88963"/>
                  </a:lnTo>
                  <a:lnTo>
                    <a:pt x="911257" y="74771"/>
                  </a:lnTo>
                  <a:lnTo>
                    <a:pt x="897350" y="71628"/>
                  </a:lnTo>
                  <a:lnTo>
                    <a:pt x="882586" y="68390"/>
                  </a:lnTo>
                  <a:lnTo>
                    <a:pt x="873061" y="60484"/>
                  </a:lnTo>
                  <a:lnTo>
                    <a:pt x="865251" y="66865"/>
                  </a:lnTo>
                  <a:lnTo>
                    <a:pt x="850582" y="57340"/>
                  </a:lnTo>
                  <a:lnTo>
                    <a:pt x="834104" y="47815"/>
                  </a:lnTo>
                  <a:lnTo>
                    <a:pt x="823722" y="43148"/>
                  </a:lnTo>
                  <a:lnTo>
                    <a:pt x="819340" y="62103"/>
                  </a:lnTo>
                  <a:lnTo>
                    <a:pt x="808958" y="66865"/>
                  </a:lnTo>
                  <a:lnTo>
                    <a:pt x="810673" y="81058"/>
                  </a:lnTo>
                  <a:lnTo>
                    <a:pt x="802005" y="96869"/>
                  </a:lnTo>
                  <a:lnTo>
                    <a:pt x="787908" y="112490"/>
                  </a:lnTo>
                  <a:lnTo>
                    <a:pt x="779812" y="100679"/>
                  </a:lnTo>
                  <a:lnTo>
                    <a:pt x="777240" y="98012"/>
                  </a:lnTo>
                  <a:lnTo>
                    <a:pt x="769906" y="95631"/>
                  </a:lnTo>
                  <a:lnTo>
                    <a:pt x="763048" y="93440"/>
                  </a:lnTo>
                  <a:lnTo>
                    <a:pt x="759809" y="90392"/>
                  </a:lnTo>
                  <a:lnTo>
                    <a:pt x="757142" y="86392"/>
                  </a:lnTo>
                  <a:lnTo>
                    <a:pt x="749141" y="79343"/>
                  </a:lnTo>
                  <a:lnTo>
                    <a:pt x="746474" y="78105"/>
                  </a:lnTo>
                  <a:lnTo>
                    <a:pt x="737807" y="62770"/>
                  </a:lnTo>
                  <a:lnTo>
                    <a:pt x="734473" y="58674"/>
                  </a:lnTo>
                  <a:lnTo>
                    <a:pt x="725995" y="55626"/>
                  </a:lnTo>
                  <a:lnTo>
                    <a:pt x="710279" y="57245"/>
                  </a:lnTo>
                  <a:lnTo>
                    <a:pt x="705326" y="55150"/>
                  </a:lnTo>
                  <a:lnTo>
                    <a:pt x="709327" y="70675"/>
                  </a:lnTo>
                  <a:lnTo>
                    <a:pt x="714756" y="83344"/>
                  </a:lnTo>
                  <a:lnTo>
                    <a:pt x="714947" y="88392"/>
                  </a:lnTo>
                  <a:lnTo>
                    <a:pt x="713232" y="96298"/>
                  </a:lnTo>
                  <a:lnTo>
                    <a:pt x="710279" y="101155"/>
                  </a:lnTo>
                  <a:lnTo>
                    <a:pt x="708850" y="128683"/>
                  </a:lnTo>
                  <a:lnTo>
                    <a:pt x="693515" y="135065"/>
                  </a:lnTo>
                  <a:lnTo>
                    <a:pt x="678275" y="149542"/>
                  </a:lnTo>
                  <a:lnTo>
                    <a:pt x="672274" y="154210"/>
                  </a:lnTo>
                  <a:lnTo>
                    <a:pt x="667226" y="156591"/>
                  </a:lnTo>
                  <a:lnTo>
                    <a:pt x="655034" y="158972"/>
                  </a:lnTo>
                  <a:lnTo>
                    <a:pt x="652082" y="160782"/>
                  </a:lnTo>
                  <a:lnTo>
                    <a:pt x="650843" y="162211"/>
                  </a:lnTo>
                  <a:lnTo>
                    <a:pt x="651320" y="166973"/>
                  </a:lnTo>
                  <a:lnTo>
                    <a:pt x="643985" y="165640"/>
                  </a:lnTo>
                  <a:lnTo>
                    <a:pt x="636461" y="164116"/>
                  </a:lnTo>
                  <a:lnTo>
                    <a:pt x="620363" y="155734"/>
                  </a:lnTo>
                  <a:lnTo>
                    <a:pt x="612648" y="149733"/>
                  </a:lnTo>
                  <a:lnTo>
                    <a:pt x="608171" y="145161"/>
                  </a:lnTo>
                  <a:lnTo>
                    <a:pt x="606076" y="137541"/>
                  </a:lnTo>
                  <a:lnTo>
                    <a:pt x="601313" y="135731"/>
                  </a:lnTo>
                  <a:lnTo>
                    <a:pt x="595408" y="138779"/>
                  </a:lnTo>
                  <a:lnTo>
                    <a:pt x="587026" y="142970"/>
                  </a:lnTo>
                  <a:lnTo>
                    <a:pt x="581882" y="144399"/>
                  </a:lnTo>
                  <a:lnTo>
                    <a:pt x="577596" y="143637"/>
                  </a:lnTo>
                  <a:lnTo>
                    <a:pt x="575500" y="145161"/>
                  </a:lnTo>
                  <a:lnTo>
                    <a:pt x="573310" y="148876"/>
                  </a:lnTo>
                  <a:lnTo>
                    <a:pt x="572833" y="153638"/>
                  </a:lnTo>
                  <a:lnTo>
                    <a:pt x="568071" y="159544"/>
                  </a:lnTo>
                  <a:lnTo>
                    <a:pt x="563499" y="160973"/>
                  </a:lnTo>
                  <a:lnTo>
                    <a:pt x="556641" y="160877"/>
                  </a:lnTo>
                  <a:lnTo>
                    <a:pt x="551593" y="158686"/>
                  </a:lnTo>
                  <a:lnTo>
                    <a:pt x="539591" y="151067"/>
                  </a:lnTo>
                  <a:lnTo>
                    <a:pt x="518827" y="146685"/>
                  </a:lnTo>
                  <a:lnTo>
                    <a:pt x="505873" y="141446"/>
                  </a:lnTo>
                  <a:lnTo>
                    <a:pt x="508825" y="131254"/>
                  </a:lnTo>
                  <a:lnTo>
                    <a:pt x="504920" y="123063"/>
                  </a:lnTo>
                  <a:lnTo>
                    <a:pt x="504253" y="116777"/>
                  </a:lnTo>
                  <a:lnTo>
                    <a:pt x="482822" y="118110"/>
                  </a:lnTo>
                  <a:lnTo>
                    <a:pt x="480441" y="116205"/>
                  </a:lnTo>
                  <a:lnTo>
                    <a:pt x="476440" y="114109"/>
                  </a:lnTo>
                  <a:lnTo>
                    <a:pt x="474345" y="108490"/>
                  </a:lnTo>
                  <a:lnTo>
                    <a:pt x="471773" y="106108"/>
                  </a:lnTo>
                  <a:lnTo>
                    <a:pt x="467106" y="105823"/>
                  </a:lnTo>
                  <a:lnTo>
                    <a:pt x="438817" y="111252"/>
                  </a:lnTo>
                  <a:lnTo>
                    <a:pt x="434911" y="113157"/>
                  </a:lnTo>
                  <a:lnTo>
                    <a:pt x="432149" y="115252"/>
                  </a:lnTo>
                  <a:lnTo>
                    <a:pt x="428244" y="117443"/>
                  </a:lnTo>
                  <a:lnTo>
                    <a:pt x="421481" y="115633"/>
                  </a:lnTo>
                  <a:lnTo>
                    <a:pt x="415099" y="111442"/>
                  </a:lnTo>
                  <a:lnTo>
                    <a:pt x="410718" y="107061"/>
                  </a:lnTo>
                  <a:lnTo>
                    <a:pt x="413861" y="89916"/>
                  </a:lnTo>
                  <a:lnTo>
                    <a:pt x="412051" y="87344"/>
                  </a:lnTo>
                  <a:lnTo>
                    <a:pt x="415957" y="67342"/>
                  </a:lnTo>
                  <a:lnTo>
                    <a:pt x="402146" y="51721"/>
                  </a:lnTo>
                  <a:lnTo>
                    <a:pt x="396049" y="41719"/>
                  </a:lnTo>
                  <a:lnTo>
                    <a:pt x="391668" y="30194"/>
                  </a:lnTo>
                  <a:lnTo>
                    <a:pt x="376999" y="14002"/>
                  </a:lnTo>
                  <a:lnTo>
                    <a:pt x="360140" y="3810"/>
                  </a:lnTo>
                  <a:lnTo>
                    <a:pt x="350234" y="3810"/>
                  </a:lnTo>
                  <a:lnTo>
                    <a:pt x="345091" y="2381"/>
                  </a:lnTo>
                  <a:lnTo>
                    <a:pt x="313563" y="0"/>
                  </a:lnTo>
                  <a:lnTo>
                    <a:pt x="296132" y="7334"/>
                  </a:lnTo>
                  <a:lnTo>
                    <a:pt x="305753" y="56007"/>
                  </a:lnTo>
                  <a:lnTo>
                    <a:pt x="292132" y="67723"/>
                  </a:lnTo>
                  <a:lnTo>
                    <a:pt x="275463" y="72771"/>
                  </a:lnTo>
                  <a:lnTo>
                    <a:pt x="270891" y="72866"/>
                  </a:lnTo>
                  <a:lnTo>
                    <a:pt x="267938" y="71628"/>
                  </a:lnTo>
                  <a:lnTo>
                    <a:pt x="262319" y="66770"/>
                  </a:lnTo>
                  <a:lnTo>
                    <a:pt x="241649" y="80010"/>
                  </a:lnTo>
                  <a:lnTo>
                    <a:pt x="239268" y="85725"/>
                  </a:lnTo>
                  <a:lnTo>
                    <a:pt x="238887" y="91916"/>
                  </a:lnTo>
                  <a:lnTo>
                    <a:pt x="242888" y="103251"/>
                  </a:lnTo>
                  <a:lnTo>
                    <a:pt x="232981" y="127444"/>
                  </a:lnTo>
                  <a:lnTo>
                    <a:pt x="222313" y="131064"/>
                  </a:lnTo>
                  <a:lnTo>
                    <a:pt x="200311" y="130492"/>
                  </a:lnTo>
                  <a:lnTo>
                    <a:pt x="191643" y="134874"/>
                  </a:lnTo>
                  <a:lnTo>
                    <a:pt x="183166" y="143732"/>
                  </a:lnTo>
                  <a:lnTo>
                    <a:pt x="164306" y="139160"/>
                  </a:lnTo>
                  <a:lnTo>
                    <a:pt x="154876" y="144304"/>
                  </a:lnTo>
                  <a:lnTo>
                    <a:pt x="148971" y="144971"/>
                  </a:lnTo>
                  <a:lnTo>
                    <a:pt x="127444" y="141923"/>
                  </a:lnTo>
                  <a:lnTo>
                    <a:pt x="110871" y="130778"/>
                  </a:lnTo>
                  <a:lnTo>
                    <a:pt x="78676" y="130111"/>
                  </a:lnTo>
                  <a:lnTo>
                    <a:pt x="67627" y="131921"/>
                  </a:lnTo>
                  <a:lnTo>
                    <a:pt x="48482" y="139732"/>
                  </a:lnTo>
                  <a:lnTo>
                    <a:pt x="38481" y="141161"/>
                  </a:lnTo>
                  <a:lnTo>
                    <a:pt x="40386" y="153734"/>
                  </a:lnTo>
                  <a:lnTo>
                    <a:pt x="49530" y="158496"/>
                  </a:lnTo>
                  <a:lnTo>
                    <a:pt x="53149" y="167830"/>
                  </a:lnTo>
                  <a:lnTo>
                    <a:pt x="61436" y="177832"/>
                  </a:lnTo>
                  <a:lnTo>
                    <a:pt x="59531" y="187357"/>
                  </a:lnTo>
                  <a:lnTo>
                    <a:pt x="54292" y="197072"/>
                  </a:lnTo>
                  <a:lnTo>
                    <a:pt x="49816" y="201740"/>
                  </a:lnTo>
                  <a:lnTo>
                    <a:pt x="45053" y="204025"/>
                  </a:lnTo>
                  <a:lnTo>
                    <a:pt x="35719" y="204025"/>
                  </a:lnTo>
                  <a:lnTo>
                    <a:pt x="30956" y="204883"/>
                  </a:lnTo>
                  <a:lnTo>
                    <a:pt x="29432" y="208217"/>
                  </a:lnTo>
                  <a:lnTo>
                    <a:pt x="29337" y="211550"/>
                  </a:lnTo>
                  <a:lnTo>
                    <a:pt x="29432" y="214979"/>
                  </a:lnTo>
                  <a:lnTo>
                    <a:pt x="30099" y="217837"/>
                  </a:lnTo>
                  <a:lnTo>
                    <a:pt x="32290" y="219265"/>
                  </a:lnTo>
                  <a:lnTo>
                    <a:pt x="33909" y="222409"/>
                  </a:lnTo>
                  <a:lnTo>
                    <a:pt x="35242" y="224028"/>
                  </a:lnTo>
                  <a:lnTo>
                    <a:pt x="37624" y="231553"/>
                  </a:lnTo>
                  <a:lnTo>
                    <a:pt x="28003" y="232219"/>
                  </a:lnTo>
                  <a:lnTo>
                    <a:pt x="20955" y="236029"/>
                  </a:lnTo>
                  <a:lnTo>
                    <a:pt x="13430" y="233553"/>
                  </a:lnTo>
                  <a:lnTo>
                    <a:pt x="12001" y="233744"/>
                  </a:lnTo>
                  <a:lnTo>
                    <a:pt x="4191" y="233648"/>
                  </a:lnTo>
                  <a:lnTo>
                    <a:pt x="0" y="284512"/>
                  </a:lnTo>
                  <a:lnTo>
                    <a:pt x="15526" y="297180"/>
                  </a:lnTo>
                  <a:lnTo>
                    <a:pt x="16954" y="302323"/>
                  </a:lnTo>
                  <a:lnTo>
                    <a:pt x="18193" y="311086"/>
                  </a:lnTo>
                  <a:lnTo>
                    <a:pt x="16097" y="315563"/>
                  </a:lnTo>
                  <a:lnTo>
                    <a:pt x="13716" y="319469"/>
                  </a:lnTo>
                  <a:lnTo>
                    <a:pt x="9811" y="332994"/>
                  </a:lnTo>
                  <a:lnTo>
                    <a:pt x="25717" y="334899"/>
                  </a:lnTo>
                  <a:lnTo>
                    <a:pt x="32956" y="337280"/>
                  </a:lnTo>
                  <a:lnTo>
                    <a:pt x="46863" y="348425"/>
                  </a:lnTo>
                  <a:lnTo>
                    <a:pt x="61150" y="352234"/>
                  </a:lnTo>
                  <a:lnTo>
                    <a:pt x="61627" y="352330"/>
                  </a:lnTo>
                  <a:lnTo>
                    <a:pt x="73057" y="344329"/>
                  </a:lnTo>
                  <a:lnTo>
                    <a:pt x="86868" y="341757"/>
                  </a:lnTo>
                  <a:lnTo>
                    <a:pt x="99536" y="348901"/>
                  </a:lnTo>
                  <a:lnTo>
                    <a:pt x="108966" y="369189"/>
                  </a:lnTo>
                  <a:lnTo>
                    <a:pt x="122777" y="403860"/>
                  </a:lnTo>
                  <a:lnTo>
                    <a:pt x="140494" y="417671"/>
                  </a:lnTo>
                  <a:lnTo>
                    <a:pt x="160115" y="412909"/>
                  </a:lnTo>
                  <a:lnTo>
                    <a:pt x="179642" y="391763"/>
                  </a:lnTo>
                  <a:lnTo>
                    <a:pt x="176308" y="384524"/>
                  </a:lnTo>
                  <a:lnTo>
                    <a:pt x="183451" y="379857"/>
                  </a:lnTo>
                  <a:lnTo>
                    <a:pt x="228600" y="369284"/>
                  </a:lnTo>
                  <a:lnTo>
                    <a:pt x="237268" y="370999"/>
                  </a:lnTo>
                  <a:lnTo>
                    <a:pt x="263461" y="382238"/>
                  </a:lnTo>
                  <a:lnTo>
                    <a:pt x="303752" y="399383"/>
                  </a:lnTo>
                  <a:lnTo>
                    <a:pt x="317754" y="400431"/>
                  </a:lnTo>
                  <a:lnTo>
                    <a:pt x="341186" y="386429"/>
                  </a:lnTo>
                  <a:lnTo>
                    <a:pt x="353759" y="382810"/>
                  </a:lnTo>
                  <a:lnTo>
                    <a:pt x="380809" y="384143"/>
                  </a:lnTo>
                  <a:lnTo>
                    <a:pt x="391478" y="382334"/>
                  </a:lnTo>
                  <a:lnTo>
                    <a:pt x="394716" y="383572"/>
                  </a:lnTo>
                  <a:lnTo>
                    <a:pt x="397955" y="388430"/>
                  </a:lnTo>
                  <a:lnTo>
                    <a:pt x="398526" y="393573"/>
                  </a:lnTo>
                  <a:lnTo>
                    <a:pt x="398050" y="398050"/>
                  </a:lnTo>
                  <a:lnTo>
                    <a:pt x="398526" y="400336"/>
                  </a:lnTo>
                  <a:lnTo>
                    <a:pt x="410718" y="402336"/>
                  </a:lnTo>
                  <a:lnTo>
                    <a:pt x="437483" y="396050"/>
                  </a:lnTo>
                  <a:lnTo>
                    <a:pt x="450437" y="396430"/>
                  </a:lnTo>
                  <a:lnTo>
                    <a:pt x="455486" y="398050"/>
                  </a:lnTo>
                  <a:lnTo>
                    <a:pt x="498348" y="411861"/>
                  </a:lnTo>
                  <a:lnTo>
                    <a:pt x="534924" y="440722"/>
                  </a:lnTo>
                  <a:lnTo>
                    <a:pt x="547973" y="448151"/>
                  </a:lnTo>
                  <a:lnTo>
                    <a:pt x="559784" y="450437"/>
                  </a:lnTo>
                  <a:lnTo>
                    <a:pt x="560356" y="450342"/>
                  </a:lnTo>
                  <a:lnTo>
                    <a:pt x="570643" y="448437"/>
                  </a:lnTo>
                  <a:lnTo>
                    <a:pt x="617696" y="423672"/>
                  </a:lnTo>
                  <a:lnTo>
                    <a:pt x="629698" y="421576"/>
                  </a:lnTo>
                  <a:lnTo>
                    <a:pt x="642271" y="426530"/>
                  </a:lnTo>
                  <a:lnTo>
                    <a:pt x="667036" y="444722"/>
                  </a:lnTo>
                  <a:lnTo>
                    <a:pt x="679799" y="448246"/>
                  </a:lnTo>
                  <a:lnTo>
                    <a:pt x="693039" y="442436"/>
                  </a:lnTo>
                  <a:lnTo>
                    <a:pt x="715518" y="429292"/>
                  </a:lnTo>
                  <a:lnTo>
                    <a:pt x="722852" y="421576"/>
                  </a:lnTo>
                  <a:lnTo>
                    <a:pt x="728662" y="413671"/>
                  </a:lnTo>
                  <a:lnTo>
                    <a:pt x="754570" y="378428"/>
                  </a:lnTo>
                  <a:lnTo>
                    <a:pt x="769906" y="366331"/>
                  </a:lnTo>
                  <a:lnTo>
                    <a:pt x="784098" y="359950"/>
                  </a:lnTo>
                  <a:lnTo>
                    <a:pt x="819340" y="344234"/>
                  </a:lnTo>
                  <a:lnTo>
                    <a:pt x="823246" y="344138"/>
                  </a:lnTo>
                  <a:lnTo>
                    <a:pt x="831818" y="347567"/>
                  </a:lnTo>
                  <a:lnTo>
                    <a:pt x="835057" y="346805"/>
                  </a:lnTo>
                  <a:lnTo>
                    <a:pt x="837438" y="340709"/>
                  </a:lnTo>
                  <a:lnTo>
                    <a:pt x="837914" y="332899"/>
                  </a:lnTo>
                  <a:lnTo>
                    <a:pt x="839438" y="325374"/>
                  </a:lnTo>
                  <a:lnTo>
                    <a:pt x="844772" y="320326"/>
                  </a:lnTo>
                  <a:lnTo>
                    <a:pt x="853059" y="322993"/>
                  </a:lnTo>
                  <a:lnTo>
                    <a:pt x="860012" y="334804"/>
                  </a:lnTo>
                  <a:lnTo>
                    <a:pt x="870204" y="364426"/>
                  </a:lnTo>
                  <a:lnTo>
                    <a:pt x="880300" y="407003"/>
                  </a:lnTo>
                  <a:lnTo>
                    <a:pt x="884587" y="420053"/>
                  </a:lnTo>
                  <a:lnTo>
                    <a:pt x="888492" y="427196"/>
                  </a:lnTo>
                  <a:lnTo>
                    <a:pt x="901446" y="441674"/>
                  </a:lnTo>
                  <a:lnTo>
                    <a:pt x="905256" y="448532"/>
                  </a:lnTo>
                  <a:lnTo>
                    <a:pt x="912209" y="471011"/>
                  </a:lnTo>
                  <a:lnTo>
                    <a:pt x="923544" y="492157"/>
                  </a:lnTo>
                  <a:lnTo>
                    <a:pt x="937546" y="502539"/>
                  </a:lnTo>
                  <a:lnTo>
                    <a:pt x="1030986" y="518731"/>
                  </a:lnTo>
                  <a:lnTo>
                    <a:pt x="1072134" y="525875"/>
                  </a:lnTo>
                  <a:lnTo>
                    <a:pt x="1098614" y="521017"/>
                  </a:lnTo>
                  <a:lnTo>
                    <a:pt x="1118140" y="530447"/>
                  </a:lnTo>
                  <a:lnTo>
                    <a:pt x="1124807" y="531876"/>
                  </a:lnTo>
                  <a:lnTo>
                    <a:pt x="1148048" y="529971"/>
                  </a:lnTo>
                  <a:lnTo>
                    <a:pt x="1152811" y="532067"/>
                  </a:lnTo>
                  <a:lnTo>
                    <a:pt x="1155668" y="538163"/>
                  </a:lnTo>
                  <a:lnTo>
                    <a:pt x="1162907" y="561689"/>
                  </a:lnTo>
                  <a:lnTo>
                    <a:pt x="1166241" y="569024"/>
                  </a:lnTo>
                  <a:lnTo>
                    <a:pt x="1171004" y="573786"/>
                  </a:lnTo>
                  <a:lnTo>
                    <a:pt x="1193387" y="589407"/>
                  </a:lnTo>
                  <a:lnTo>
                    <a:pt x="1204817" y="602361"/>
                  </a:lnTo>
                  <a:lnTo>
                    <a:pt x="1204912" y="602266"/>
                  </a:lnTo>
                  <a:lnTo>
                    <a:pt x="1210723" y="596741"/>
                  </a:lnTo>
                  <a:lnTo>
                    <a:pt x="1221200" y="589788"/>
                  </a:lnTo>
                  <a:lnTo>
                    <a:pt x="1223962" y="584645"/>
                  </a:lnTo>
                  <a:lnTo>
                    <a:pt x="1225582" y="578072"/>
                  </a:lnTo>
                  <a:lnTo>
                    <a:pt x="1229868" y="573214"/>
                  </a:lnTo>
                  <a:lnTo>
                    <a:pt x="1227487" y="568452"/>
                  </a:lnTo>
                  <a:lnTo>
                    <a:pt x="1226344" y="565309"/>
                  </a:lnTo>
                  <a:lnTo>
                    <a:pt x="1221391" y="557593"/>
                  </a:lnTo>
                  <a:lnTo>
                    <a:pt x="1220057" y="553879"/>
                  </a:lnTo>
                  <a:lnTo>
                    <a:pt x="1218724" y="544639"/>
                  </a:lnTo>
                  <a:lnTo>
                    <a:pt x="1251680" y="574453"/>
                  </a:lnTo>
                  <a:lnTo>
                    <a:pt x="1255681" y="581025"/>
                  </a:lnTo>
                  <a:lnTo>
                    <a:pt x="1261777" y="587216"/>
                  </a:lnTo>
                  <a:lnTo>
                    <a:pt x="1266730" y="586454"/>
                  </a:lnTo>
                  <a:lnTo>
                    <a:pt x="1277493" y="577405"/>
                  </a:lnTo>
                  <a:lnTo>
                    <a:pt x="1280350" y="574167"/>
                  </a:lnTo>
                  <a:lnTo>
                    <a:pt x="1287399" y="569405"/>
                  </a:lnTo>
                  <a:lnTo>
                    <a:pt x="1294352" y="574929"/>
                  </a:lnTo>
                  <a:lnTo>
                    <a:pt x="1298829" y="582454"/>
                  </a:lnTo>
                  <a:lnTo>
                    <a:pt x="1302449" y="584073"/>
                  </a:lnTo>
                  <a:lnTo>
                    <a:pt x="1307402" y="583121"/>
                  </a:lnTo>
                  <a:lnTo>
                    <a:pt x="1315307" y="575310"/>
                  </a:lnTo>
                  <a:lnTo>
                    <a:pt x="1320451" y="567785"/>
                  </a:lnTo>
                  <a:lnTo>
                    <a:pt x="1322451" y="563404"/>
                  </a:lnTo>
                  <a:lnTo>
                    <a:pt x="1326737" y="559499"/>
                  </a:lnTo>
                  <a:lnTo>
                    <a:pt x="1331404" y="560070"/>
                  </a:lnTo>
                  <a:lnTo>
                    <a:pt x="1334738" y="561689"/>
                  </a:lnTo>
                  <a:lnTo>
                    <a:pt x="1343787" y="554164"/>
                  </a:lnTo>
                  <a:lnTo>
                    <a:pt x="1343978" y="547783"/>
                  </a:lnTo>
                  <a:lnTo>
                    <a:pt x="1343311" y="545878"/>
                  </a:lnTo>
                  <a:lnTo>
                    <a:pt x="1338548" y="538829"/>
                  </a:lnTo>
                  <a:lnTo>
                    <a:pt x="1364552" y="516160"/>
                  </a:lnTo>
                  <a:lnTo>
                    <a:pt x="1369981" y="514445"/>
                  </a:lnTo>
                  <a:lnTo>
                    <a:pt x="1379220" y="513683"/>
                  </a:lnTo>
                  <a:lnTo>
                    <a:pt x="1384554" y="517208"/>
                  </a:lnTo>
                  <a:lnTo>
                    <a:pt x="1394365" y="519398"/>
                  </a:lnTo>
                  <a:lnTo>
                    <a:pt x="1403223" y="523208"/>
                  </a:lnTo>
                  <a:lnTo>
                    <a:pt x="1406366" y="525399"/>
                  </a:lnTo>
                  <a:lnTo>
                    <a:pt x="1408081" y="528447"/>
                  </a:lnTo>
                  <a:lnTo>
                    <a:pt x="1409319" y="531590"/>
                  </a:lnTo>
                  <a:lnTo>
                    <a:pt x="1408462" y="536067"/>
                  </a:lnTo>
                  <a:lnTo>
                    <a:pt x="1407128" y="539115"/>
                  </a:lnTo>
                  <a:lnTo>
                    <a:pt x="1407604" y="544639"/>
                  </a:lnTo>
                  <a:lnTo>
                    <a:pt x="1418844" y="565118"/>
                  </a:lnTo>
                  <a:lnTo>
                    <a:pt x="1417796" y="555022"/>
                  </a:lnTo>
                  <a:lnTo>
                    <a:pt x="1417129" y="536638"/>
                  </a:lnTo>
                  <a:lnTo>
                    <a:pt x="1415510" y="525971"/>
                  </a:lnTo>
                  <a:lnTo>
                    <a:pt x="1412272" y="516826"/>
                  </a:lnTo>
                  <a:lnTo>
                    <a:pt x="1401604" y="502349"/>
                  </a:lnTo>
                  <a:lnTo>
                    <a:pt x="1387316" y="483108"/>
                  </a:lnTo>
                  <a:lnTo>
                    <a:pt x="1381506" y="479108"/>
                  </a:lnTo>
                  <a:lnTo>
                    <a:pt x="1377601" y="478441"/>
                  </a:lnTo>
                  <a:lnTo>
                    <a:pt x="1369886" y="475488"/>
                  </a:lnTo>
                  <a:lnTo>
                    <a:pt x="1365504" y="474726"/>
                  </a:lnTo>
                  <a:lnTo>
                    <a:pt x="1359789" y="472440"/>
                  </a:lnTo>
                  <a:lnTo>
                    <a:pt x="1358075" y="466344"/>
                  </a:lnTo>
                  <a:lnTo>
                    <a:pt x="1358837" y="450437"/>
                  </a:lnTo>
                  <a:lnTo>
                    <a:pt x="1359313" y="446818"/>
                  </a:lnTo>
                  <a:lnTo>
                    <a:pt x="1360456" y="442436"/>
                  </a:lnTo>
                  <a:lnTo>
                    <a:pt x="1361408" y="437483"/>
                  </a:lnTo>
                  <a:lnTo>
                    <a:pt x="1361504" y="431673"/>
                  </a:lnTo>
                  <a:lnTo>
                    <a:pt x="1360837" y="432245"/>
                  </a:lnTo>
                  <a:lnTo>
                    <a:pt x="1359122" y="430816"/>
                  </a:lnTo>
                  <a:lnTo>
                    <a:pt x="1357217" y="428625"/>
                  </a:lnTo>
                  <a:lnTo>
                    <a:pt x="1356170" y="426910"/>
                  </a:lnTo>
                  <a:lnTo>
                    <a:pt x="1355789" y="423291"/>
                  </a:lnTo>
                  <a:lnTo>
                    <a:pt x="1356170" y="409670"/>
                  </a:lnTo>
                  <a:lnTo>
                    <a:pt x="1354931" y="405955"/>
                  </a:lnTo>
                  <a:lnTo>
                    <a:pt x="1349407" y="394430"/>
                  </a:lnTo>
                  <a:lnTo>
                    <a:pt x="1348169" y="390716"/>
                  </a:lnTo>
                  <a:lnTo>
                    <a:pt x="1347883" y="376047"/>
                  </a:lnTo>
                  <a:lnTo>
                    <a:pt x="1347025" y="369760"/>
                  </a:lnTo>
                  <a:lnTo>
                    <a:pt x="1345597" y="364141"/>
                  </a:lnTo>
                  <a:lnTo>
                    <a:pt x="1340739" y="357854"/>
                  </a:lnTo>
                  <a:lnTo>
                    <a:pt x="1326833" y="346138"/>
                  </a:lnTo>
                  <a:lnTo>
                    <a:pt x="1318927" y="345757"/>
                  </a:lnTo>
                  <a:lnTo>
                    <a:pt x="1344168" y="329660"/>
                  </a:lnTo>
                  <a:lnTo>
                    <a:pt x="1358932" y="309563"/>
                  </a:lnTo>
                  <a:lnTo>
                    <a:pt x="1362075" y="298799"/>
                  </a:lnTo>
                  <a:lnTo>
                    <a:pt x="1375124" y="280702"/>
                  </a:lnTo>
                  <a:lnTo>
                    <a:pt x="1384554" y="271367"/>
                  </a:lnTo>
                  <a:lnTo>
                    <a:pt x="1397508" y="267176"/>
                  </a:lnTo>
                  <a:lnTo>
                    <a:pt x="1404842" y="268796"/>
                  </a:lnTo>
                  <a:lnTo>
                    <a:pt x="1407319" y="271367"/>
                  </a:lnTo>
                  <a:lnTo>
                    <a:pt x="1409319" y="274987"/>
                  </a:lnTo>
                  <a:lnTo>
                    <a:pt x="1410272" y="281083"/>
                  </a:lnTo>
                  <a:lnTo>
                    <a:pt x="1421892" y="297752"/>
                  </a:lnTo>
                  <a:lnTo>
                    <a:pt x="1425607" y="314515"/>
                  </a:lnTo>
                  <a:lnTo>
                    <a:pt x="1444943" y="304324"/>
                  </a:lnTo>
                  <a:lnTo>
                    <a:pt x="1454087" y="296799"/>
                  </a:lnTo>
                  <a:lnTo>
                    <a:pt x="1457992" y="292036"/>
                  </a:lnTo>
                  <a:lnTo>
                    <a:pt x="1462754" y="287655"/>
                  </a:lnTo>
                  <a:lnTo>
                    <a:pt x="1469422" y="284036"/>
                  </a:lnTo>
                  <a:lnTo>
                    <a:pt x="1478756" y="282702"/>
                  </a:lnTo>
                  <a:lnTo>
                    <a:pt x="1490472" y="284321"/>
                  </a:lnTo>
                  <a:lnTo>
                    <a:pt x="1494949" y="287084"/>
                  </a:lnTo>
                  <a:lnTo>
                    <a:pt x="1502283" y="289560"/>
                  </a:lnTo>
                  <a:lnTo>
                    <a:pt x="1516666" y="287750"/>
                  </a:lnTo>
                  <a:lnTo>
                    <a:pt x="1516856" y="283655"/>
                  </a:lnTo>
                  <a:lnTo>
                    <a:pt x="1517047" y="282988"/>
                  </a:lnTo>
                  <a:lnTo>
                    <a:pt x="1515428" y="282226"/>
                  </a:lnTo>
                  <a:lnTo>
                    <a:pt x="1515618" y="278702"/>
                  </a:lnTo>
                  <a:lnTo>
                    <a:pt x="1516190" y="275177"/>
                  </a:lnTo>
                  <a:lnTo>
                    <a:pt x="1528858" y="248984"/>
                  </a:lnTo>
                  <a:lnTo>
                    <a:pt x="1559528" y="247269"/>
                  </a:lnTo>
                  <a:lnTo>
                    <a:pt x="1565720" y="249365"/>
                  </a:lnTo>
                  <a:lnTo>
                    <a:pt x="1574006" y="238315"/>
                  </a:lnTo>
                  <a:lnTo>
                    <a:pt x="1568387" y="224504"/>
                  </a:lnTo>
                  <a:lnTo>
                    <a:pt x="1571244" y="218218"/>
                  </a:lnTo>
                  <a:lnTo>
                    <a:pt x="1576387" y="212122"/>
                  </a:lnTo>
                  <a:lnTo>
                    <a:pt x="1591628" y="204216"/>
                  </a:lnTo>
                  <a:lnTo>
                    <a:pt x="1592961" y="201930"/>
                  </a:lnTo>
                  <a:lnTo>
                    <a:pt x="1591437" y="198215"/>
                  </a:lnTo>
                  <a:close/>
                </a:path>
              </a:pathLst>
            </a:custGeom>
            <a:grpFill/>
            <a:ln w="9525" cap="sq">
              <a:noFill/>
              <a:prstDash val="solid"/>
              <a:bevel/>
            </a:ln>
          </p:spPr>
          <p:txBody>
            <a:bodyPr rtlCol="0" anchor="ctr"/>
            <a:lstStyle/>
            <a:p>
              <a:endParaRPr lang="cs-CZ"/>
            </a:p>
          </p:txBody>
        </p:sp>
      </p:grpSp>
      <p:grpSp>
        <p:nvGrpSpPr>
          <p:cNvPr id="167" name="Graphic 164">
            <a:extLst>
              <a:ext uri="{FF2B5EF4-FFF2-40B4-BE49-F238E27FC236}">
                <a16:creationId xmlns:a16="http://schemas.microsoft.com/office/drawing/2014/main" id="{9721293A-E4E6-8F04-8B87-358723EE1A7B}"/>
              </a:ext>
            </a:extLst>
          </p:cNvPr>
          <p:cNvGrpSpPr/>
          <p:nvPr/>
        </p:nvGrpSpPr>
        <p:grpSpPr>
          <a:xfrm>
            <a:off x="615950" y="3952242"/>
            <a:ext cx="3198813" cy="1944688"/>
            <a:chOff x="11575730" y="7203309"/>
            <a:chExt cx="2823019" cy="1716786"/>
          </a:xfrm>
          <a:solidFill>
            <a:schemeClr val="bg2"/>
          </a:solidFill>
        </p:grpSpPr>
        <p:sp>
          <p:nvSpPr>
            <p:cNvPr id="168" name="Freeform: Shape 167">
              <a:extLst>
                <a:ext uri="{FF2B5EF4-FFF2-40B4-BE49-F238E27FC236}">
                  <a16:creationId xmlns:a16="http://schemas.microsoft.com/office/drawing/2014/main" id="{DDCBF30E-DCD4-1FE2-2D77-4F6A19D89AB2}"/>
                </a:ext>
              </a:extLst>
            </p:cNvPr>
            <p:cNvSpPr/>
            <p:nvPr/>
          </p:nvSpPr>
          <p:spPr>
            <a:xfrm>
              <a:off x="11576111" y="7203309"/>
              <a:ext cx="2822638" cy="1716690"/>
            </a:xfrm>
            <a:custGeom>
              <a:avLst/>
              <a:gdLst>
                <a:gd name="connsiteX0" fmla="*/ 2485644 w 2822638"/>
                <a:gd name="connsiteY0" fmla="*/ 400336 h 1716690"/>
                <a:gd name="connsiteX1" fmla="*/ 2553843 w 2822638"/>
                <a:gd name="connsiteY1" fmla="*/ 399669 h 1716690"/>
                <a:gd name="connsiteX2" fmla="*/ 2551748 w 2822638"/>
                <a:gd name="connsiteY2" fmla="*/ 426053 h 1716690"/>
                <a:gd name="connsiteX3" fmla="*/ 2552891 w 2822638"/>
                <a:gd name="connsiteY3" fmla="*/ 443198 h 1716690"/>
                <a:gd name="connsiteX4" fmla="*/ 2548700 w 2822638"/>
                <a:gd name="connsiteY4" fmla="*/ 458057 h 1716690"/>
                <a:gd name="connsiteX5" fmla="*/ 2547366 w 2822638"/>
                <a:gd name="connsiteY5" fmla="*/ 470726 h 1716690"/>
                <a:gd name="connsiteX6" fmla="*/ 2557082 w 2822638"/>
                <a:gd name="connsiteY6" fmla="*/ 481394 h 1716690"/>
                <a:gd name="connsiteX7" fmla="*/ 2597849 w 2822638"/>
                <a:gd name="connsiteY7" fmla="*/ 500729 h 1716690"/>
                <a:gd name="connsiteX8" fmla="*/ 2618708 w 2822638"/>
                <a:gd name="connsiteY8" fmla="*/ 524256 h 1716690"/>
                <a:gd name="connsiteX9" fmla="*/ 2623947 w 2822638"/>
                <a:gd name="connsiteY9" fmla="*/ 530257 h 1716690"/>
                <a:gd name="connsiteX10" fmla="*/ 2663381 w 2822638"/>
                <a:gd name="connsiteY10" fmla="*/ 554927 h 1716690"/>
                <a:gd name="connsiteX11" fmla="*/ 2670620 w 2822638"/>
                <a:gd name="connsiteY11" fmla="*/ 561404 h 1716690"/>
                <a:gd name="connsiteX12" fmla="*/ 2675477 w 2822638"/>
                <a:gd name="connsiteY12" fmla="*/ 571691 h 1716690"/>
                <a:gd name="connsiteX13" fmla="*/ 2677763 w 2822638"/>
                <a:gd name="connsiteY13" fmla="*/ 588550 h 1716690"/>
                <a:gd name="connsiteX14" fmla="*/ 2675858 w 2822638"/>
                <a:gd name="connsiteY14" fmla="*/ 628936 h 1716690"/>
                <a:gd name="connsiteX15" fmla="*/ 2673001 w 2822638"/>
                <a:gd name="connsiteY15" fmla="*/ 651034 h 1716690"/>
                <a:gd name="connsiteX16" fmla="*/ 2669286 w 2822638"/>
                <a:gd name="connsiteY16" fmla="*/ 666369 h 1716690"/>
                <a:gd name="connsiteX17" fmla="*/ 2657475 w 2822638"/>
                <a:gd name="connsiteY17" fmla="*/ 677609 h 1716690"/>
                <a:gd name="connsiteX18" fmla="*/ 2621280 w 2822638"/>
                <a:gd name="connsiteY18" fmla="*/ 695230 h 1716690"/>
                <a:gd name="connsiteX19" fmla="*/ 2613946 w 2822638"/>
                <a:gd name="connsiteY19" fmla="*/ 705993 h 1716690"/>
                <a:gd name="connsiteX20" fmla="*/ 2619375 w 2822638"/>
                <a:gd name="connsiteY20" fmla="*/ 719042 h 1716690"/>
                <a:gd name="connsiteX21" fmla="*/ 2629472 w 2822638"/>
                <a:gd name="connsiteY21" fmla="*/ 724376 h 1716690"/>
                <a:gd name="connsiteX22" fmla="*/ 2638616 w 2822638"/>
                <a:gd name="connsiteY22" fmla="*/ 731520 h 1716690"/>
                <a:gd name="connsiteX23" fmla="*/ 2640616 w 2822638"/>
                <a:gd name="connsiteY23" fmla="*/ 749903 h 1716690"/>
                <a:gd name="connsiteX24" fmla="*/ 2638711 w 2822638"/>
                <a:gd name="connsiteY24" fmla="*/ 757714 h 1716690"/>
                <a:gd name="connsiteX25" fmla="*/ 2632424 w 2822638"/>
                <a:gd name="connsiteY25" fmla="*/ 773144 h 1716690"/>
                <a:gd name="connsiteX26" fmla="*/ 2630043 w 2822638"/>
                <a:gd name="connsiteY26" fmla="*/ 781050 h 1716690"/>
                <a:gd name="connsiteX27" fmla="*/ 2628996 w 2822638"/>
                <a:gd name="connsiteY27" fmla="*/ 788289 h 1716690"/>
                <a:gd name="connsiteX28" fmla="*/ 2628138 w 2822638"/>
                <a:gd name="connsiteY28" fmla="*/ 802577 h 1716690"/>
                <a:gd name="connsiteX29" fmla="*/ 2626805 w 2822638"/>
                <a:gd name="connsiteY29" fmla="*/ 810673 h 1716690"/>
                <a:gd name="connsiteX30" fmla="*/ 2600897 w 2822638"/>
                <a:gd name="connsiteY30" fmla="*/ 866394 h 1716690"/>
                <a:gd name="connsiteX31" fmla="*/ 2592991 w 2822638"/>
                <a:gd name="connsiteY31" fmla="*/ 891350 h 1716690"/>
                <a:gd name="connsiteX32" fmla="*/ 2599277 w 2822638"/>
                <a:gd name="connsiteY32" fmla="*/ 893064 h 1716690"/>
                <a:gd name="connsiteX33" fmla="*/ 2605850 w 2822638"/>
                <a:gd name="connsiteY33" fmla="*/ 894874 h 1716690"/>
                <a:gd name="connsiteX34" fmla="*/ 2638139 w 2822638"/>
                <a:gd name="connsiteY34" fmla="*/ 876681 h 1716690"/>
                <a:gd name="connsiteX35" fmla="*/ 2654617 w 2822638"/>
                <a:gd name="connsiteY35" fmla="*/ 872109 h 1716690"/>
                <a:gd name="connsiteX36" fmla="*/ 2671953 w 2822638"/>
                <a:gd name="connsiteY36" fmla="*/ 877062 h 1716690"/>
                <a:gd name="connsiteX37" fmla="*/ 2680335 w 2822638"/>
                <a:gd name="connsiteY37" fmla="*/ 884206 h 1716690"/>
                <a:gd name="connsiteX38" fmla="*/ 2695671 w 2822638"/>
                <a:gd name="connsiteY38" fmla="*/ 901732 h 1716690"/>
                <a:gd name="connsiteX39" fmla="*/ 2704243 w 2822638"/>
                <a:gd name="connsiteY39" fmla="*/ 908590 h 1716690"/>
                <a:gd name="connsiteX40" fmla="*/ 2706338 w 2822638"/>
                <a:gd name="connsiteY40" fmla="*/ 918782 h 1716690"/>
                <a:gd name="connsiteX41" fmla="*/ 2699004 w 2822638"/>
                <a:gd name="connsiteY41" fmla="*/ 934974 h 1716690"/>
                <a:gd name="connsiteX42" fmla="*/ 2689670 w 2822638"/>
                <a:gd name="connsiteY42" fmla="*/ 951738 h 1716690"/>
                <a:gd name="connsiteX43" fmla="*/ 2685574 w 2822638"/>
                <a:gd name="connsiteY43" fmla="*/ 963644 h 1716690"/>
                <a:gd name="connsiteX44" fmla="*/ 2692241 w 2822638"/>
                <a:gd name="connsiteY44" fmla="*/ 975836 h 1716690"/>
                <a:gd name="connsiteX45" fmla="*/ 2730532 w 2822638"/>
                <a:gd name="connsiteY45" fmla="*/ 1003078 h 1716690"/>
                <a:gd name="connsiteX46" fmla="*/ 2734532 w 2822638"/>
                <a:gd name="connsiteY46" fmla="*/ 1015175 h 1716690"/>
                <a:gd name="connsiteX47" fmla="*/ 2734818 w 2822638"/>
                <a:gd name="connsiteY47" fmla="*/ 1046988 h 1716690"/>
                <a:gd name="connsiteX48" fmla="*/ 2736914 w 2822638"/>
                <a:gd name="connsiteY48" fmla="*/ 1061942 h 1716690"/>
                <a:gd name="connsiteX49" fmla="*/ 2742152 w 2822638"/>
                <a:gd name="connsiteY49" fmla="*/ 1073468 h 1716690"/>
                <a:gd name="connsiteX50" fmla="*/ 2749010 w 2822638"/>
                <a:gd name="connsiteY50" fmla="*/ 1081088 h 1716690"/>
                <a:gd name="connsiteX51" fmla="*/ 2780157 w 2822638"/>
                <a:gd name="connsiteY51" fmla="*/ 1096328 h 1716690"/>
                <a:gd name="connsiteX52" fmla="*/ 2787015 w 2822638"/>
                <a:gd name="connsiteY52" fmla="*/ 1101566 h 1716690"/>
                <a:gd name="connsiteX53" fmla="*/ 2789396 w 2822638"/>
                <a:gd name="connsiteY53" fmla="*/ 1109853 h 1716690"/>
                <a:gd name="connsiteX54" fmla="*/ 2786634 w 2822638"/>
                <a:gd name="connsiteY54" fmla="*/ 1116140 h 1716690"/>
                <a:gd name="connsiteX55" fmla="*/ 2776538 w 2822638"/>
                <a:gd name="connsiteY55" fmla="*/ 1125855 h 1716690"/>
                <a:gd name="connsiteX56" fmla="*/ 2774252 w 2822638"/>
                <a:gd name="connsiteY56" fmla="*/ 1134142 h 1716690"/>
                <a:gd name="connsiteX57" fmla="*/ 2775490 w 2822638"/>
                <a:gd name="connsiteY57" fmla="*/ 1141000 h 1716690"/>
                <a:gd name="connsiteX58" fmla="*/ 2778633 w 2822638"/>
                <a:gd name="connsiteY58" fmla="*/ 1147286 h 1716690"/>
                <a:gd name="connsiteX59" fmla="*/ 2798921 w 2822638"/>
                <a:gd name="connsiteY59" fmla="*/ 1173290 h 1716690"/>
                <a:gd name="connsiteX60" fmla="*/ 2801969 w 2822638"/>
                <a:gd name="connsiteY60" fmla="*/ 1179100 h 1716690"/>
                <a:gd name="connsiteX61" fmla="*/ 2803398 w 2822638"/>
                <a:gd name="connsiteY61" fmla="*/ 1186720 h 1716690"/>
                <a:gd name="connsiteX62" fmla="*/ 2801969 w 2822638"/>
                <a:gd name="connsiteY62" fmla="*/ 1210913 h 1716690"/>
                <a:gd name="connsiteX63" fmla="*/ 2803112 w 2822638"/>
                <a:gd name="connsiteY63" fmla="*/ 1227011 h 1716690"/>
                <a:gd name="connsiteX64" fmla="*/ 2805970 w 2822638"/>
                <a:gd name="connsiteY64" fmla="*/ 1241203 h 1716690"/>
                <a:gd name="connsiteX65" fmla="*/ 2821686 w 2822638"/>
                <a:gd name="connsiteY65" fmla="*/ 1289114 h 1716690"/>
                <a:gd name="connsiteX66" fmla="*/ 2822639 w 2822638"/>
                <a:gd name="connsiteY66" fmla="*/ 1296543 h 1716690"/>
                <a:gd name="connsiteX67" fmla="*/ 2821877 w 2822638"/>
                <a:gd name="connsiteY67" fmla="*/ 1306830 h 1716690"/>
                <a:gd name="connsiteX68" fmla="*/ 2819591 w 2822638"/>
                <a:gd name="connsiteY68" fmla="*/ 1312355 h 1716690"/>
                <a:gd name="connsiteX69" fmla="*/ 2816447 w 2822638"/>
                <a:gd name="connsiteY69" fmla="*/ 1316927 h 1716690"/>
                <a:gd name="connsiteX70" fmla="*/ 2813209 w 2822638"/>
                <a:gd name="connsiteY70" fmla="*/ 1324356 h 1716690"/>
                <a:gd name="connsiteX71" fmla="*/ 2809780 w 2822638"/>
                <a:gd name="connsiteY71" fmla="*/ 1340834 h 1716690"/>
                <a:gd name="connsiteX72" fmla="*/ 2807494 w 2822638"/>
                <a:gd name="connsiteY72" fmla="*/ 1357408 h 1716690"/>
                <a:gd name="connsiteX73" fmla="*/ 2803779 w 2822638"/>
                <a:gd name="connsiteY73" fmla="*/ 1372934 h 1716690"/>
                <a:gd name="connsiteX74" fmla="*/ 2795873 w 2822638"/>
                <a:gd name="connsiteY74" fmla="*/ 1386459 h 1716690"/>
                <a:gd name="connsiteX75" fmla="*/ 2781110 w 2822638"/>
                <a:gd name="connsiteY75" fmla="*/ 1376363 h 1716690"/>
                <a:gd name="connsiteX76" fmla="*/ 2764441 w 2822638"/>
                <a:gd name="connsiteY76" fmla="*/ 1382840 h 1716690"/>
                <a:gd name="connsiteX77" fmla="*/ 2757773 w 2822638"/>
                <a:gd name="connsiteY77" fmla="*/ 1387697 h 1716690"/>
                <a:gd name="connsiteX78" fmla="*/ 2747105 w 2822638"/>
                <a:gd name="connsiteY78" fmla="*/ 1395413 h 1716690"/>
                <a:gd name="connsiteX79" fmla="*/ 2730437 w 2822638"/>
                <a:gd name="connsiteY79" fmla="*/ 1403509 h 1716690"/>
                <a:gd name="connsiteX80" fmla="*/ 2714339 w 2822638"/>
                <a:gd name="connsiteY80" fmla="*/ 1406938 h 1716690"/>
                <a:gd name="connsiteX81" fmla="*/ 2709482 w 2822638"/>
                <a:gd name="connsiteY81" fmla="*/ 1409510 h 1716690"/>
                <a:gd name="connsiteX82" fmla="*/ 2703386 w 2822638"/>
                <a:gd name="connsiteY82" fmla="*/ 1415891 h 1716690"/>
                <a:gd name="connsiteX83" fmla="*/ 2699480 w 2822638"/>
                <a:gd name="connsiteY83" fmla="*/ 1423511 h 1716690"/>
                <a:gd name="connsiteX84" fmla="*/ 2696051 w 2822638"/>
                <a:gd name="connsiteY84" fmla="*/ 1432084 h 1716690"/>
                <a:gd name="connsiteX85" fmla="*/ 2691384 w 2822638"/>
                <a:gd name="connsiteY85" fmla="*/ 1441323 h 1716690"/>
                <a:gd name="connsiteX86" fmla="*/ 2664809 w 2822638"/>
                <a:gd name="connsiteY86" fmla="*/ 1461802 h 1716690"/>
                <a:gd name="connsiteX87" fmla="*/ 2652617 w 2822638"/>
                <a:gd name="connsiteY87" fmla="*/ 1474470 h 1716690"/>
                <a:gd name="connsiteX88" fmla="*/ 2650998 w 2822638"/>
                <a:gd name="connsiteY88" fmla="*/ 1491139 h 1716690"/>
                <a:gd name="connsiteX89" fmla="*/ 2638330 w 2822638"/>
                <a:gd name="connsiteY89" fmla="*/ 1513904 h 1716690"/>
                <a:gd name="connsiteX90" fmla="*/ 2599658 w 2822638"/>
                <a:gd name="connsiteY90" fmla="*/ 1539526 h 1716690"/>
                <a:gd name="connsiteX91" fmla="*/ 2588800 w 2822638"/>
                <a:gd name="connsiteY91" fmla="*/ 1570292 h 1716690"/>
                <a:gd name="connsiteX92" fmla="*/ 2586038 w 2822638"/>
                <a:gd name="connsiteY92" fmla="*/ 1603343 h 1716690"/>
                <a:gd name="connsiteX93" fmla="*/ 2582704 w 2822638"/>
                <a:gd name="connsiteY93" fmla="*/ 1618107 h 1716690"/>
                <a:gd name="connsiteX94" fmla="*/ 2579275 w 2822638"/>
                <a:gd name="connsiteY94" fmla="*/ 1628775 h 1716690"/>
                <a:gd name="connsiteX95" fmla="*/ 2568321 w 2822638"/>
                <a:gd name="connsiteY95" fmla="*/ 1630204 h 1716690"/>
                <a:gd name="connsiteX96" fmla="*/ 2519363 w 2822638"/>
                <a:gd name="connsiteY96" fmla="*/ 1625727 h 1716690"/>
                <a:gd name="connsiteX97" fmla="*/ 2506504 w 2822638"/>
                <a:gd name="connsiteY97" fmla="*/ 1621822 h 1716690"/>
                <a:gd name="connsiteX98" fmla="*/ 2494312 w 2822638"/>
                <a:gd name="connsiteY98" fmla="*/ 1614583 h 1716690"/>
                <a:gd name="connsiteX99" fmla="*/ 2484596 w 2822638"/>
                <a:gd name="connsiteY99" fmla="*/ 1603248 h 1716690"/>
                <a:gd name="connsiteX100" fmla="*/ 2476596 w 2822638"/>
                <a:gd name="connsiteY100" fmla="*/ 1612678 h 1716690"/>
                <a:gd name="connsiteX101" fmla="*/ 2458403 w 2822638"/>
                <a:gd name="connsiteY101" fmla="*/ 1630490 h 1716690"/>
                <a:gd name="connsiteX102" fmla="*/ 2450878 w 2822638"/>
                <a:gd name="connsiteY102" fmla="*/ 1633728 h 1716690"/>
                <a:gd name="connsiteX103" fmla="*/ 2440115 w 2822638"/>
                <a:gd name="connsiteY103" fmla="*/ 1627727 h 1716690"/>
                <a:gd name="connsiteX104" fmla="*/ 2415826 w 2822638"/>
                <a:gd name="connsiteY104" fmla="*/ 1607058 h 1716690"/>
                <a:gd name="connsiteX105" fmla="*/ 2407349 w 2822638"/>
                <a:gd name="connsiteY105" fmla="*/ 1602391 h 1716690"/>
                <a:gd name="connsiteX106" fmla="*/ 2391537 w 2822638"/>
                <a:gd name="connsiteY106" fmla="*/ 1599724 h 1716690"/>
                <a:gd name="connsiteX107" fmla="*/ 2341055 w 2822638"/>
                <a:gd name="connsiteY107" fmla="*/ 1606201 h 1716690"/>
                <a:gd name="connsiteX108" fmla="*/ 2340388 w 2822638"/>
                <a:gd name="connsiteY108" fmla="*/ 1606582 h 1716690"/>
                <a:gd name="connsiteX109" fmla="*/ 2332006 w 2822638"/>
                <a:gd name="connsiteY109" fmla="*/ 1611916 h 1716690"/>
                <a:gd name="connsiteX110" fmla="*/ 2309527 w 2822638"/>
                <a:gd name="connsiteY110" fmla="*/ 1639538 h 1716690"/>
                <a:gd name="connsiteX111" fmla="*/ 2287238 w 2822638"/>
                <a:gd name="connsiteY111" fmla="*/ 1680591 h 1716690"/>
                <a:gd name="connsiteX112" fmla="*/ 2279428 w 2822638"/>
                <a:gd name="connsiteY112" fmla="*/ 1689735 h 1716690"/>
                <a:gd name="connsiteX113" fmla="*/ 2248376 w 2822638"/>
                <a:gd name="connsiteY113" fmla="*/ 1705832 h 1716690"/>
                <a:gd name="connsiteX114" fmla="*/ 2239423 w 2822638"/>
                <a:gd name="connsiteY114" fmla="*/ 1706499 h 1716690"/>
                <a:gd name="connsiteX115" fmla="*/ 2218658 w 2822638"/>
                <a:gd name="connsiteY115" fmla="*/ 1698117 h 1716690"/>
                <a:gd name="connsiteX116" fmla="*/ 2208276 w 2822638"/>
                <a:gd name="connsiteY116" fmla="*/ 1696974 h 1716690"/>
                <a:gd name="connsiteX117" fmla="*/ 2198751 w 2822638"/>
                <a:gd name="connsiteY117" fmla="*/ 1702213 h 1716690"/>
                <a:gd name="connsiteX118" fmla="*/ 2190560 w 2822638"/>
                <a:gd name="connsiteY118" fmla="*/ 1716691 h 1716690"/>
                <a:gd name="connsiteX119" fmla="*/ 2168366 w 2822638"/>
                <a:gd name="connsiteY119" fmla="*/ 1714976 h 1716690"/>
                <a:gd name="connsiteX120" fmla="*/ 2146364 w 2822638"/>
                <a:gd name="connsiteY120" fmla="*/ 1708880 h 1716690"/>
                <a:gd name="connsiteX121" fmla="*/ 2092357 w 2822638"/>
                <a:gd name="connsiteY121" fmla="*/ 1682591 h 1716690"/>
                <a:gd name="connsiteX122" fmla="*/ 2067973 w 2822638"/>
                <a:gd name="connsiteY122" fmla="*/ 1664018 h 1716690"/>
                <a:gd name="connsiteX123" fmla="*/ 2047399 w 2822638"/>
                <a:gd name="connsiteY123" fmla="*/ 1626870 h 1716690"/>
                <a:gd name="connsiteX124" fmla="*/ 2038350 w 2822638"/>
                <a:gd name="connsiteY124" fmla="*/ 1605725 h 1716690"/>
                <a:gd name="connsiteX125" fmla="*/ 2028539 w 2822638"/>
                <a:gd name="connsiteY125" fmla="*/ 1590389 h 1716690"/>
                <a:gd name="connsiteX126" fmla="*/ 1989963 w 2822638"/>
                <a:gd name="connsiteY126" fmla="*/ 1556671 h 1716690"/>
                <a:gd name="connsiteX127" fmla="*/ 1965865 w 2822638"/>
                <a:gd name="connsiteY127" fmla="*/ 1529429 h 1716690"/>
                <a:gd name="connsiteX128" fmla="*/ 1943862 w 2822638"/>
                <a:gd name="connsiteY128" fmla="*/ 1514761 h 1716690"/>
                <a:gd name="connsiteX129" fmla="*/ 1908810 w 2822638"/>
                <a:gd name="connsiteY129" fmla="*/ 1491329 h 1716690"/>
                <a:gd name="connsiteX130" fmla="*/ 1879283 w 2822638"/>
                <a:gd name="connsiteY130" fmla="*/ 1457896 h 1716690"/>
                <a:gd name="connsiteX131" fmla="*/ 1867948 w 2822638"/>
                <a:gd name="connsiteY131" fmla="*/ 1444943 h 1716690"/>
                <a:gd name="connsiteX132" fmla="*/ 1845564 w 2822638"/>
                <a:gd name="connsiteY132" fmla="*/ 1429321 h 1716690"/>
                <a:gd name="connsiteX133" fmla="*/ 1840802 w 2822638"/>
                <a:gd name="connsiteY133" fmla="*/ 1424559 h 1716690"/>
                <a:gd name="connsiteX134" fmla="*/ 1837373 w 2822638"/>
                <a:gd name="connsiteY134" fmla="*/ 1417320 h 1716690"/>
                <a:gd name="connsiteX135" fmla="*/ 1830134 w 2822638"/>
                <a:gd name="connsiteY135" fmla="*/ 1393793 h 1716690"/>
                <a:gd name="connsiteX136" fmla="*/ 1827276 w 2822638"/>
                <a:gd name="connsiteY136" fmla="*/ 1387602 h 1716690"/>
                <a:gd name="connsiteX137" fmla="*/ 1822514 w 2822638"/>
                <a:gd name="connsiteY137" fmla="*/ 1385507 h 1716690"/>
                <a:gd name="connsiteX138" fmla="*/ 1799273 w 2822638"/>
                <a:gd name="connsiteY138" fmla="*/ 1387412 h 1716690"/>
                <a:gd name="connsiteX139" fmla="*/ 1792605 w 2822638"/>
                <a:gd name="connsiteY139" fmla="*/ 1386078 h 1716690"/>
                <a:gd name="connsiteX140" fmla="*/ 1773079 w 2822638"/>
                <a:gd name="connsiteY140" fmla="*/ 1376648 h 1716690"/>
                <a:gd name="connsiteX141" fmla="*/ 1746599 w 2822638"/>
                <a:gd name="connsiteY141" fmla="*/ 1381506 h 1716690"/>
                <a:gd name="connsiteX142" fmla="*/ 1705451 w 2822638"/>
                <a:gd name="connsiteY142" fmla="*/ 1374362 h 1716690"/>
                <a:gd name="connsiteX143" fmla="*/ 1612011 w 2822638"/>
                <a:gd name="connsiteY143" fmla="*/ 1358170 h 1716690"/>
                <a:gd name="connsiteX144" fmla="*/ 1597914 w 2822638"/>
                <a:gd name="connsiteY144" fmla="*/ 1347883 h 1716690"/>
                <a:gd name="connsiteX145" fmla="*/ 1586579 w 2822638"/>
                <a:gd name="connsiteY145" fmla="*/ 1326737 h 1716690"/>
                <a:gd name="connsiteX146" fmla="*/ 1579626 w 2822638"/>
                <a:gd name="connsiteY146" fmla="*/ 1304163 h 1716690"/>
                <a:gd name="connsiteX147" fmla="*/ 1575816 w 2822638"/>
                <a:gd name="connsiteY147" fmla="*/ 1297305 h 1716690"/>
                <a:gd name="connsiteX148" fmla="*/ 1562862 w 2822638"/>
                <a:gd name="connsiteY148" fmla="*/ 1282827 h 1716690"/>
                <a:gd name="connsiteX149" fmla="*/ 1558957 w 2822638"/>
                <a:gd name="connsiteY149" fmla="*/ 1275588 h 1716690"/>
                <a:gd name="connsiteX150" fmla="*/ 1554671 w 2822638"/>
                <a:gd name="connsiteY150" fmla="*/ 1262539 h 1716690"/>
                <a:gd name="connsiteX151" fmla="*/ 1544574 w 2822638"/>
                <a:gd name="connsiteY151" fmla="*/ 1219962 h 1716690"/>
                <a:gd name="connsiteX152" fmla="*/ 1534382 w 2822638"/>
                <a:gd name="connsiteY152" fmla="*/ 1190435 h 1716690"/>
                <a:gd name="connsiteX153" fmla="*/ 1527429 w 2822638"/>
                <a:gd name="connsiteY153" fmla="*/ 1178624 h 1716690"/>
                <a:gd name="connsiteX154" fmla="*/ 1519142 w 2822638"/>
                <a:gd name="connsiteY154" fmla="*/ 1175861 h 1716690"/>
                <a:gd name="connsiteX155" fmla="*/ 1513713 w 2822638"/>
                <a:gd name="connsiteY155" fmla="*/ 1181005 h 1716690"/>
                <a:gd name="connsiteX156" fmla="*/ 1512284 w 2822638"/>
                <a:gd name="connsiteY156" fmla="*/ 1188530 h 1716690"/>
                <a:gd name="connsiteX157" fmla="*/ 1511808 w 2822638"/>
                <a:gd name="connsiteY157" fmla="*/ 1196340 h 1716690"/>
                <a:gd name="connsiteX158" fmla="*/ 1509332 w 2822638"/>
                <a:gd name="connsiteY158" fmla="*/ 1202531 h 1716690"/>
                <a:gd name="connsiteX159" fmla="*/ 1506188 w 2822638"/>
                <a:gd name="connsiteY159" fmla="*/ 1203198 h 1716690"/>
                <a:gd name="connsiteX160" fmla="*/ 1497616 w 2822638"/>
                <a:gd name="connsiteY160" fmla="*/ 1199769 h 1716690"/>
                <a:gd name="connsiteX161" fmla="*/ 1493711 w 2822638"/>
                <a:gd name="connsiteY161" fmla="*/ 1199960 h 1716690"/>
                <a:gd name="connsiteX162" fmla="*/ 1458468 w 2822638"/>
                <a:gd name="connsiteY162" fmla="*/ 1215676 h 1716690"/>
                <a:gd name="connsiteX163" fmla="*/ 1444276 w 2822638"/>
                <a:gd name="connsiteY163" fmla="*/ 1221962 h 1716690"/>
                <a:gd name="connsiteX164" fmla="*/ 1428940 w 2822638"/>
                <a:gd name="connsiteY164" fmla="*/ 1234154 h 1716690"/>
                <a:gd name="connsiteX165" fmla="*/ 1397318 w 2822638"/>
                <a:gd name="connsiteY165" fmla="*/ 1277303 h 1716690"/>
                <a:gd name="connsiteX166" fmla="*/ 1389983 w 2822638"/>
                <a:gd name="connsiteY166" fmla="*/ 1285018 h 1716690"/>
                <a:gd name="connsiteX167" fmla="*/ 1367504 w 2822638"/>
                <a:gd name="connsiteY167" fmla="*/ 1298162 h 1716690"/>
                <a:gd name="connsiteX168" fmla="*/ 1354265 w 2822638"/>
                <a:gd name="connsiteY168" fmla="*/ 1303973 h 1716690"/>
                <a:gd name="connsiteX169" fmla="*/ 1341501 w 2822638"/>
                <a:gd name="connsiteY169" fmla="*/ 1300448 h 1716690"/>
                <a:gd name="connsiteX170" fmla="*/ 1316736 w 2822638"/>
                <a:gd name="connsiteY170" fmla="*/ 1282160 h 1716690"/>
                <a:gd name="connsiteX171" fmla="*/ 1304163 w 2822638"/>
                <a:gd name="connsiteY171" fmla="*/ 1277207 h 1716690"/>
                <a:gd name="connsiteX172" fmla="*/ 1292162 w 2822638"/>
                <a:gd name="connsiteY172" fmla="*/ 1279303 h 1716690"/>
                <a:gd name="connsiteX173" fmla="*/ 1245108 w 2822638"/>
                <a:gd name="connsiteY173" fmla="*/ 1303973 h 1716690"/>
                <a:gd name="connsiteX174" fmla="*/ 1234821 w 2822638"/>
                <a:gd name="connsiteY174" fmla="*/ 1305878 h 1716690"/>
                <a:gd name="connsiteX175" fmla="*/ 1234250 w 2822638"/>
                <a:gd name="connsiteY175" fmla="*/ 1305878 h 1716690"/>
                <a:gd name="connsiteX176" fmla="*/ 1222439 w 2822638"/>
                <a:gd name="connsiteY176" fmla="*/ 1303687 h 1716690"/>
                <a:gd name="connsiteX177" fmla="*/ 1209389 w 2822638"/>
                <a:gd name="connsiteY177" fmla="*/ 1296353 h 1716690"/>
                <a:gd name="connsiteX178" fmla="*/ 1172813 w 2822638"/>
                <a:gd name="connsiteY178" fmla="*/ 1267396 h 1716690"/>
                <a:gd name="connsiteX179" fmla="*/ 1129856 w 2822638"/>
                <a:gd name="connsiteY179" fmla="*/ 1253585 h 1716690"/>
                <a:gd name="connsiteX180" fmla="*/ 1124807 w 2822638"/>
                <a:gd name="connsiteY180" fmla="*/ 1251966 h 1716690"/>
                <a:gd name="connsiteX181" fmla="*/ 1111949 w 2822638"/>
                <a:gd name="connsiteY181" fmla="*/ 1251585 h 1716690"/>
                <a:gd name="connsiteX182" fmla="*/ 1085088 w 2822638"/>
                <a:gd name="connsiteY182" fmla="*/ 1257871 h 1716690"/>
                <a:gd name="connsiteX183" fmla="*/ 1072991 w 2822638"/>
                <a:gd name="connsiteY183" fmla="*/ 1255871 h 1716690"/>
                <a:gd name="connsiteX184" fmla="*/ 1072515 w 2822638"/>
                <a:gd name="connsiteY184" fmla="*/ 1253585 h 1716690"/>
                <a:gd name="connsiteX185" fmla="*/ 1072991 w 2822638"/>
                <a:gd name="connsiteY185" fmla="*/ 1249204 h 1716690"/>
                <a:gd name="connsiteX186" fmla="*/ 1072515 w 2822638"/>
                <a:gd name="connsiteY186" fmla="*/ 1243965 h 1716690"/>
                <a:gd name="connsiteX187" fmla="*/ 1069181 w 2822638"/>
                <a:gd name="connsiteY187" fmla="*/ 1239107 h 1716690"/>
                <a:gd name="connsiteX188" fmla="*/ 1065943 w 2822638"/>
                <a:gd name="connsiteY188" fmla="*/ 1237869 h 1716690"/>
                <a:gd name="connsiteX189" fmla="*/ 1055275 w 2822638"/>
                <a:gd name="connsiteY189" fmla="*/ 1239679 h 1716690"/>
                <a:gd name="connsiteX190" fmla="*/ 1028224 w 2822638"/>
                <a:gd name="connsiteY190" fmla="*/ 1238250 h 1716690"/>
                <a:gd name="connsiteX191" fmla="*/ 1015746 w 2822638"/>
                <a:gd name="connsiteY191" fmla="*/ 1241965 h 1716690"/>
                <a:gd name="connsiteX192" fmla="*/ 992314 w 2822638"/>
                <a:gd name="connsiteY192" fmla="*/ 1255967 h 1716690"/>
                <a:gd name="connsiteX193" fmla="*/ 978313 w 2822638"/>
                <a:gd name="connsiteY193" fmla="*/ 1254919 h 1716690"/>
                <a:gd name="connsiteX194" fmla="*/ 938022 w 2822638"/>
                <a:gd name="connsiteY194" fmla="*/ 1237679 h 1716690"/>
                <a:gd name="connsiteX195" fmla="*/ 911828 w 2822638"/>
                <a:gd name="connsiteY195" fmla="*/ 1226439 h 1716690"/>
                <a:gd name="connsiteX196" fmla="*/ 903161 w 2822638"/>
                <a:gd name="connsiteY196" fmla="*/ 1224725 h 1716690"/>
                <a:gd name="connsiteX197" fmla="*/ 858012 w 2822638"/>
                <a:gd name="connsiteY197" fmla="*/ 1235297 h 1716690"/>
                <a:gd name="connsiteX198" fmla="*/ 850868 w 2822638"/>
                <a:gd name="connsiteY198" fmla="*/ 1239869 h 1716690"/>
                <a:gd name="connsiteX199" fmla="*/ 854202 w 2822638"/>
                <a:gd name="connsiteY199" fmla="*/ 1247204 h 1716690"/>
                <a:gd name="connsiteX200" fmla="*/ 834676 w 2822638"/>
                <a:gd name="connsiteY200" fmla="*/ 1268349 h 1716690"/>
                <a:gd name="connsiteX201" fmla="*/ 815054 w 2822638"/>
                <a:gd name="connsiteY201" fmla="*/ 1273016 h 1716690"/>
                <a:gd name="connsiteX202" fmla="*/ 797338 w 2822638"/>
                <a:gd name="connsiteY202" fmla="*/ 1259205 h 1716690"/>
                <a:gd name="connsiteX203" fmla="*/ 783622 w 2822638"/>
                <a:gd name="connsiteY203" fmla="*/ 1224534 h 1716690"/>
                <a:gd name="connsiteX204" fmla="*/ 774097 w 2822638"/>
                <a:gd name="connsiteY204" fmla="*/ 1204246 h 1716690"/>
                <a:gd name="connsiteX205" fmla="*/ 761429 w 2822638"/>
                <a:gd name="connsiteY205" fmla="*/ 1197102 h 1716690"/>
                <a:gd name="connsiteX206" fmla="*/ 747617 w 2822638"/>
                <a:gd name="connsiteY206" fmla="*/ 1199674 h 1716690"/>
                <a:gd name="connsiteX207" fmla="*/ 736187 w 2822638"/>
                <a:gd name="connsiteY207" fmla="*/ 1207675 h 1716690"/>
                <a:gd name="connsiteX208" fmla="*/ 721900 w 2822638"/>
                <a:gd name="connsiteY208" fmla="*/ 1217676 h 1716690"/>
                <a:gd name="connsiteX209" fmla="*/ 666845 w 2822638"/>
                <a:gd name="connsiteY209" fmla="*/ 1240536 h 1716690"/>
                <a:gd name="connsiteX210" fmla="*/ 660940 w 2822638"/>
                <a:gd name="connsiteY210" fmla="*/ 1241393 h 1716690"/>
                <a:gd name="connsiteX211" fmla="*/ 654177 w 2822638"/>
                <a:gd name="connsiteY211" fmla="*/ 1238536 h 1716690"/>
                <a:gd name="connsiteX212" fmla="*/ 636937 w 2822638"/>
                <a:gd name="connsiteY212" fmla="*/ 1220248 h 1716690"/>
                <a:gd name="connsiteX213" fmla="*/ 626650 w 2822638"/>
                <a:gd name="connsiteY213" fmla="*/ 1214628 h 1716690"/>
                <a:gd name="connsiteX214" fmla="*/ 625697 w 2822638"/>
                <a:gd name="connsiteY214" fmla="*/ 1214152 h 1716690"/>
                <a:gd name="connsiteX215" fmla="*/ 600742 w 2822638"/>
                <a:gd name="connsiteY215" fmla="*/ 1208342 h 1716690"/>
                <a:gd name="connsiteX216" fmla="*/ 485204 w 2822638"/>
                <a:gd name="connsiteY216" fmla="*/ 1212247 h 1716690"/>
                <a:gd name="connsiteX217" fmla="*/ 477584 w 2822638"/>
                <a:gd name="connsiteY217" fmla="*/ 1209104 h 1716690"/>
                <a:gd name="connsiteX218" fmla="*/ 463106 w 2822638"/>
                <a:gd name="connsiteY218" fmla="*/ 1198245 h 1716690"/>
                <a:gd name="connsiteX219" fmla="*/ 455676 w 2822638"/>
                <a:gd name="connsiteY219" fmla="*/ 1194435 h 1716690"/>
                <a:gd name="connsiteX220" fmla="*/ 438150 w 2822638"/>
                <a:gd name="connsiteY220" fmla="*/ 1193197 h 1716690"/>
                <a:gd name="connsiteX221" fmla="*/ 395002 w 2822638"/>
                <a:gd name="connsiteY221" fmla="*/ 1213676 h 1716690"/>
                <a:gd name="connsiteX222" fmla="*/ 388049 w 2822638"/>
                <a:gd name="connsiteY222" fmla="*/ 1217009 h 1716690"/>
                <a:gd name="connsiteX223" fmla="*/ 278702 w 2822638"/>
                <a:gd name="connsiteY223" fmla="*/ 1268730 h 1716690"/>
                <a:gd name="connsiteX224" fmla="*/ 244221 w 2822638"/>
                <a:gd name="connsiteY224" fmla="*/ 1270254 h 1716690"/>
                <a:gd name="connsiteX225" fmla="*/ 229743 w 2822638"/>
                <a:gd name="connsiteY225" fmla="*/ 1277684 h 1716690"/>
                <a:gd name="connsiteX226" fmla="*/ 175355 w 2822638"/>
                <a:gd name="connsiteY226" fmla="*/ 1319689 h 1716690"/>
                <a:gd name="connsiteX227" fmla="*/ 169259 w 2822638"/>
                <a:gd name="connsiteY227" fmla="*/ 1321689 h 1716690"/>
                <a:gd name="connsiteX228" fmla="*/ 151638 w 2822638"/>
                <a:gd name="connsiteY228" fmla="*/ 1322546 h 1716690"/>
                <a:gd name="connsiteX229" fmla="*/ 139732 w 2822638"/>
                <a:gd name="connsiteY229" fmla="*/ 1328738 h 1716690"/>
                <a:gd name="connsiteX230" fmla="*/ 125254 w 2822638"/>
                <a:gd name="connsiteY230" fmla="*/ 1340930 h 1716690"/>
                <a:gd name="connsiteX231" fmla="*/ 111443 w 2822638"/>
                <a:gd name="connsiteY231" fmla="*/ 1356170 h 1716690"/>
                <a:gd name="connsiteX232" fmla="*/ 101632 w 2822638"/>
                <a:gd name="connsiteY232" fmla="*/ 1371600 h 1716690"/>
                <a:gd name="connsiteX233" fmla="*/ 94964 w 2822638"/>
                <a:gd name="connsiteY233" fmla="*/ 1394079 h 1716690"/>
                <a:gd name="connsiteX234" fmla="*/ 92107 w 2822638"/>
                <a:gd name="connsiteY234" fmla="*/ 1413320 h 1716690"/>
                <a:gd name="connsiteX235" fmla="*/ 86297 w 2822638"/>
                <a:gd name="connsiteY235" fmla="*/ 1426559 h 1716690"/>
                <a:gd name="connsiteX236" fmla="*/ 70676 w 2822638"/>
                <a:gd name="connsiteY236" fmla="*/ 1430941 h 1716690"/>
                <a:gd name="connsiteX237" fmla="*/ 47816 w 2822638"/>
                <a:gd name="connsiteY237" fmla="*/ 1431131 h 1716690"/>
                <a:gd name="connsiteX238" fmla="*/ 33052 w 2822638"/>
                <a:gd name="connsiteY238" fmla="*/ 1434846 h 1716690"/>
                <a:gd name="connsiteX239" fmla="*/ 33052 w 2822638"/>
                <a:gd name="connsiteY239" fmla="*/ 1434656 h 1716690"/>
                <a:gd name="connsiteX240" fmla="*/ 32766 w 2822638"/>
                <a:gd name="connsiteY240" fmla="*/ 1431417 h 1716690"/>
                <a:gd name="connsiteX241" fmla="*/ 28956 w 2822638"/>
                <a:gd name="connsiteY241" fmla="*/ 1405604 h 1716690"/>
                <a:gd name="connsiteX242" fmla="*/ 23527 w 2822638"/>
                <a:gd name="connsiteY242" fmla="*/ 1382649 h 1716690"/>
                <a:gd name="connsiteX243" fmla="*/ 6096 w 2822638"/>
                <a:gd name="connsiteY243" fmla="*/ 1338548 h 1716690"/>
                <a:gd name="connsiteX244" fmla="*/ 1905 w 2822638"/>
                <a:gd name="connsiteY244" fmla="*/ 1323404 h 1716690"/>
                <a:gd name="connsiteX245" fmla="*/ 191 w 2822638"/>
                <a:gd name="connsiteY245" fmla="*/ 1308354 h 1716690"/>
                <a:gd name="connsiteX246" fmla="*/ 952 w 2822638"/>
                <a:gd name="connsiteY246" fmla="*/ 1303973 h 1716690"/>
                <a:gd name="connsiteX247" fmla="*/ 4572 w 2822638"/>
                <a:gd name="connsiteY247" fmla="*/ 1290257 h 1716690"/>
                <a:gd name="connsiteX248" fmla="*/ 5525 w 2822638"/>
                <a:gd name="connsiteY248" fmla="*/ 1282256 h 1716690"/>
                <a:gd name="connsiteX249" fmla="*/ 5525 w 2822638"/>
                <a:gd name="connsiteY249" fmla="*/ 1274731 h 1716690"/>
                <a:gd name="connsiteX250" fmla="*/ 5048 w 2822638"/>
                <a:gd name="connsiteY250" fmla="*/ 1268444 h 1716690"/>
                <a:gd name="connsiteX251" fmla="*/ 952 w 2822638"/>
                <a:gd name="connsiteY251" fmla="*/ 1240822 h 1716690"/>
                <a:gd name="connsiteX252" fmla="*/ 0 w 2822638"/>
                <a:gd name="connsiteY252" fmla="*/ 1226725 h 1716690"/>
                <a:gd name="connsiteX253" fmla="*/ 762 w 2822638"/>
                <a:gd name="connsiteY253" fmla="*/ 1213199 h 1716690"/>
                <a:gd name="connsiteX254" fmla="*/ 4096 w 2822638"/>
                <a:gd name="connsiteY254" fmla="*/ 1202436 h 1716690"/>
                <a:gd name="connsiteX255" fmla="*/ 9335 w 2822638"/>
                <a:gd name="connsiteY255" fmla="*/ 1192911 h 1716690"/>
                <a:gd name="connsiteX256" fmla="*/ 11621 w 2822638"/>
                <a:gd name="connsiteY256" fmla="*/ 1187387 h 1716690"/>
                <a:gd name="connsiteX257" fmla="*/ 13526 w 2822638"/>
                <a:gd name="connsiteY257" fmla="*/ 1181005 h 1716690"/>
                <a:gd name="connsiteX258" fmla="*/ 14383 w 2822638"/>
                <a:gd name="connsiteY258" fmla="*/ 1173194 h 1716690"/>
                <a:gd name="connsiteX259" fmla="*/ 14383 w 2822638"/>
                <a:gd name="connsiteY259" fmla="*/ 1159383 h 1716690"/>
                <a:gd name="connsiteX260" fmla="*/ 16383 w 2822638"/>
                <a:gd name="connsiteY260" fmla="*/ 1152144 h 1716690"/>
                <a:gd name="connsiteX261" fmla="*/ 13526 w 2822638"/>
                <a:gd name="connsiteY261" fmla="*/ 1140238 h 1716690"/>
                <a:gd name="connsiteX262" fmla="*/ 12478 w 2822638"/>
                <a:gd name="connsiteY262" fmla="*/ 1127474 h 1716690"/>
                <a:gd name="connsiteX263" fmla="*/ 14764 w 2822638"/>
                <a:gd name="connsiteY263" fmla="*/ 1120902 h 1716690"/>
                <a:gd name="connsiteX264" fmla="*/ 21717 w 2822638"/>
                <a:gd name="connsiteY264" fmla="*/ 1127570 h 1716690"/>
                <a:gd name="connsiteX265" fmla="*/ 24194 w 2822638"/>
                <a:gd name="connsiteY265" fmla="*/ 1134904 h 1716690"/>
                <a:gd name="connsiteX266" fmla="*/ 26289 w 2822638"/>
                <a:gd name="connsiteY266" fmla="*/ 1153382 h 1716690"/>
                <a:gd name="connsiteX267" fmla="*/ 29718 w 2822638"/>
                <a:gd name="connsiteY267" fmla="*/ 1161764 h 1716690"/>
                <a:gd name="connsiteX268" fmla="*/ 24194 w 2822638"/>
                <a:gd name="connsiteY268" fmla="*/ 1171385 h 1716690"/>
                <a:gd name="connsiteX269" fmla="*/ 26861 w 2822638"/>
                <a:gd name="connsiteY269" fmla="*/ 1174052 h 1716690"/>
                <a:gd name="connsiteX270" fmla="*/ 29718 w 2822638"/>
                <a:gd name="connsiteY270" fmla="*/ 1175766 h 1716690"/>
                <a:gd name="connsiteX271" fmla="*/ 29718 w 2822638"/>
                <a:gd name="connsiteY271" fmla="*/ 1190625 h 1716690"/>
                <a:gd name="connsiteX272" fmla="*/ 24194 w 2822638"/>
                <a:gd name="connsiteY272" fmla="*/ 1199769 h 1716690"/>
                <a:gd name="connsiteX273" fmla="*/ 33052 w 2822638"/>
                <a:gd name="connsiteY273" fmla="*/ 1212533 h 1716690"/>
                <a:gd name="connsiteX274" fmla="*/ 36290 w 2822638"/>
                <a:gd name="connsiteY274" fmla="*/ 1214628 h 1716690"/>
                <a:gd name="connsiteX275" fmla="*/ 39529 w 2822638"/>
                <a:gd name="connsiteY275" fmla="*/ 1213009 h 1716690"/>
                <a:gd name="connsiteX276" fmla="*/ 42291 w 2822638"/>
                <a:gd name="connsiteY276" fmla="*/ 1208913 h 1716690"/>
                <a:gd name="connsiteX277" fmla="*/ 43339 w 2822638"/>
                <a:gd name="connsiteY277" fmla="*/ 1203389 h 1716690"/>
                <a:gd name="connsiteX278" fmla="*/ 38957 w 2822638"/>
                <a:gd name="connsiteY278" fmla="*/ 1188625 h 1716690"/>
                <a:gd name="connsiteX279" fmla="*/ 38195 w 2822638"/>
                <a:gd name="connsiteY279" fmla="*/ 1176147 h 1716690"/>
                <a:gd name="connsiteX280" fmla="*/ 38767 w 2822638"/>
                <a:gd name="connsiteY280" fmla="*/ 1164241 h 1716690"/>
                <a:gd name="connsiteX281" fmla="*/ 40291 w 2822638"/>
                <a:gd name="connsiteY281" fmla="*/ 1156716 h 1716690"/>
                <a:gd name="connsiteX282" fmla="*/ 38576 w 2822638"/>
                <a:gd name="connsiteY282" fmla="*/ 1151858 h 1716690"/>
                <a:gd name="connsiteX283" fmla="*/ 36862 w 2822638"/>
                <a:gd name="connsiteY283" fmla="*/ 1139476 h 1716690"/>
                <a:gd name="connsiteX284" fmla="*/ 34957 w 2822638"/>
                <a:gd name="connsiteY284" fmla="*/ 1132618 h 1716690"/>
                <a:gd name="connsiteX285" fmla="*/ 32861 w 2822638"/>
                <a:gd name="connsiteY285" fmla="*/ 1127379 h 1716690"/>
                <a:gd name="connsiteX286" fmla="*/ 30956 w 2822638"/>
                <a:gd name="connsiteY286" fmla="*/ 1124141 h 1716690"/>
                <a:gd name="connsiteX287" fmla="*/ 24098 w 2822638"/>
                <a:gd name="connsiteY287" fmla="*/ 1118140 h 1716690"/>
                <a:gd name="connsiteX288" fmla="*/ 19812 w 2822638"/>
                <a:gd name="connsiteY288" fmla="*/ 1116044 h 1716690"/>
                <a:gd name="connsiteX289" fmla="*/ 16288 w 2822638"/>
                <a:gd name="connsiteY289" fmla="*/ 1115568 h 1716690"/>
                <a:gd name="connsiteX290" fmla="*/ 13430 w 2822638"/>
                <a:gd name="connsiteY290" fmla="*/ 1113949 h 1716690"/>
                <a:gd name="connsiteX291" fmla="*/ 10763 w 2822638"/>
                <a:gd name="connsiteY291" fmla="*/ 1108424 h 1716690"/>
                <a:gd name="connsiteX292" fmla="*/ 9144 w 2822638"/>
                <a:gd name="connsiteY292" fmla="*/ 1100614 h 1716690"/>
                <a:gd name="connsiteX293" fmla="*/ 10287 w 2822638"/>
                <a:gd name="connsiteY293" fmla="*/ 1097471 h 1716690"/>
                <a:gd name="connsiteX294" fmla="*/ 12287 w 2822638"/>
                <a:gd name="connsiteY294" fmla="*/ 1094423 h 1716690"/>
                <a:gd name="connsiteX295" fmla="*/ 16288 w 2822638"/>
                <a:gd name="connsiteY295" fmla="*/ 1065467 h 1716690"/>
                <a:gd name="connsiteX296" fmla="*/ 30194 w 2822638"/>
                <a:gd name="connsiteY296" fmla="*/ 1024795 h 1716690"/>
                <a:gd name="connsiteX297" fmla="*/ 34957 w 2822638"/>
                <a:gd name="connsiteY297" fmla="*/ 1001744 h 1716690"/>
                <a:gd name="connsiteX298" fmla="*/ 37624 w 2822638"/>
                <a:gd name="connsiteY298" fmla="*/ 940975 h 1716690"/>
                <a:gd name="connsiteX299" fmla="*/ 36100 w 2822638"/>
                <a:gd name="connsiteY299" fmla="*/ 926878 h 1716690"/>
                <a:gd name="connsiteX300" fmla="*/ 33338 w 2822638"/>
                <a:gd name="connsiteY300" fmla="*/ 914210 h 1716690"/>
                <a:gd name="connsiteX301" fmla="*/ 32766 w 2822638"/>
                <a:gd name="connsiteY301" fmla="*/ 902113 h 1716690"/>
                <a:gd name="connsiteX302" fmla="*/ 37624 w 2822638"/>
                <a:gd name="connsiteY302" fmla="*/ 889730 h 1716690"/>
                <a:gd name="connsiteX303" fmla="*/ 69533 w 2822638"/>
                <a:gd name="connsiteY303" fmla="*/ 868299 h 1716690"/>
                <a:gd name="connsiteX304" fmla="*/ 73247 w 2822638"/>
                <a:gd name="connsiteY304" fmla="*/ 861727 h 1716690"/>
                <a:gd name="connsiteX305" fmla="*/ 98965 w 2822638"/>
                <a:gd name="connsiteY305" fmla="*/ 845915 h 1716690"/>
                <a:gd name="connsiteX306" fmla="*/ 106013 w 2822638"/>
                <a:gd name="connsiteY306" fmla="*/ 838391 h 1716690"/>
                <a:gd name="connsiteX307" fmla="*/ 120301 w 2822638"/>
                <a:gd name="connsiteY307" fmla="*/ 816388 h 1716690"/>
                <a:gd name="connsiteX308" fmla="*/ 124301 w 2822638"/>
                <a:gd name="connsiteY308" fmla="*/ 811816 h 1716690"/>
                <a:gd name="connsiteX309" fmla="*/ 129159 w 2822638"/>
                <a:gd name="connsiteY309" fmla="*/ 808958 h 1716690"/>
                <a:gd name="connsiteX310" fmla="*/ 140113 w 2822638"/>
                <a:gd name="connsiteY310" fmla="*/ 798862 h 1716690"/>
                <a:gd name="connsiteX311" fmla="*/ 152495 w 2822638"/>
                <a:gd name="connsiteY311" fmla="*/ 787337 h 1716690"/>
                <a:gd name="connsiteX312" fmla="*/ 161163 w 2822638"/>
                <a:gd name="connsiteY312" fmla="*/ 773620 h 1716690"/>
                <a:gd name="connsiteX313" fmla="*/ 168593 w 2822638"/>
                <a:gd name="connsiteY313" fmla="*/ 753142 h 1716690"/>
                <a:gd name="connsiteX314" fmla="*/ 173260 w 2822638"/>
                <a:gd name="connsiteY314" fmla="*/ 727615 h 1716690"/>
                <a:gd name="connsiteX315" fmla="*/ 173736 w 2822638"/>
                <a:gd name="connsiteY315" fmla="*/ 698468 h 1716690"/>
                <a:gd name="connsiteX316" fmla="*/ 172593 w 2822638"/>
                <a:gd name="connsiteY316" fmla="*/ 690848 h 1716690"/>
                <a:gd name="connsiteX317" fmla="*/ 168402 w 2822638"/>
                <a:gd name="connsiteY317" fmla="*/ 671608 h 1716690"/>
                <a:gd name="connsiteX318" fmla="*/ 169259 w 2822638"/>
                <a:gd name="connsiteY318" fmla="*/ 663893 h 1716690"/>
                <a:gd name="connsiteX319" fmla="*/ 172974 w 2822638"/>
                <a:gd name="connsiteY319" fmla="*/ 653701 h 1716690"/>
                <a:gd name="connsiteX320" fmla="*/ 173831 w 2822638"/>
                <a:gd name="connsiteY320" fmla="*/ 647510 h 1716690"/>
                <a:gd name="connsiteX321" fmla="*/ 172974 w 2822638"/>
                <a:gd name="connsiteY321" fmla="*/ 600647 h 1716690"/>
                <a:gd name="connsiteX322" fmla="*/ 173831 w 2822638"/>
                <a:gd name="connsiteY322" fmla="*/ 585597 h 1716690"/>
                <a:gd name="connsiteX323" fmla="*/ 176403 w 2822638"/>
                <a:gd name="connsiteY323" fmla="*/ 572738 h 1716690"/>
                <a:gd name="connsiteX324" fmla="*/ 181166 w 2822638"/>
                <a:gd name="connsiteY324" fmla="*/ 559975 h 1716690"/>
                <a:gd name="connsiteX325" fmla="*/ 187357 w 2822638"/>
                <a:gd name="connsiteY325" fmla="*/ 550164 h 1716690"/>
                <a:gd name="connsiteX326" fmla="*/ 194024 w 2822638"/>
                <a:gd name="connsiteY326" fmla="*/ 546164 h 1716690"/>
                <a:gd name="connsiteX327" fmla="*/ 199358 w 2822638"/>
                <a:gd name="connsiteY327" fmla="*/ 540258 h 1716690"/>
                <a:gd name="connsiteX328" fmla="*/ 213932 w 2822638"/>
                <a:gd name="connsiteY328" fmla="*/ 501301 h 1716690"/>
                <a:gd name="connsiteX329" fmla="*/ 241745 w 2822638"/>
                <a:gd name="connsiteY329" fmla="*/ 464249 h 1716690"/>
                <a:gd name="connsiteX330" fmla="*/ 284607 w 2822638"/>
                <a:gd name="connsiteY330" fmla="*/ 379762 h 1716690"/>
                <a:gd name="connsiteX331" fmla="*/ 296418 w 2822638"/>
                <a:gd name="connsiteY331" fmla="*/ 366332 h 1716690"/>
                <a:gd name="connsiteX332" fmla="*/ 312801 w 2822638"/>
                <a:gd name="connsiteY332" fmla="*/ 357378 h 1716690"/>
                <a:gd name="connsiteX333" fmla="*/ 384524 w 2822638"/>
                <a:gd name="connsiteY333" fmla="*/ 352425 h 1716690"/>
                <a:gd name="connsiteX334" fmla="*/ 401384 w 2822638"/>
                <a:gd name="connsiteY334" fmla="*/ 347091 h 1716690"/>
                <a:gd name="connsiteX335" fmla="*/ 477393 w 2822638"/>
                <a:gd name="connsiteY335" fmla="*/ 305467 h 1716690"/>
                <a:gd name="connsiteX336" fmla="*/ 589979 w 2822638"/>
                <a:gd name="connsiteY336" fmla="*/ 243650 h 1716690"/>
                <a:gd name="connsiteX337" fmla="*/ 606457 w 2822638"/>
                <a:gd name="connsiteY337" fmla="*/ 238411 h 1716690"/>
                <a:gd name="connsiteX338" fmla="*/ 615410 w 2822638"/>
                <a:gd name="connsiteY338" fmla="*/ 237744 h 1716690"/>
                <a:gd name="connsiteX339" fmla="*/ 619792 w 2822638"/>
                <a:gd name="connsiteY339" fmla="*/ 236220 h 1716690"/>
                <a:gd name="connsiteX340" fmla="*/ 624554 w 2822638"/>
                <a:gd name="connsiteY340" fmla="*/ 233267 h 1716690"/>
                <a:gd name="connsiteX341" fmla="*/ 629698 w 2822638"/>
                <a:gd name="connsiteY341" fmla="*/ 231172 h 1716690"/>
                <a:gd name="connsiteX342" fmla="*/ 635318 w 2822638"/>
                <a:gd name="connsiteY342" fmla="*/ 232410 h 1716690"/>
                <a:gd name="connsiteX343" fmla="*/ 639223 w 2822638"/>
                <a:gd name="connsiteY343" fmla="*/ 234887 h 1716690"/>
                <a:gd name="connsiteX344" fmla="*/ 639223 w 2822638"/>
                <a:gd name="connsiteY344" fmla="*/ 235744 h 1716690"/>
                <a:gd name="connsiteX345" fmla="*/ 637127 w 2822638"/>
                <a:gd name="connsiteY345" fmla="*/ 237554 h 1716690"/>
                <a:gd name="connsiteX346" fmla="*/ 635318 w 2822638"/>
                <a:gd name="connsiteY346" fmla="*/ 242792 h 1716690"/>
                <a:gd name="connsiteX347" fmla="*/ 631603 w 2822638"/>
                <a:gd name="connsiteY347" fmla="*/ 270320 h 1716690"/>
                <a:gd name="connsiteX348" fmla="*/ 630174 w 2822638"/>
                <a:gd name="connsiteY348" fmla="*/ 300323 h 1716690"/>
                <a:gd name="connsiteX349" fmla="*/ 631698 w 2822638"/>
                <a:gd name="connsiteY349" fmla="*/ 315087 h 1716690"/>
                <a:gd name="connsiteX350" fmla="*/ 635508 w 2822638"/>
                <a:gd name="connsiteY350" fmla="*/ 325755 h 1716690"/>
                <a:gd name="connsiteX351" fmla="*/ 657035 w 2822638"/>
                <a:gd name="connsiteY351" fmla="*/ 357950 h 1716690"/>
                <a:gd name="connsiteX352" fmla="*/ 743807 w 2822638"/>
                <a:gd name="connsiteY352" fmla="*/ 433769 h 1716690"/>
                <a:gd name="connsiteX353" fmla="*/ 771620 w 2822638"/>
                <a:gd name="connsiteY353" fmla="*/ 468821 h 1716690"/>
                <a:gd name="connsiteX354" fmla="*/ 803148 w 2822638"/>
                <a:gd name="connsiteY354" fmla="*/ 496538 h 1716690"/>
                <a:gd name="connsiteX355" fmla="*/ 823341 w 2822638"/>
                <a:gd name="connsiteY355" fmla="*/ 508254 h 1716690"/>
                <a:gd name="connsiteX356" fmla="*/ 836676 w 2822638"/>
                <a:gd name="connsiteY356" fmla="*/ 511397 h 1716690"/>
                <a:gd name="connsiteX357" fmla="*/ 841629 w 2822638"/>
                <a:gd name="connsiteY357" fmla="*/ 513683 h 1716690"/>
                <a:gd name="connsiteX358" fmla="*/ 842772 w 2822638"/>
                <a:gd name="connsiteY358" fmla="*/ 519303 h 1716690"/>
                <a:gd name="connsiteX359" fmla="*/ 842963 w 2822638"/>
                <a:gd name="connsiteY359" fmla="*/ 526447 h 1716690"/>
                <a:gd name="connsiteX360" fmla="*/ 844677 w 2822638"/>
                <a:gd name="connsiteY360" fmla="*/ 533591 h 1716690"/>
                <a:gd name="connsiteX361" fmla="*/ 853250 w 2822638"/>
                <a:gd name="connsiteY361" fmla="*/ 551307 h 1716690"/>
                <a:gd name="connsiteX362" fmla="*/ 854964 w 2822638"/>
                <a:gd name="connsiteY362" fmla="*/ 554831 h 1716690"/>
                <a:gd name="connsiteX363" fmla="*/ 858869 w 2822638"/>
                <a:gd name="connsiteY363" fmla="*/ 566642 h 1716690"/>
                <a:gd name="connsiteX364" fmla="*/ 861917 w 2822638"/>
                <a:gd name="connsiteY364" fmla="*/ 580835 h 1716690"/>
                <a:gd name="connsiteX365" fmla="*/ 864965 w 2822638"/>
                <a:gd name="connsiteY365" fmla="*/ 606171 h 1716690"/>
                <a:gd name="connsiteX366" fmla="*/ 868299 w 2822638"/>
                <a:gd name="connsiteY366" fmla="*/ 619316 h 1716690"/>
                <a:gd name="connsiteX367" fmla="*/ 874109 w 2822638"/>
                <a:gd name="connsiteY367" fmla="*/ 625031 h 1716690"/>
                <a:gd name="connsiteX368" fmla="*/ 877538 w 2822638"/>
                <a:gd name="connsiteY368" fmla="*/ 631698 h 1716690"/>
                <a:gd name="connsiteX369" fmla="*/ 888492 w 2822638"/>
                <a:gd name="connsiteY369" fmla="*/ 698183 h 1716690"/>
                <a:gd name="connsiteX370" fmla="*/ 892588 w 2822638"/>
                <a:gd name="connsiteY370" fmla="*/ 709327 h 1716690"/>
                <a:gd name="connsiteX371" fmla="*/ 898017 w 2822638"/>
                <a:gd name="connsiteY371" fmla="*/ 713804 h 1716690"/>
                <a:gd name="connsiteX372" fmla="*/ 904970 w 2822638"/>
                <a:gd name="connsiteY372" fmla="*/ 716566 h 1716690"/>
                <a:gd name="connsiteX373" fmla="*/ 923449 w 2822638"/>
                <a:gd name="connsiteY373" fmla="*/ 738283 h 1716690"/>
                <a:gd name="connsiteX374" fmla="*/ 955643 w 2822638"/>
                <a:gd name="connsiteY374" fmla="*/ 751427 h 1716690"/>
                <a:gd name="connsiteX375" fmla="*/ 988981 w 2822638"/>
                <a:gd name="connsiteY375" fmla="*/ 757809 h 1716690"/>
                <a:gd name="connsiteX376" fmla="*/ 993743 w 2822638"/>
                <a:gd name="connsiteY376" fmla="*/ 761810 h 1716690"/>
                <a:gd name="connsiteX377" fmla="*/ 1012793 w 2822638"/>
                <a:gd name="connsiteY377" fmla="*/ 789908 h 1716690"/>
                <a:gd name="connsiteX378" fmla="*/ 1016318 w 2822638"/>
                <a:gd name="connsiteY378" fmla="*/ 792861 h 1716690"/>
                <a:gd name="connsiteX379" fmla="*/ 1018889 w 2822638"/>
                <a:gd name="connsiteY379" fmla="*/ 795052 h 1716690"/>
                <a:gd name="connsiteX380" fmla="*/ 1037177 w 2822638"/>
                <a:gd name="connsiteY380" fmla="*/ 800862 h 1716690"/>
                <a:gd name="connsiteX381" fmla="*/ 1061752 w 2822638"/>
                <a:gd name="connsiteY381" fmla="*/ 803434 h 1716690"/>
                <a:gd name="connsiteX382" fmla="*/ 1128332 w 2822638"/>
                <a:gd name="connsiteY382" fmla="*/ 787051 h 1716690"/>
                <a:gd name="connsiteX383" fmla="*/ 1152049 w 2822638"/>
                <a:gd name="connsiteY383" fmla="*/ 775526 h 1716690"/>
                <a:gd name="connsiteX384" fmla="*/ 1162145 w 2822638"/>
                <a:gd name="connsiteY384" fmla="*/ 770572 h 1716690"/>
                <a:gd name="connsiteX385" fmla="*/ 1177100 w 2822638"/>
                <a:gd name="connsiteY385" fmla="*/ 757714 h 1716690"/>
                <a:gd name="connsiteX386" fmla="*/ 1184148 w 2822638"/>
                <a:gd name="connsiteY386" fmla="*/ 747427 h 1716690"/>
                <a:gd name="connsiteX387" fmla="*/ 1189101 w 2822638"/>
                <a:gd name="connsiteY387" fmla="*/ 737807 h 1716690"/>
                <a:gd name="connsiteX388" fmla="*/ 1194435 w 2822638"/>
                <a:gd name="connsiteY388" fmla="*/ 730663 h 1716690"/>
                <a:gd name="connsiteX389" fmla="*/ 1209580 w 2822638"/>
                <a:gd name="connsiteY389" fmla="*/ 726377 h 1716690"/>
                <a:gd name="connsiteX390" fmla="*/ 1224534 w 2822638"/>
                <a:gd name="connsiteY390" fmla="*/ 716470 h 1716690"/>
                <a:gd name="connsiteX391" fmla="*/ 1262634 w 2822638"/>
                <a:gd name="connsiteY391" fmla="*/ 691420 h 1716690"/>
                <a:gd name="connsiteX392" fmla="*/ 1265968 w 2822638"/>
                <a:gd name="connsiteY392" fmla="*/ 681228 h 1716690"/>
                <a:gd name="connsiteX393" fmla="*/ 1273493 w 2822638"/>
                <a:gd name="connsiteY393" fmla="*/ 672941 h 1716690"/>
                <a:gd name="connsiteX394" fmla="*/ 1282256 w 2822638"/>
                <a:gd name="connsiteY394" fmla="*/ 667226 h 1716690"/>
                <a:gd name="connsiteX395" fmla="*/ 1289018 w 2822638"/>
                <a:gd name="connsiteY395" fmla="*/ 664655 h 1716690"/>
                <a:gd name="connsiteX396" fmla="*/ 1289018 w 2822638"/>
                <a:gd name="connsiteY396" fmla="*/ 656939 h 1716690"/>
                <a:gd name="connsiteX397" fmla="*/ 1293019 w 2822638"/>
                <a:gd name="connsiteY397" fmla="*/ 651796 h 1716690"/>
                <a:gd name="connsiteX398" fmla="*/ 1302353 w 2822638"/>
                <a:gd name="connsiteY398" fmla="*/ 645033 h 1716690"/>
                <a:gd name="connsiteX399" fmla="*/ 1328261 w 2822638"/>
                <a:gd name="connsiteY399" fmla="*/ 614934 h 1716690"/>
                <a:gd name="connsiteX400" fmla="*/ 1336643 w 2822638"/>
                <a:gd name="connsiteY400" fmla="*/ 594836 h 1716690"/>
                <a:gd name="connsiteX401" fmla="*/ 1339882 w 2822638"/>
                <a:gd name="connsiteY401" fmla="*/ 565976 h 1716690"/>
                <a:gd name="connsiteX402" fmla="*/ 1338548 w 2822638"/>
                <a:gd name="connsiteY402" fmla="*/ 532543 h 1716690"/>
                <a:gd name="connsiteX403" fmla="*/ 1329214 w 2822638"/>
                <a:gd name="connsiteY403" fmla="*/ 442246 h 1716690"/>
                <a:gd name="connsiteX404" fmla="*/ 1328547 w 2822638"/>
                <a:gd name="connsiteY404" fmla="*/ 415385 h 1716690"/>
                <a:gd name="connsiteX405" fmla="*/ 1326737 w 2822638"/>
                <a:gd name="connsiteY405" fmla="*/ 399383 h 1716690"/>
                <a:gd name="connsiteX406" fmla="*/ 1322546 w 2822638"/>
                <a:gd name="connsiteY406" fmla="*/ 392240 h 1716690"/>
                <a:gd name="connsiteX407" fmla="*/ 1320260 w 2822638"/>
                <a:gd name="connsiteY407" fmla="*/ 383572 h 1716690"/>
                <a:gd name="connsiteX408" fmla="*/ 1321975 w 2822638"/>
                <a:gd name="connsiteY408" fmla="*/ 364522 h 1716690"/>
                <a:gd name="connsiteX409" fmla="*/ 1326547 w 2822638"/>
                <a:gd name="connsiteY409" fmla="*/ 337757 h 1716690"/>
                <a:gd name="connsiteX410" fmla="*/ 1321975 w 2822638"/>
                <a:gd name="connsiteY410" fmla="*/ 294989 h 1716690"/>
                <a:gd name="connsiteX411" fmla="*/ 1319879 w 2822638"/>
                <a:gd name="connsiteY411" fmla="*/ 285369 h 1716690"/>
                <a:gd name="connsiteX412" fmla="*/ 1302734 w 2822638"/>
                <a:gd name="connsiteY412" fmla="*/ 256508 h 1716690"/>
                <a:gd name="connsiteX413" fmla="*/ 1297210 w 2822638"/>
                <a:gd name="connsiteY413" fmla="*/ 242792 h 1716690"/>
                <a:gd name="connsiteX414" fmla="*/ 1297210 w 2822638"/>
                <a:gd name="connsiteY414" fmla="*/ 229648 h 1716690"/>
                <a:gd name="connsiteX415" fmla="*/ 1293019 w 2822638"/>
                <a:gd name="connsiteY415" fmla="*/ 195358 h 1716690"/>
                <a:gd name="connsiteX416" fmla="*/ 1291876 w 2822638"/>
                <a:gd name="connsiteY416" fmla="*/ 178022 h 1716690"/>
                <a:gd name="connsiteX417" fmla="*/ 1293019 w 2822638"/>
                <a:gd name="connsiteY417" fmla="*/ 168688 h 1716690"/>
                <a:gd name="connsiteX418" fmla="*/ 1295876 w 2822638"/>
                <a:gd name="connsiteY418" fmla="*/ 159830 h 1716690"/>
                <a:gd name="connsiteX419" fmla="*/ 1299782 w 2822638"/>
                <a:gd name="connsiteY419" fmla="*/ 151924 h 1716690"/>
                <a:gd name="connsiteX420" fmla="*/ 1316736 w 2822638"/>
                <a:gd name="connsiteY420" fmla="*/ 158877 h 1716690"/>
                <a:gd name="connsiteX421" fmla="*/ 1327880 w 2822638"/>
                <a:gd name="connsiteY421" fmla="*/ 158306 h 1716690"/>
                <a:gd name="connsiteX422" fmla="*/ 1336929 w 2822638"/>
                <a:gd name="connsiteY422" fmla="*/ 153162 h 1716690"/>
                <a:gd name="connsiteX423" fmla="*/ 1341311 w 2822638"/>
                <a:gd name="connsiteY423" fmla="*/ 145733 h 1716690"/>
                <a:gd name="connsiteX424" fmla="*/ 1347692 w 2822638"/>
                <a:gd name="connsiteY424" fmla="*/ 128302 h 1716690"/>
                <a:gd name="connsiteX425" fmla="*/ 1352550 w 2822638"/>
                <a:gd name="connsiteY425" fmla="*/ 122587 h 1716690"/>
                <a:gd name="connsiteX426" fmla="*/ 1367981 w 2822638"/>
                <a:gd name="connsiteY426" fmla="*/ 114395 h 1716690"/>
                <a:gd name="connsiteX427" fmla="*/ 1388459 w 2822638"/>
                <a:gd name="connsiteY427" fmla="*/ 95536 h 1716690"/>
                <a:gd name="connsiteX428" fmla="*/ 1396270 w 2822638"/>
                <a:gd name="connsiteY428" fmla="*/ 93821 h 1716690"/>
                <a:gd name="connsiteX429" fmla="*/ 1423607 w 2822638"/>
                <a:gd name="connsiteY429" fmla="*/ 96393 h 1716690"/>
                <a:gd name="connsiteX430" fmla="*/ 1447229 w 2822638"/>
                <a:gd name="connsiteY430" fmla="*/ 93726 h 1716690"/>
                <a:gd name="connsiteX431" fmla="*/ 1453325 w 2822638"/>
                <a:gd name="connsiteY431" fmla="*/ 88868 h 1716690"/>
                <a:gd name="connsiteX432" fmla="*/ 1460468 w 2822638"/>
                <a:gd name="connsiteY432" fmla="*/ 68580 h 1716690"/>
                <a:gd name="connsiteX433" fmla="*/ 1466183 w 2822638"/>
                <a:gd name="connsiteY433" fmla="*/ 60960 h 1716690"/>
                <a:gd name="connsiteX434" fmla="*/ 1478375 w 2822638"/>
                <a:gd name="connsiteY434" fmla="*/ 64103 h 1716690"/>
                <a:gd name="connsiteX435" fmla="*/ 1488472 w 2822638"/>
                <a:gd name="connsiteY435" fmla="*/ 70676 h 1716690"/>
                <a:gd name="connsiteX436" fmla="*/ 1498568 w 2822638"/>
                <a:gd name="connsiteY436" fmla="*/ 72390 h 1716690"/>
                <a:gd name="connsiteX437" fmla="*/ 1502664 w 2822638"/>
                <a:gd name="connsiteY437" fmla="*/ 68580 h 1716690"/>
                <a:gd name="connsiteX438" fmla="*/ 1510856 w 2822638"/>
                <a:gd name="connsiteY438" fmla="*/ 61055 h 1716690"/>
                <a:gd name="connsiteX439" fmla="*/ 1520285 w 2822638"/>
                <a:gd name="connsiteY439" fmla="*/ 54959 h 1716690"/>
                <a:gd name="connsiteX440" fmla="*/ 1550194 w 2822638"/>
                <a:gd name="connsiteY440" fmla="*/ 50578 h 1716690"/>
                <a:gd name="connsiteX441" fmla="*/ 1560100 w 2822638"/>
                <a:gd name="connsiteY441" fmla="*/ 43625 h 1716690"/>
                <a:gd name="connsiteX442" fmla="*/ 1583436 w 2822638"/>
                <a:gd name="connsiteY442" fmla="*/ 19526 h 1716690"/>
                <a:gd name="connsiteX443" fmla="*/ 1588865 w 2822638"/>
                <a:gd name="connsiteY443" fmla="*/ 13907 h 1716690"/>
                <a:gd name="connsiteX444" fmla="*/ 1597343 w 2822638"/>
                <a:gd name="connsiteY444" fmla="*/ 8477 h 1716690"/>
                <a:gd name="connsiteX445" fmla="*/ 1606487 w 2822638"/>
                <a:gd name="connsiteY445" fmla="*/ 5715 h 1716690"/>
                <a:gd name="connsiteX446" fmla="*/ 1624679 w 2822638"/>
                <a:gd name="connsiteY446" fmla="*/ 5239 h 1716690"/>
                <a:gd name="connsiteX447" fmla="*/ 1634776 w 2822638"/>
                <a:gd name="connsiteY447" fmla="*/ 12097 h 1716690"/>
                <a:gd name="connsiteX448" fmla="*/ 1640110 w 2822638"/>
                <a:gd name="connsiteY448" fmla="*/ 27242 h 1716690"/>
                <a:gd name="connsiteX449" fmla="*/ 1643634 w 2822638"/>
                <a:gd name="connsiteY449" fmla="*/ 45339 h 1716690"/>
                <a:gd name="connsiteX450" fmla="*/ 1648397 w 2822638"/>
                <a:gd name="connsiteY450" fmla="*/ 61151 h 1716690"/>
                <a:gd name="connsiteX451" fmla="*/ 1654112 w 2822638"/>
                <a:gd name="connsiteY451" fmla="*/ 66008 h 1716690"/>
                <a:gd name="connsiteX452" fmla="*/ 1660208 w 2822638"/>
                <a:gd name="connsiteY452" fmla="*/ 66008 h 1716690"/>
                <a:gd name="connsiteX453" fmla="*/ 1672685 w 2822638"/>
                <a:gd name="connsiteY453" fmla="*/ 59531 h 1716690"/>
                <a:gd name="connsiteX454" fmla="*/ 1680401 w 2822638"/>
                <a:gd name="connsiteY454" fmla="*/ 49244 h 1716690"/>
                <a:gd name="connsiteX455" fmla="*/ 1677734 w 2822638"/>
                <a:gd name="connsiteY455" fmla="*/ 37529 h 1716690"/>
                <a:gd name="connsiteX456" fmla="*/ 1666780 w 2822638"/>
                <a:gd name="connsiteY456" fmla="*/ 17621 h 1716690"/>
                <a:gd name="connsiteX457" fmla="*/ 1667256 w 2822638"/>
                <a:gd name="connsiteY457" fmla="*/ 4858 h 1716690"/>
                <a:gd name="connsiteX458" fmla="*/ 1672209 w 2822638"/>
                <a:gd name="connsiteY458" fmla="*/ 0 h 1716690"/>
                <a:gd name="connsiteX459" fmla="*/ 1679258 w 2822638"/>
                <a:gd name="connsiteY459" fmla="*/ 1238 h 1716690"/>
                <a:gd name="connsiteX460" fmla="*/ 1686211 w 2822638"/>
                <a:gd name="connsiteY460" fmla="*/ 6953 h 1716690"/>
                <a:gd name="connsiteX461" fmla="*/ 1688878 w 2822638"/>
                <a:gd name="connsiteY461" fmla="*/ 12002 h 1716690"/>
                <a:gd name="connsiteX462" fmla="*/ 1693450 w 2822638"/>
                <a:gd name="connsiteY462" fmla="*/ 25337 h 1716690"/>
                <a:gd name="connsiteX463" fmla="*/ 1695926 w 2822638"/>
                <a:gd name="connsiteY463" fmla="*/ 29623 h 1716690"/>
                <a:gd name="connsiteX464" fmla="*/ 1699451 w 2822638"/>
                <a:gd name="connsiteY464" fmla="*/ 31814 h 1716690"/>
                <a:gd name="connsiteX465" fmla="*/ 1701832 w 2822638"/>
                <a:gd name="connsiteY465" fmla="*/ 31242 h 1716690"/>
                <a:gd name="connsiteX466" fmla="*/ 1704404 w 2822638"/>
                <a:gd name="connsiteY466" fmla="*/ 29909 h 1716690"/>
                <a:gd name="connsiteX467" fmla="*/ 1708404 w 2822638"/>
                <a:gd name="connsiteY467" fmla="*/ 29718 h 1716690"/>
                <a:gd name="connsiteX468" fmla="*/ 1724025 w 2822638"/>
                <a:gd name="connsiteY468" fmla="*/ 38195 h 1716690"/>
                <a:gd name="connsiteX469" fmla="*/ 1747647 w 2822638"/>
                <a:gd name="connsiteY469" fmla="*/ 66961 h 1716690"/>
                <a:gd name="connsiteX470" fmla="*/ 1762982 w 2822638"/>
                <a:gd name="connsiteY470" fmla="*/ 76867 h 1716690"/>
                <a:gd name="connsiteX471" fmla="*/ 1776698 w 2822638"/>
                <a:gd name="connsiteY471" fmla="*/ 79915 h 1716690"/>
                <a:gd name="connsiteX472" fmla="*/ 1780508 w 2822638"/>
                <a:gd name="connsiteY472" fmla="*/ 82582 h 1716690"/>
                <a:gd name="connsiteX473" fmla="*/ 1783842 w 2822638"/>
                <a:gd name="connsiteY473" fmla="*/ 88106 h 1716690"/>
                <a:gd name="connsiteX474" fmla="*/ 1784414 w 2822638"/>
                <a:gd name="connsiteY474" fmla="*/ 92107 h 1716690"/>
                <a:gd name="connsiteX475" fmla="*/ 1784414 w 2822638"/>
                <a:gd name="connsiteY475" fmla="*/ 92869 h 1716690"/>
                <a:gd name="connsiteX476" fmla="*/ 1784890 w 2822638"/>
                <a:gd name="connsiteY476" fmla="*/ 97727 h 1716690"/>
                <a:gd name="connsiteX477" fmla="*/ 1786985 w 2822638"/>
                <a:gd name="connsiteY477" fmla="*/ 103537 h 1716690"/>
                <a:gd name="connsiteX478" fmla="*/ 1795177 w 2822638"/>
                <a:gd name="connsiteY478" fmla="*/ 114395 h 1716690"/>
                <a:gd name="connsiteX479" fmla="*/ 1803749 w 2822638"/>
                <a:gd name="connsiteY479" fmla="*/ 119729 h 1716690"/>
                <a:gd name="connsiteX480" fmla="*/ 1812893 w 2822638"/>
                <a:gd name="connsiteY480" fmla="*/ 121158 h 1716690"/>
                <a:gd name="connsiteX481" fmla="*/ 1822609 w 2822638"/>
                <a:gd name="connsiteY481" fmla="*/ 120301 h 1716690"/>
                <a:gd name="connsiteX482" fmla="*/ 1843564 w 2822638"/>
                <a:gd name="connsiteY482" fmla="*/ 113062 h 1716690"/>
                <a:gd name="connsiteX483" fmla="*/ 1847945 w 2822638"/>
                <a:gd name="connsiteY483" fmla="*/ 111538 h 1716690"/>
                <a:gd name="connsiteX484" fmla="*/ 1853851 w 2822638"/>
                <a:gd name="connsiteY484" fmla="*/ 111728 h 1716690"/>
                <a:gd name="connsiteX485" fmla="*/ 1859756 w 2822638"/>
                <a:gd name="connsiteY485" fmla="*/ 121920 h 1716690"/>
                <a:gd name="connsiteX486" fmla="*/ 1863376 w 2822638"/>
                <a:gd name="connsiteY486" fmla="*/ 136779 h 1716690"/>
                <a:gd name="connsiteX487" fmla="*/ 1868329 w 2822638"/>
                <a:gd name="connsiteY487" fmla="*/ 151448 h 1716690"/>
                <a:gd name="connsiteX488" fmla="*/ 1878140 w 2822638"/>
                <a:gd name="connsiteY488" fmla="*/ 160877 h 1716690"/>
                <a:gd name="connsiteX489" fmla="*/ 1959959 w 2822638"/>
                <a:gd name="connsiteY489" fmla="*/ 168212 h 1716690"/>
                <a:gd name="connsiteX490" fmla="*/ 1964531 w 2822638"/>
                <a:gd name="connsiteY490" fmla="*/ 170498 h 1716690"/>
                <a:gd name="connsiteX491" fmla="*/ 1967389 w 2822638"/>
                <a:gd name="connsiteY491" fmla="*/ 174117 h 1716690"/>
                <a:gd name="connsiteX492" fmla="*/ 1968627 w 2822638"/>
                <a:gd name="connsiteY492" fmla="*/ 181070 h 1716690"/>
                <a:gd name="connsiteX493" fmla="*/ 1967294 w 2822638"/>
                <a:gd name="connsiteY493" fmla="*/ 185452 h 1716690"/>
                <a:gd name="connsiteX494" fmla="*/ 1965103 w 2822638"/>
                <a:gd name="connsiteY494" fmla="*/ 189833 h 1716690"/>
                <a:gd name="connsiteX495" fmla="*/ 1963960 w 2822638"/>
                <a:gd name="connsiteY495" fmla="*/ 196501 h 1716690"/>
                <a:gd name="connsiteX496" fmla="*/ 1965103 w 2822638"/>
                <a:gd name="connsiteY496" fmla="*/ 211550 h 1716690"/>
                <a:gd name="connsiteX497" fmla="*/ 1968532 w 2822638"/>
                <a:gd name="connsiteY497" fmla="*/ 220599 h 1716690"/>
                <a:gd name="connsiteX498" fmla="*/ 2011585 w 2822638"/>
                <a:gd name="connsiteY498" fmla="*/ 256794 h 1716690"/>
                <a:gd name="connsiteX499" fmla="*/ 2024539 w 2822638"/>
                <a:gd name="connsiteY499" fmla="*/ 271939 h 1716690"/>
                <a:gd name="connsiteX500" fmla="*/ 2061401 w 2822638"/>
                <a:gd name="connsiteY500" fmla="*/ 332518 h 1716690"/>
                <a:gd name="connsiteX501" fmla="*/ 2074640 w 2822638"/>
                <a:gd name="connsiteY501" fmla="*/ 348234 h 1716690"/>
                <a:gd name="connsiteX502" fmla="*/ 2090738 w 2822638"/>
                <a:gd name="connsiteY502" fmla="*/ 359855 h 1716690"/>
                <a:gd name="connsiteX503" fmla="*/ 2095690 w 2822638"/>
                <a:gd name="connsiteY503" fmla="*/ 361950 h 1716690"/>
                <a:gd name="connsiteX504" fmla="*/ 2126552 w 2822638"/>
                <a:gd name="connsiteY504" fmla="*/ 375380 h 1716690"/>
                <a:gd name="connsiteX505" fmla="*/ 2126647 w 2822638"/>
                <a:gd name="connsiteY505" fmla="*/ 375380 h 1716690"/>
                <a:gd name="connsiteX506" fmla="*/ 2133124 w 2822638"/>
                <a:gd name="connsiteY506" fmla="*/ 381762 h 1716690"/>
                <a:gd name="connsiteX507" fmla="*/ 2146173 w 2822638"/>
                <a:gd name="connsiteY507" fmla="*/ 400431 h 1716690"/>
                <a:gd name="connsiteX508" fmla="*/ 2153412 w 2822638"/>
                <a:gd name="connsiteY508" fmla="*/ 408623 h 1716690"/>
                <a:gd name="connsiteX509" fmla="*/ 2159413 w 2822638"/>
                <a:gd name="connsiteY509" fmla="*/ 407575 h 1716690"/>
                <a:gd name="connsiteX510" fmla="*/ 2164747 w 2822638"/>
                <a:gd name="connsiteY510" fmla="*/ 402812 h 1716690"/>
                <a:gd name="connsiteX511" fmla="*/ 2169986 w 2822638"/>
                <a:gd name="connsiteY511" fmla="*/ 399669 h 1716690"/>
                <a:gd name="connsiteX512" fmla="*/ 2173700 w 2822638"/>
                <a:gd name="connsiteY512" fmla="*/ 400622 h 1716690"/>
                <a:gd name="connsiteX513" fmla="*/ 2180939 w 2822638"/>
                <a:gd name="connsiteY513" fmla="*/ 405860 h 1716690"/>
                <a:gd name="connsiteX514" fmla="*/ 2184654 w 2822638"/>
                <a:gd name="connsiteY514" fmla="*/ 407099 h 1716690"/>
                <a:gd name="connsiteX515" fmla="*/ 2188655 w 2822638"/>
                <a:gd name="connsiteY515" fmla="*/ 405289 h 1716690"/>
                <a:gd name="connsiteX516" fmla="*/ 2190464 w 2822638"/>
                <a:gd name="connsiteY516" fmla="*/ 400812 h 1716690"/>
                <a:gd name="connsiteX517" fmla="*/ 2191798 w 2822638"/>
                <a:gd name="connsiteY517" fmla="*/ 395478 h 1716690"/>
                <a:gd name="connsiteX518" fmla="*/ 2194274 w 2822638"/>
                <a:gd name="connsiteY518" fmla="*/ 390811 h 1716690"/>
                <a:gd name="connsiteX519" fmla="*/ 2205800 w 2822638"/>
                <a:gd name="connsiteY519" fmla="*/ 380619 h 1716690"/>
                <a:gd name="connsiteX520" fmla="*/ 2218468 w 2822638"/>
                <a:gd name="connsiteY520" fmla="*/ 372999 h 1716690"/>
                <a:gd name="connsiteX521" fmla="*/ 2231517 w 2822638"/>
                <a:gd name="connsiteY521" fmla="*/ 368713 h 1716690"/>
                <a:gd name="connsiteX522" fmla="*/ 2261711 w 2822638"/>
                <a:gd name="connsiteY522" fmla="*/ 370332 h 1716690"/>
                <a:gd name="connsiteX523" fmla="*/ 2268569 w 2822638"/>
                <a:gd name="connsiteY523" fmla="*/ 368237 h 1716690"/>
                <a:gd name="connsiteX524" fmla="*/ 2276570 w 2822638"/>
                <a:gd name="connsiteY524" fmla="*/ 361093 h 1716690"/>
                <a:gd name="connsiteX525" fmla="*/ 2281238 w 2822638"/>
                <a:gd name="connsiteY525" fmla="*/ 350996 h 1716690"/>
                <a:gd name="connsiteX526" fmla="*/ 2285238 w 2822638"/>
                <a:gd name="connsiteY526" fmla="*/ 340233 h 1716690"/>
                <a:gd name="connsiteX527" fmla="*/ 2291334 w 2822638"/>
                <a:gd name="connsiteY527" fmla="*/ 330994 h 1716690"/>
                <a:gd name="connsiteX528" fmla="*/ 2298573 w 2822638"/>
                <a:gd name="connsiteY528" fmla="*/ 327660 h 1716690"/>
                <a:gd name="connsiteX529" fmla="*/ 2303336 w 2822638"/>
                <a:gd name="connsiteY529" fmla="*/ 331375 h 1716690"/>
                <a:gd name="connsiteX530" fmla="*/ 2307717 w 2822638"/>
                <a:gd name="connsiteY530" fmla="*/ 336518 h 1716690"/>
                <a:gd name="connsiteX531" fmla="*/ 2313813 w 2822638"/>
                <a:gd name="connsiteY531" fmla="*/ 337661 h 1716690"/>
                <a:gd name="connsiteX532" fmla="*/ 2320671 w 2822638"/>
                <a:gd name="connsiteY532" fmla="*/ 336137 h 1716690"/>
                <a:gd name="connsiteX533" fmla="*/ 2327434 w 2822638"/>
                <a:gd name="connsiteY533" fmla="*/ 336328 h 1716690"/>
                <a:gd name="connsiteX534" fmla="*/ 2340864 w 2822638"/>
                <a:gd name="connsiteY534" fmla="*/ 340995 h 1716690"/>
                <a:gd name="connsiteX535" fmla="*/ 2350008 w 2822638"/>
                <a:gd name="connsiteY535" fmla="*/ 348329 h 1716690"/>
                <a:gd name="connsiteX536" fmla="*/ 2364296 w 2822638"/>
                <a:gd name="connsiteY536" fmla="*/ 370427 h 1716690"/>
                <a:gd name="connsiteX537" fmla="*/ 2372201 w 2822638"/>
                <a:gd name="connsiteY537" fmla="*/ 379667 h 1716690"/>
                <a:gd name="connsiteX538" fmla="*/ 2381441 w 2822638"/>
                <a:gd name="connsiteY538" fmla="*/ 384143 h 1716690"/>
                <a:gd name="connsiteX539" fmla="*/ 2412683 w 2822638"/>
                <a:gd name="connsiteY539" fmla="*/ 386144 h 1716690"/>
                <a:gd name="connsiteX540" fmla="*/ 2472785 w 2822638"/>
                <a:gd name="connsiteY540" fmla="*/ 408337 h 1716690"/>
                <a:gd name="connsiteX541" fmla="*/ 2485644 w 2822638"/>
                <a:gd name="connsiteY541" fmla="*/ 400050 h 171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Lst>
              <a:rect l="l" t="t" r="r" b="b"/>
              <a:pathLst>
                <a:path w="2822638" h="1716690">
                  <a:moveTo>
                    <a:pt x="2485644" y="400336"/>
                  </a:moveTo>
                  <a:lnTo>
                    <a:pt x="2553843" y="399669"/>
                  </a:lnTo>
                  <a:lnTo>
                    <a:pt x="2551748" y="426053"/>
                  </a:lnTo>
                  <a:lnTo>
                    <a:pt x="2552891" y="443198"/>
                  </a:lnTo>
                  <a:lnTo>
                    <a:pt x="2548700" y="458057"/>
                  </a:lnTo>
                  <a:lnTo>
                    <a:pt x="2547366" y="470726"/>
                  </a:lnTo>
                  <a:lnTo>
                    <a:pt x="2557082" y="481394"/>
                  </a:lnTo>
                  <a:lnTo>
                    <a:pt x="2597849" y="500729"/>
                  </a:lnTo>
                  <a:lnTo>
                    <a:pt x="2618708" y="524256"/>
                  </a:lnTo>
                  <a:lnTo>
                    <a:pt x="2623947" y="530257"/>
                  </a:lnTo>
                  <a:lnTo>
                    <a:pt x="2663381" y="554927"/>
                  </a:lnTo>
                  <a:lnTo>
                    <a:pt x="2670620" y="561404"/>
                  </a:lnTo>
                  <a:lnTo>
                    <a:pt x="2675477" y="571691"/>
                  </a:lnTo>
                  <a:lnTo>
                    <a:pt x="2677763" y="588550"/>
                  </a:lnTo>
                  <a:lnTo>
                    <a:pt x="2675858" y="628936"/>
                  </a:lnTo>
                  <a:lnTo>
                    <a:pt x="2673001" y="651034"/>
                  </a:lnTo>
                  <a:lnTo>
                    <a:pt x="2669286" y="666369"/>
                  </a:lnTo>
                  <a:lnTo>
                    <a:pt x="2657475" y="677609"/>
                  </a:lnTo>
                  <a:lnTo>
                    <a:pt x="2621280" y="695230"/>
                  </a:lnTo>
                  <a:lnTo>
                    <a:pt x="2613946" y="705993"/>
                  </a:lnTo>
                  <a:lnTo>
                    <a:pt x="2619375" y="719042"/>
                  </a:lnTo>
                  <a:lnTo>
                    <a:pt x="2629472" y="724376"/>
                  </a:lnTo>
                  <a:lnTo>
                    <a:pt x="2638616" y="731520"/>
                  </a:lnTo>
                  <a:lnTo>
                    <a:pt x="2640616" y="749903"/>
                  </a:lnTo>
                  <a:lnTo>
                    <a:pt x="2638711" y="757714"/>
                  </a:lnTo>
                  <a:lnTo>
                    <a:pt x="2632424" y="773144"/>
                  </a:lnTo>
                  <a:lnTo>
                    <a:pt x="2630043" y="781050"/>
                  </a:lnTo>
                  <a:lnTo>
                    <a:pt x="2628996" y="788289"/>
                  </a:lnTo>
                  <a:lnTo>
                    <a:pt x="2628138" y="802577"/>
                  </a:lnTo>
                  <a:lnTo>
                    <a:pt x="2626805" y="810673"/>
                  </a:lnTo>
                  <a:lnTo>
                    <a:pt x="2600897" y="866394"/>
                  </a:lnTo>
                  <a:lnTo>
                    <a:pt x="2592991" y="891350"/>
                  </a:lnTo>
                  <a:lnTo>
                    <a:pt x="2599277" y="893064"/>
                  </a:lnTo>
                  <a:lnTo>
                    <a:pt x="2605850" y="894874"/>
                  </a:lnTo>
                  <a:lnTo>
                    <a:pt x="2638139" y="876681"/>
                  </a:lnTo>
                  <a:lnTo>
                    <a:pt x="2654617" y="872109"/>
                  </a:lnTo>
                  <a:lnTo>
                    <a:pt x="2671953" y="877062"/>
                  </a:lnTo>
                  <a:lnTo>
                    <a:pt x="2680335" y="884206"/>
                  </a:lnTo>
                  <a:lnTo>
                    <a:pt x="2695671" y="901732"/>
                  </a:lnTo>
                  <a:lnTo>
                    <a:pt x="2704243" y="908590"/>
                  </a:lnTo>
                  <a:lnTo>
                    <a:pt x="2706338" y="918782"/>
                  </a:lnTo>
                  <a:lnTo>
                    <a:pt x="2699004" y="934974"/>
                  </a:lnTo>
                  <a:lnTo>
                    <a:pt x="2689670" y="951738"/>
                  </a:lnTo>
                  <a:lnTo>
                    <a:pt x="2685574" y="963644"/>
                  </a:lnTo>
                  <a:lnTo>
                    <a:pt x="2692241" y="975836"/>
                  </a:lnTo>
                  <a:lnTo>
                    <a:pt x="2730532" y="1003078"/>
                  </a:lnTo>
                  <a:lnTo>
                    <a:pt x="2734532" y="1015175"/>
                  </a:lnTo>
                  <a:lnTo>
                    <a:pt x="2734818" y="1046988"/>
                  </a:lnTo>
                  <a:lnTo>
                    <a:pt x="2736914" y="1061942"/>
                  </a:lnTo>
                  <a:lnTo>
                    <a:pt x="2742152" y="1073468"/>
                  </a:lnTo>
                  <a:lnTo>
                    <a:pt x="2749010" y="1081088"/>
                  </a:lnTo>
                  <a:lnTo>
                    <a:pt x="2780157" y="1096328"/>
                  </a:lnTo>
                  <a:lnTo>
                    <a:pt x="2787015" y="1101566"/>
                  </a:lnTo>
                  <a:lnTo>
                    <a:pt x="2789396" y="1109853"/>
                  </a:lnTo>
                  <a:lnTo>
                    <a:pt x="2786634" y="1116140"/>
                  </a:lnTo>
                  <a:lnTo>
                    <a:pt x="2776538" y="1125855"/>
                  </a:lnTo>
                  <a:lnTo>
                    <a:pt x="2774252" y="1134142"/>
                  </a:lnTo>
                  <a:lnTo>
                    <a:pt x="2775490" y="1141000"/>
                  </a:lnTo>
                  <a:lnTo>
                    <a:pt x="2778633" y="1147286"/>
                  </a:lnTo>
                  <a:lnTo>
                    <a:pt x="2798921" y="1173290"/>
                  </a:lnTo>
                  <a:lnTo>
                    <a:pt x="2801969" y="1179100"/>
                  </a:lnTo>
                  <a:lnTo>
                    <a:pt x="2803398" y="1186720"/>
                  </a:lnTo>
                  <a:lnTo>
                    <a:pt x="2801969" y="1210913"/>
                  </a:lnTo>
                  <a:lnTo>
                    <a:pt x="2803112" y="1227011"/>
                  </a:lnTo>
                  <a:lnTo>
                    <a:pt x="2805970" y="1241203"/>
                  </a:lnTo>
                  <a:lnTo>
                    <a:pt x="2821686" y="1289114"/>
                  </a:lnTo>
                  <a:lnTo>
                    <a:pt x="2822639" y="1296543"/>
                  </a:lnTo>
                  <a:lnTo>
                    <a:pt x="2821877" y="1306830"/>
                  </a:lnTo>
                  <a:lnTo>
                    <a:pt x="2819591" y="1312355"/>
                  </a:lnTo>
                  <a:lnTo>
                    <a:pt x="2816447" y="1316927"/>
                  </a:lnTo>
                  <a:lnTo>
                    <a:pt x="2813209" y="1324356"/>
                  </a:lnTo>
                  <a:lnTo>
                    <a:pt x="2809780" y="1340834"/>
                  </a:lnTo>
                  <a:lnTo>
                    <a:pt x="2807494" y="1357408"/>
                  </a:lnTo>
                  <a:lnTo>
                    <a:pt x="2803779" y="1372934"/>
                  </a:lnTo>
                  <a:lnTo>
                    <a:pt x="2795873" y="1386459"/>
                  </a:lnTo>
                  <a:lnTo>
                    <a:pt x="2781110" y="1376363"/>
                  </a:lnTo>
                  <a:lnTo>
                    <a:pt x="2764441" y="1382840"/>
                  </a:lnTo>
                  <a:lnTo>
                    <a:pt x="2757773" y="1387697"/>
                  </a:lnTo>
                  <a:lnTo>
                    <a:pt x="2747105" y="1395413"/>
                  </a:lnTo>
                  <a:lnTo>
                    <a:pt x="2730437" y="1403509"/>
                  </a:lnTo>
                  <a:lnTo>
                    <a:pt x="2714339" y="1406938"/>
                  </a:lnTo>
                  <a:lnTo>
                    <a:pt x="2709482" y="1409510"/>
                  </a:lnTo>
                  <a:lnTo>
                    <a:pt x="2703386" y="1415891"/>
                  </a:lnTo>
                  <a:lnTo>
                    <a:pt x="2699480" y="1423511"/>
                  </a:lnTo>
                  <a:lnTo>
                    <a:pt x="2696051" y="1432084"/>
                  </a:lnTo>
                  <a:lnTo>
                    <a:pt x="2691384" y="1441323"/>
                  </a:lnTo>
                  <a:lnTo>
                    <a:pt x="2664809" y="1461802"/>
                  </a:lnTo>
                  <a:lnTo>
                    <a:pt x="2652617" y="1474470"/>
                  </a:lnTo>
                  <a:lnTo>
                    <a:pt x="2650998" y="1491139"/>
                  </a:lnTo>
                  <a:lnTo>
                    <a:pt x="2638330" y="1513904"/>
                  </a:lnTo>
                  <a:lnTo>
                    <a:pt x="2599658" y="1539526"/>
                  </a:lnTo>
                  <a:lnTo>
                    <a:pt x="2588800" y="1570292"/>
                  </a:lnTo>
                  <a:lnTo>
                    <a:pt x="2586038" y="1603343"/>
                  </a:lnTo>
                  <a:lnTo>
                    <a:pt x="2582704" y="1618107"/>
                  </a:lnTo>
                  <a:lnTo>
                    <a:pt x="2579275" y="1628775"/>
                  </a:lnTo>
                  <a:lnTo>
                    <a:pt x="2568321" y="1630204"/>
                  </a:lnTo>
                  <a:lnTo>
                    <a:pt x="2519363" y="1625727"/>
                  </a:lnTo>
                  <a:lnTo>
                    <a:pt x="2506504" y="1621822"/>
                  </a:lnTo>
                  <a:lnTo>
                    <a:pt x="2494312" y="1614583"/>
                  </a:lnTo>
                  <a:lnTo>
                    <a:pt x="2484596" y="1603248"/>
                  </a:lnTo>
                  <a:lnTo>
                    <a:pt x="2476596" y="1612678"/>
                  </a:lnTo>
                  <a:lnTo>
                    <a:pt x="2458403" y="1630490"/>
                  </a:lnTo>
                  <a:lnTo>
                    <a:pt x="2450878" y="1633728"/>
                  </a:lnTo>
                  <a:lnTo>
                    <a:pt x="2440115" y="1627727"/>
                  </a:lnTo>
                  <a:lnTo>
                    <a:pt x="2415826" y="1607058"/>
                  </a:lnTo>
                  <a:lnTo>
                    <a:pt x="2407349" y="1602391"/>
                  </a:lnTo>
                  <a:lnTo>
                    <a:pt x="2391537" y="1599724"/>
                  </a:lnTo>
                  <a:lnTo>
                    <a:pt x="2341055" y="1606201"/>
                  </a:lnTo>
                  <a:lnTo>
                    <a:pt x="2340388" y="1606582"/>
                  </a:lnTo>
                  <a:lnTo>
                    <a:pt x="2332006" y="1611916"/>
                  </a:lnTo>
                  <a:lnTo>
                    <a:pt x="2309527" y="1639538"/>
                  </a:lnTo>
                  <a:lnTo>
                    <a:pt x="2287238" y="1680591"/>
                  </a:lnTo>
                  <a:lnTo>
                    <a:pt x="2279428" y="1689735"/>
                  </a:lnTo>
                  <a:lnTo>
                    <a:pt x="2248376" y="1705832"/>
                  </a:lnTo>
                  <a:lnTo>
                    <a:pt x="2239423" y="1706499"/>
                  </a:lnTo>
                  <a:lnTo>
                    <a:pt x="2218658" y="1698117"/>
                  </a:lnTo>
                  <a:lnTo>
                    <a:pt x="2208276" y="1696974"/>
                  </a:lnTo>
                  <a:lnTo>
                    <a:pt x="2198751" y="1702213"/>
                  </a:lnTo>
                  <a:lnTo>
                    <a:pt x="2190560" y="1716691"/>
                  </a:lnTo>
                  <a:lnTo>
                    <a:pt x="2168366" y="1714976"/>
                  </a:lnTo>
                  <a:lnTo>
                    <a:pt x="2146364" y="1708880"/>
                  </a:lnTo>
                  <a:lnTo>
                    <a:pt x="2092357" y="1682591"/>
                  </a:lnTo>
                  <a:lnTo>
                    <a:pt x="2067973" y="1664018"/>
                  </a:lnTo>
                  <a:lnTo>
                    <a:pt x="2047399" y="1626870"/>
                  </a:lnTo>
                  <a:lnTo>
                    <a:pt x="2038350" y="1605725"/>
                  </a:lnTo>
                  <a:lnTo>
                    <a:pt x="2028539" y="1590389"/>
                  </a:lnTo>
                  <a:lnTo>
                    <a:pt x="1989963" y="1556671"/>
                  </a:lnTo>
                  <a:lnTo>
                    <a:pt x="1965865" y="1529429"/>
                  </a:lnTo>
                  <a:lnTo>
                    <a:pt x="1943862" y="1514761"/>
                  </a:lnTo>
                  <a:lnTo>
                    <a:pt x="1908810" y="1491329"/>
                  </a:lnTo>
                  <a:lnTo>
                    <a:pt x="1879283" y="1457896"/>
                  </a:lnTo>
                  <a:lnTo>
                    <a:pt x="1867948" y="1444943"/>
                  </a:lnTo>
                  <a:lnTo>
                    <a:pt x="1845564" y="1429321"/>
                  </a:lnTo>
                  <a:lnTo>
                    <a:pt x="1840802" y="1424559"/>
                  </a:lnTo>
                  <a:lnTo>
                    <a:pt x="1837373" y="1417320"/>
                  </a:lnTo>
                  <a:lnTo>
                    <a:pt x="1830134" y="1393793"/>
                  </a:lnTo>
                  <a:lnTo>
                    <a:pt x="1827276" y="1387602"/>
                  </a:lnTo>
                  <a:lnTo>
                    <a:pt x="1822514" y="1385507"/>
                  </a:lnTo>
                  <a:lnTo>
                    <a:pt x="1799273" y="1387412"/>
                  </a:lnTo>
                  <a:lnTo>
                    <a:pt x="1792605" y="1386078"/>
                  </a:lnTo>
                  <a:lnTo>
                    <a:pt x="1773079" y="1376648"/>
                  </a:lnTo>
                  <a:lnTo>
                    <a:pt x="1746599" y="1381506"/>
                  </a:lnTo>
                  <a:lnTo>
                    <a:pt x="1705451" y="1374362"/>
                  </a:lnTo>
                  <a:lnTo>
                    <a:pt x="1612011" y="1358170"/>
                  </a:lnTo>
                  <a:lnTo>
                    <a:pt x="1597914" y="1347883"/>
                  </a:lnTo>
                  <a:lnTo>
                    <a:pt x="1586579" y="1326737"/>
                  </a:lnTo>
                  <a:lnTo>
                    <a:pt x="1579626" y="1304163"/>
                  </a:lnTo>
                  <a:lnTo>
                    <a:pt x="1575816" y="1297305"/>
                  </a:lnTo>
                  <a:lnTo>
                    <a:pt x="1562862" y="1282827"/>
                  </a:lnTo>
                  <a:lnTo>
                    <a:pt x="1558957" y="1275588"/>
                  </a:lnTo>
                  <a:lnTo>
                    <a:pt x="1554671" y="1262539"/>
                  </a:lnTo>
                  <a:lnTo>
                    <a:pt x="1544574" y="1219962"/>
                  </a:lnTo>
                  <a:lnTo>
                    <a:pt x="1534382" y="1190435"/>
                  </a:lnTo>
                  <a:lnTo>
                    <a:pt x="1527429" y="1178624"/>
                  </a:lnTo>
                  <a:lnTo>
                    <a:pt x="1519142" y="1175861"/>
                  </a:lnTo>
                  <a:lnTo>
                    <a:pt x="1513713" y="1181005"/>
                  </a:lnTo>
                  <a:lnTo>
                    <a:pt x="1512284" y="1188530"/>
                  </a:lnTo>
                  <a:lnTo>
                    <a:pt x="1511808" y="1196340"/>
                  </a:lnTo>
                  <a:lnTo>
                    <a:pt x="1509332" y="1202531"/>
                  </a:lnTo>
                  <a:lnTo>
                    <a:pt x="1506188" y="1203198"/>
                  </a:lnTo>
                  <a:lnTo>
                    <a:pt x="1497616" y="1199769"/>
                  </a:lnTo>
                  <a:lnTo>
                    <a:pt x="1493711" y="1199960"/>
                  </a:lnTo>
                  <a:lnTo>
                    <a:pt x="1458468" y="1215676"/>
                  </a:lnTo>
                  <a:lnTo>
                    <a:pt x="1444276" y="1221962"/>
                  </a:lnTo>
                  <a:lnTo>
                    <a:pt x="1428940" y="1234154"/>
                  </a:lnTo>
                  <a:lnTo>
                    <a:pt x="1397318" y="1277303"/>
                  </a:lnTo>
                  <a:lnTo>
                    <a:pt x="1389983" y="1285018"/>
                  </a:lnTo>
                  <a:lnTo>
                    <a:pt x="1367504" y="1298162"/>
                  </a:lnTo>
                  <a:lnTo>
                    <a:pt x="1354265" y="1303973"/>
                  </a:lnTo>
                  <a:lnTo>
                    <a:pt x="1341501" y="1300448"/>
                  </a:lnTo>
                  <a:lnTo>
                    <a:pt x="1316736" y="1282160"/>
                  </a:lnTo>
                  <a:lnTo>
                    <a:pt x="1304163" y="1277207"/>
                  </a:lnTo>
                  <a:lnTo>
                    <a:pt x="1292162" y="1279303"/>
                  </a:lnTo>
                  <a:lnTo>
                    <a:pt x="1245108" y="1303973"/>
                  </a:lnTo>
                  <a:lnTo>
                    <a:pt x="1234821" y="1305878"/>
                  </a:lnTo>
                  <a:lnTo>
                    <a:pt x="1234250" y="1305878"/>
                  </a:lnTo>
                  <a:cubicBezTo>
                    <a:pt x="1234250" y="1305878"/>
                    <a:pt x="1222439" y="1303687"/>
                    <a:pt x="1222439" y="1303687"/>
                  </a:cubicBezTo>
                  <a:lnTo>
                    <a:pt x="1209389" y="1296353"/>
                  </a:lnTo>
                  <a:lnTo>
                    <a:pt x="1172813" y="1267396"/>
                  </a:lnTo>
                  <a:lnTo>
                    <a:pt x="1129856" y="1253585"/>
                  </a:lnTo>
                  <a:lnTo>
                    <a:pt x="1124807" y="1251966"/>
                  </a:lnTo>
                  <a:lnTo>
                    <a:pt x="1111949" y="1251585"/>
                  </a:lnTo>
                  <a:lnTo>
                    <a:pt x="1085088" y="1257871"/>
                  </a:lnTo>
                  <a:lnTo>
                    <a:pt x="1072991" y="1255871"/>
                  </a:lnTo>
                  <a:lnTo>
                    <a:pt x="1072515" y="1253585"/>
                  </a:lnTo>
                  <a:lnTo>
                    <a:pt x="1072991" y="1249204"/>
                  </a:lnTo>
                  <a:lnTo>
                    <a:pt x="1072515" y="1243965"/>
                  </a:lnTo>
                  <a:lnTo>
                    <a:pt x="1069181" y="1239107"/>
                  </a:lnTo>
                  <a:lnTo>
                    <a:pt x="1065943" y="1237869"/>
                  </a:lnTo>
                  <a:lnTo>
                    <a:pt x="1055275" y="1239679"/>
                  </a:lnTo>
                  <a:lnTo>
                    <a:pt x="1028224" y="1238250"/>
                  </a:lnTo>
                  <a:lnTo>
                    <a:pt x="1015746" y="1241965"/>
                  </a:lnTo>
                  <a:lnTo>
                    <a:pt x="992314" y="1255967"/>
                  </a:lnTo>
                  <a:lnTo>
                    <a:pt x="978313" y="1254919"/>
                  </a:lnTo>
                  <a:lnTo>
                    <a:pt x="938022" y="1237679"/>
                  </a:lnTo>
                  <a:lnTo>
                    <a:pt x="911828" y="1226439"/>
                  </a:lnTo>
                  <a:lnTo>
                    <a:pt x="903161" y="1224725"/>
                  </a:lnTo>
                  <a:lnTo>
                    <a:pt x="858012" y="1235297"/>
                  </a:lnTo>
                  <a:lnTo>
                    <a:pt x="850868" y="1239869"/>
                  </a:lnTo>
                  <a:lnTo>
                    <a:pt x="854202" y="1247204"/>
                  </a:lnTo>
                  <a:lnTo>
                    <a:pt x="834676" y="1268349"/>
                  </a:lnTo>
                  <a:lnTo>
                    <a:pt x="815054" y="1273016"/>
                  </a:lnTo>
                  <a:lnTo>
                    <a:pt x="797338" y="1259205"/>
                  </a:lnTo>
                  <a:lnTo>
                    <a:pt x="783622" y="1224534"/>
                  </a:lnTo>
                  <a:lnTo>
                    <a:pt x="774097" y="1204246"/>
                  </a:lnTo>
                  <a:lnTo>
                    <a:pt x="761429" y="1197102"/>
                  </a:lnTo>
                  <a:lnTo>
                    <a:pt x="747617" y="1199674"/>
                  </a:lnTo>
                  <a:lnTo>
                    <a:pt x="736187" y="1207675"/>
                  </a:lnTo>
                  <a:lnTo>
                    <a:pt x="721900" y="1217676"/>
                  </a:lnTo>
                  <a:lnTo>
                    <a:pt x="666845" y="1240536"/>
                  </a:lnTo>
                  <a:lnTo>
                    <a:pt x="660940" y="1241393"/>
                  </a:lnTo>
                  <a:lnTo>
                    <a:pt x="654177" y="1238536"/>
                  </a:lnTo>
                  <a:lnTo>
                    <a:pt x="636937" y="1220248"/>
                  </a:lnTo>
                  <a:lnTo>
                    <a:pt x="626650" y="1214628"/>
                  </a:lnTo>
                  <a:lnTo>
                    <a:pt x="625697" y="1214152"/>
                  </a:lnTo>
                  <a:lnTo>
                    <a:pt x="600742" y="1208342"/>
                  </a:lnTo>
                  <a:lnTo>
                    <a:pt x="485204" y="1212247"/>
                  </a:lnTo>
                  <a:lnTo>
                    <a:pt x="477584" y="1209104"/>
                  </a:lnTo>
                  <a:lnTo>
                    <a:pt x="463106" y="1198245"/>
                  </a:lnTo>
                  <a:lnTo>
                    <a:pt x="455676" y="1194435"/>
                  </a:lnTo>
                  <a:lnTo>
                    <a:pt x="438150" y="1193197"/>
                  </a:lnTo>
                  <a:lnTo>
                    <a:pt x="395002" y="1213676"/>
                  </a:lnTo>
                  <a:lnTo>
                    <a:pt x="388049" y="1217009"/>
                  </a:lnTo>
                  <a:lnTo>
                    <a:pt x="278702" y="1268730"/>
                  </a:lnTo>
                  <a:lnTo>
                    <a:pt x="244221" y="1270254"/>
                  </a:lnTo>
                  <a:lnTo>
                    <a:pt x="229743" y="1277684"/>
                  </a:lnTo>
                  <a:lnTo>
                    <a:pt x="175355" y="1319689"/>
                  </a:lnTo>
                  <a:lnTo>
                    <a:pt x="169259" y="1321689"/>
                  </a:lnTo>
                  <a:lnTo>
                    <a:pt x="151638" y="1322546"/>
                  </a:lnTo>
                  <a:lnTo>
                    <a:pt x="139732" y="1328738"/>
                  </a:lnTo>
                  <a:lnTo>
                    <a:pt x="125254" y="1340930"/>
                  </a:lnTo>
                  <a:lnTo>
                    <a:pt x="111443" y="1356170"/>
                  </a:lnTo>
                  <a:lnTo>
                    <a:pt x="101632" y="1371600"/>
                  </a:lnTo>
                  <a:lnTo>
                    <a:pt x="94964" y="1394079"/>
                  </a:lnTo>
                  <a:lnTo>
                    <a:pt x="92107" y="1413320"/>
                  </a:lnTo>
                  <a:lnTo>
                    <a:pt x="86297" y="1426559"/>
                  </a:lnTo>
                  <a:lnTo>
                    <a:pt x="70676" y="1430941"/>
                  </a:lnTo>
                  <a:lnTo>
                    <a:pt x="47816" y="1431131"/>
                  </a:lnTo>
                  <a:lnTo>
                    <a:pt x="33052" y="1434846"/>
                  </a:lnTo>
                  <a:lnTo>
                    <a:pt x="33052" y="1434656"/>
                  </a:lnTo>
                  <a:lnTo>
                    <a:pt x="32766" y="1431417"/>
                  </a:lnTo>
                  <a:lnTo>
                    <a:pt x="28956" y="1405604"/>
                  </a:lnTo>
                  <a:lnTo>
                    <a:pt x="23527" y="1382649"/>
                  </a:lnTo>
                  <a:lnTo>
                    <a:pt x="6096" y="1338548"/>
                  </a:lnTo>
                  <a:lnTo>
                    <a:pt x="1905" y="1323404"/>
                  </a:lnTo>
                  <a:lnTo>
                    <a:pt x="191" y="1308354"/>
                  </a:lnTo>
                  <a:lnTo>
                    <a:pt x="952" y="1303973"/>
                  </a:lnTo>
                  <a:lnTo>
                    <a:pt x="4572" y="1290257"/>
                  </a:lnTo>
                  <a:lnTo>
                    <a:pt x="5525" y="1282256"/>
                  </a:lnTo>
                  <a:lnTo>
                    <a:pt x="5525" y="1274731"/>
                  </a:lnTo>
                  <a:lnTo>
                    <a:pt x="5048" y="1268444"/>
                  </a:lnTo>
                  <a:lnTo>
                    <a:pt x="952" y="1240822"/>
                  </a:lnTo>
                  <a:lnTo>
                    <a:pt x="0" y="1226725"/>
                  </a:lnTo>
                  <a:lnTo>
                    <a:pt x="762" y="1213199"/>
                  </a:lnTo>
                  <a:lnTo>
                    <a:pt x="4096" y="1202436"/>
                  </a:lnTo>
                  <a:lnTo>
                    <a:pt x="9335" y="1192911"/>
                  </a:lnTo>
                  <a:lnTo>
                    <a:pt x="11621" y="1187387"/>
                  </a:lnTo>
                  <a:lnTo>
                    <a:pt x="13526" y="1181005"/>
                  </a:lnTo>
                  <a:lnTo>
                    <a:pt x="14383" y="1173194"/>
                  </a:lnTo>
                  <a:lnTo>
                    <a:pt x="14383" y="1159383"/>
                  </a:lnTo>
                  <a:cubicBezTo>
                    <a:pt x="14383" y="1159383"/>
                    <a:pt x="16383" y="1152144"/>
                    <a:pt x="16383" y="1152144"/>
                  </a:cubicBezTo>
                  <a:lnTo>
                    <a:pt x="13526" y="1140238"/>
                  </a:lnTo>
                  <a:lnTo>
                    <a:pt x="12478" y="1127474"/>
                  </a:lnTo>
                  <a:lnTo>
                    <a:pt x="14764" y="1120902"/>
                  </a:lnTo>
                  <a:lnTo>
                    <a:pt x="21717" y="1127570"/>
                  </a:lnTo>
                  <a:lnTo>
                    <a:pt x="24194" y="1134904"/>
                  </a:lnTo>
                  <a:lnTo>
                    <a:pt x="26289" y="1153382"/>
                  </a:lnTo>
                  <a:lnTo>
                    <a:pt x="29718" y="1161764"/>
                  </a:lnTo>
                  <a:lnTo>
                    <a:pt x="24194" y="1171385"/>
                  </a:lnTo>
                  <a:lnTo>
                    <a:pt x="26861" y="1174052"/>
                  </a:lnTo>
                  <a:lnTo>
                    <a:pt x="29718" y="1175766"/>
                  </a:lnTo>
                  <a:lnTo>
                    <a:pt x="29718" y="1190625"/>
                  </a:lnTo>
                  <a:lnTo>
                    <a:pt x="24194" y="1199769"/>
                  </a:lnTo>
                  <a:lnTo>
                    <a:pt x="33052" y="1212533"/>
                  </a:lnTo>
                  <a:lnTo>
                    <a:pt x="36290" y="1214628"/>
                  </a:lnTo>
                  <a:lnTo>
                    <a:pt x="39529" y="1213009"/>
                  </a:lnTo>
                  <a:lnTo>
                    <a:pt x="42291" y="1208913"/>
                  </a:lnTo>
                  <a:lnTo>
                    <a:pt x="43339" y="1203389"/>
                  </a:lnTo>
                  <a:lnTo>
                    <a:pt x="38957" y="1188625"/>
                  </a:lnTo>
                  <a:lnTo>
                    <a:pt x="38195" y="1176147"/>
                  </a:lnTo>
                  <a:lnTo>
                    <a:pt x="38767" y="1164241"/>
                  </a:lnTo>
                  <a:lnTo>
                    <a:pt x="40291" y="1156716"/>
                  </a:lnTo>
                  <a:lnTo>
                    <a:pt x="38576" y="1151858"/>
                  </a:lnTo>
                  <a:lnTo>
                    <a:pt x="36862" y="1139476"/>
                  </a:lnTo>
                  <a:lnTo>
                    <a:pt x="34957" y="1132618"/>
                  </a:lnTo>
                  <a:lnTo>
                    <a:pt x="32861" y="1127379"/>
                  </a:lnTo>
                  <a:lnTo>
                    <a:pt x="30956" y="1124141"/>
                  </a:lnTo>
                  <a:lnTo>
                    <a:pt x="24098" y="1118140"/>
                  </a:lnTo>
                  <a:lnTo>
                    <a:pt x="19812" y="1116044"/>
                  </a:lnTo>
                  <a:lnTo>
                    <a:pt x="16288" y="1115568"/>
                  </a:lnTo>
                  <a:lnTo>
                    <a:pt x="13430" y="1113949"/>
                  </a:lnTo>
                  <a:lnTo>
                    <a:pt x="10763" y="1108424"/>
                  </a:lnTo>
                  <a:lnTo>
                    <a:pt x="9144" y="1100614"/>
                  </a:lnTo>
                  <a:lnTo>
                    <a:pt x="10287" y="1097471"/>
                  </a:lnTo>
                  <a:lnTo>
                    <a:pt x="12287" y="1094423"/>
                  </a:lnTo>
                  <a:lnTo>
                    <a:pt x="16288" y="1065467"/>
                  </a:lnTo>
                  <a:lnTo>
                    <a:pt x="30194" y="1024795"/>
                  </a:lnTo>
                  <a:lnTo>
                    <a:pt x="34957" y="1001744"/>
                  </a:lnTo>
                  <a:lnTo>
                    <a:pt x="37624" y="940975"/>
                  </a:lnTo>
                  <a:lnTo>
                    <a:pt x="36100" y="926878"/>
                  </a:lnTo>
                  <a:lnTo>
                    <a:pt x="33338" y="914210"/>
                  </a:lnTo>
                  <a:lnTo>
                    <a:pt x="32766" y="902113"/>
                  </a:lnTo>
                  <a:lnTo>
                    <a:pt x="37624" y="889730"/>
                  </a:lnTo>
                  <a:lnTo>
                    <a:pt x="69533" y="868299"/>
                  </a:lnTo>
                  <a:lnTo>
                    <a:pt x="73247" y="861727"/>
                  </a:lnTo>
                  <a:lnTo>
                    <a:pt x="98965" y="845915"/>
                  </a:lnTo>
                  <a:lnTo>
                    <a:pt x="106013" y="838391"/>
                  </a:lnTo>
                  <a:lnTo>
                    <a:pt x="120301" y="816388"/>
                  </a:lnTo>
                  <a:lnTo>
                    <a:pt x="124301" y="811816"/>
                  </a:lnTo>
                  <a:lnTo>
                    <a:pt x="129159" y="808958"/>
                  </a:lnTo>
                  <a:lnTo>
                    <a:pt x="140113" y="798862"/>
                  </a:lnTo>
                  <a:lnTo>
                    <a:pt x="152495" y="787337"/>
                  </a:lnTo>
                  <a:lnTo>
                    <a:pt x="161163" y="773620"/>
                  </a:lnTo>
                  <a:lnTo>
                    <a:pt x="168593" y="753142"/>
                  </a:lnTo>
                  <a:lnTo>
                    <a:pt x="173260" y="727615"/>
                  </a:lnTo>
                  <a:lnTo>
                    <a:pt x="173736" y="698468"/>
                  </a:lnTo>
                  <a:lnTo>
                    <a:pt x="172593" y="690848"/>
                  </a:lnTo>
                  <a:lnTo>
                    <a:pt x="168402" y="671608"/>
                  </a:lnTo>
                  <a:lnTo>
                    <a:pt x="169259" y="663893"/>
                  </a:lnTo>
                  <a:lnTo>
                    <a:pt x="172974" y="653701"/>
                  </a:lnTo>
                  <a:lnTo>
                    <a:pt x="173831" y="647510"/>
                  </a:lnTo>
                  <a:lnTo>
                    <a:pt x="172974" y="600647"/>
                  </a:lnTo>
                  <a:lnTo>
                    <a:pt x="173831" y="585597"/>
                  </a:lnTo>
                  <a:lnTo>
                    <a:pt x="176403" y="572738"/>
                  </a:lnTo>
                  <a:lnTo>
                    <a:pt x="181166" y="559975"/>
                  </a:lnTo>
                  <a:lnTo>
                    <a:pt x="187357" y="550164"/>
                  </a:lnTo>
                  <a:lnTo>
                    <a:pt x="194024" y="546164"/>
                  </a:lnTo>
                  <a:lnTo>
                    <a:pt x="199358" y="540258"/>
                  </a:lnTo>
                  <a:lnTo>
                    <a:pt x="213932" y="501301"/>
                  </a:lnTo>
                  <a:lnTo>
                    <a:pt x="241745" y="464249"/>
                  </a:lnTo>
                  <a:lnTo>
                    <a:pt x="284607" y="379762"/>
                  </a:lnTo>
                  <a:lnTo>
                    <a:pt x="296418" y="366332"/>
                  </a:lnTo>
                  <a:lnTo>
                    <a:pt x="312801" y="357378"/>
                  </a:lnTo>
                  <a:lnTo>
                    <a:pt x="384524" y="352425"/>
                  </a:lnTo>
                  <a:lnTo>
                    <a:pt x="401384" y="347091"/>
                  </a:lnTo>
                  <a:lnTo>
                    <a:pt x="477393" y="305467"/>
                  </a:lnTo>
                  <a:lnTo>
                    <a:pt x="589979" y="243650"/>
                  </a:lnTo>
                  <a:lnTo>
                    <a:pt x="606457" y="238411"/>
                  </a:lnTo>
                  <a:lnTo>
                    <a:pt x="615410" y="237744"/>
                  </a:lnTo>
                  <a:lnTo>
                    <a:pt x="619792" y="236220"/>
                  </a:lnTo>
                  <a:lnTo>
                    <a:pt x="624554" y="233267"/>
                  </a:lnTo>
                  <a:lnTo>
                    <a:pt x="629698" y="231172"/>
                  </a:lnTo>
                  <a:lnTo>
                    <a:pt x="635318" y="232410"/>
                  </a:lnTo>
                  <a:lnTo>
                    <a:pt x="639223" y="234887"/>
                  </a:lnTo>
                  <a:lnTo>
                    <a:pt x="639223" y="235744"/>
                  </a:lnTo>
                  <a:cubicBezTo>
                    <a:pt x="639223" y="235744"/>
                    <a:pt x="637127" y="237554"/>
                    <a:pt x="637127" y="237554"/>
                  </a:cubicBezTo>
                  <a:lnTo>
                    <a:pt x="635318" y="242792"/>
                  </a:lnTo>
                  <a:lnTo>
                    <a:pt x="631603" y="270320"/>
                  </a:lnTo>
                  <a:lnTo>
                    <a:pt x="630174" y="300323"/>
                  </a:lnTo>
                  <a:lnTo>
                    <a:pt x="631698" y="315087"/>
                  </a:lnTo>
                  <a:lnTo>
                    <a:pt x="635508" y="325755"/>
                  </a:lnTo>
                  <a:lnTo>
                    <a:pt x="657035" y="357950"/>
                  </a:lnTo>
                  <a:lnTo>
                    <a:pt x="743807" y="433769"/>
                  </a:lnTo>
                  <a:lnTo>
                    <a:pt x="771620" y="468821"/>
                  </a:lnTo>
                  <a:lnTo>
                    <a:pt x="803148" y="496538"/>
                  </a:lnTo>
                  <a:lnTo>
                    <a:pt x="823341" y="508254"/>
                  </a:lnTo>
                  <a:lnTo>
                    <a:pt x="836676" y="511397"/>
                  </a:lnTo>
                  <a:lnTo>
                    <a:pt x="841629" y="513683"/>
                  </a:lnTo>
                  <a:lnTo>
                    <a:pt x="842772" y="519303"/>
                  </a:lnTo>
                  <a:lnTo>
                    <a:pt x="842963" y="526447"/>
                  </a:lnTo>
                  <a:lnTo>
                    <a:pt x="844677" y="533591"/>
                  </a:lnTo>
                  <a:lnTo>
                    <a:pt x="853250" y="551307"/>
                  </a:lnTo>
                  <a:lnTo>
                    <a:pt x="854964" y="554831"/>
                  </a:lnTo>
                  <a:lnTo>
                    <a:pt x="858869" y="566642"/>
                  </a:lnTo>
                  <a:lnTo>
                    <a:pt x="861917" y="580835"/>
                  </a:lnTo>
                  <a:lnTo>
                    <a:pt x="864965" y="606171"/>
                  </a:lnTo>
                  <a:lnTo>
                    <a:pt x="868299" y="619316"/>
                  </a:lnTo>
                  <a:lnTo>
                    <a:pt x="874109" y="625031"/>
                  </a:lnTo>
                  <a:lnTo>
                    <a:pt x="877538" y="631698"/>
                  </a:lnTo>
                  <a:lnTo>
                    <a:pt x="888492" y="698183"/>
                  </a:lnTo>
                  <a:lnTo>
                    <a:pt x="892588" y="709327"/>
                  </a:lnTo>
                  <a:lnTo>
                    <a:pt x="898017" y="713804"/>
                  </a:lnTo>
                  <a:lnTo>
                    <a:pt x="904970" y="716566"/>
                  </a:lnTo>
                  <a:lnTo>
                    <a:pt x="923449" y="738283"/>
                  </a:lnTo>
                  <a:lnTo>
                    <a:pt x="955643" y="751427"/>
                  </a:lnTo>
                  <a:lnTo>
                    <a:pt x="988981" y="757809"/>
                  </a:lnTo>
                  <a:lnTo>
                    <a:pt x="993743" y="761810"/>
                  </a:lnTo>
                  <a:lnTo>
                    <a:pt x="1012793" y="789908"/>
                  </a:lnTo>
                  <a:lnTo>
                    <a:pt x="1016318" y="792861"/>
                  </a:lnTo>
                  <a:lnTo>
                    <a:pt x="1018889" y="795052"/>
                  </a:lnTo>
                  <a:lnTo>
                    <a:pt x="1037177" y="800862"/>
                  </a:lnTo>
                  <a:lnTo>
                    <a:pt x="1061752" y="803434"/>
                  </a:lnTo>
                  <a:lnTo>
                    <a:pt x="1128332" y="787051"/>
                  </a:lnTo>
                  <a:lnTo>
                    <a:pt x="1152049" y="775526"/>
                  </a:lnTo>
                  <a:lnTo>
                    <a:pt x="1162145" y="770572"/>
                  </a:lnTo>
                  <a:lnTo>
                    <a:pt x="1177100" y="757714"/>
                  </a:lnTo>
                  <a:lnTo>
                    <a:pt x="1184148" y="747427"/>
                  </a:lnTo>
                  <a:lnTo>
                    <a:pt x="1189101" y="737807"/>
                  </a:lnTo>
                  <a:lnTo>
                    <a:pt x="1194435" y="730663"/>
                  </a:lnTo>
                  <a:lnTo>
                    <a:pt x="1209580" y="726377"/>
                  </a:lnTo>
                  <a:lnTo>
                    <a:pt x="1224534" y="716470"/>
                  </a:lnTo>
                  <a:lnTo>
                    <a:pt x="1262634" y="691420"/>
                  </a:lnTo>
                  <a:lnTo>
                    <a:pt x="1265968" y="681228"/>
                  </a:lnTo>
                  <a:lnTo>
                    <a:pt x="1273493" y="672941"/>
                  </a:lnTo>
                  <a:lnTo>
                    <a:pt x="1282256" y="667226"/>
                  </a:lnTo>
                  <a:lnTo>
                    <a:pt x="1289018" y="664655"/>
                  </a:lnTo>
                  <a:lnTo>
                    <a:pt x="1289018" y="656939"/>
                  </a:lnTo>
                  <a:cubicBezTo>
                    <a:pt x="1289018" y="656939"/>
                    <a:pt x="1293019" y="651796"/>
                    <a:pt x="1293019" y="651796"/>
                  </a:cubicBezTo>
                  <a:lnTo>
                    <a:pt x="1302353" y="645033"/>
                  </a:lnTo>
                  <a:lnTo>
                    <a:pt x="1328261" y="614934"/>
                  </a:lnTo>
                  <a:lnTo>
                    <a:pt x="1336643" y="594836"/>
                  </a:lnTo>
                  <a:lnTo>
                    <a:pt x="1339882" y="565976"/>
                  </a:lnTo>
                  <a:lnTo>
                    <a:pt x="1338548" y="532543"/>
                  </a:lnTo>
                  <a:lnTo>
                    <a:pt x="1329214" y="442246"/>
                  </a:lnTo>
                  <a:lnTo>
                    <a:pt x="1328547" y="415385"/>
                  </a:lnTo>
                  <a:lnTo>
                    <a:pt x="1326737" y="399383"/>
                  </a:lnTo>
                  <a:lnTo>
                    <a:pt x="1322546" y="392240"/>
                  </a:lnTo>
                  <a:lnTo>
                    <a:pt x="1320260" y="383572"/>
                  </a:lnTo>
                  <a:lnTo>
                    <a:pt x="1321975" y="364522"/>
                  </a:lnTo>
                  <a:lnTo>
                    <a:pt x="1326547" y="337757"/>
                  </a:lnTo>
                  <a:lnTo>
                    <a:pt x="1321975" y="294989"/>
                  </a:lnTo>
                  <a:lnTo>
                    <a:pt x="1319879" y="285369"/>
                  </a:lnTo>
                  <a:lnTo>
                    <a:pt x="1302734" y="256508"/>
                  </a:lnTo>
                  <a:lnTo>
                    <a:pt x="1297210" y="242792"/>
                  </a:lnTo>
                  <a:lnTo>
                    <a:pt x="1297210" y="229648"/>
                  </a:lnTo>
                  <a:lnTo>
                    <a:pt x="1293019" y="195358"/>
                  </a:lnTo>
                  <a:lnTo>
                    <a:pt x="1291876" y="178022"/>
                  </a:lnTo>
                  <a:lnTo>
                    <a:pt x="1293019" y="168688"/>
                  </a:lnTo>
                  <a:lnTo>
                    <a:pt x="1295876" y="159830"/>
                  </a:lnTo>
                  <a:lnTo>
                    <a:pt x="1299782" y="151924"/>
                  </a:lnTo>
                  <a:lnTo>
                    <a:pt x="1316736" y="158877"/>
                  </a:lnTo>
                  <a:lnTo>
                    <a:pt x="1327880" y="158306"/>
                  </a:lnTo>
                  <a:lnTo>
                    <a:pt x="1336929" y="153162"/>
                  </a:lnTo>
                  <a:lnTo>
                    <a:pt x="1341311" y="145733"/>
                  </a:lnTo>
                  <a:lnTo>
                    <a:pt x="1347692" y="128302"/>
                  </a:lnTo>
                  <a:lnTo>
                    <a:pt x="1352550" y="122587"/>
                  </a:lnTo>
                  <a:lnTo>
                    <a:pt x="1367981" y="114395"/>
                  </a:lnTo>
                  <a:lnTo>
                    <a:pt x="1388459" y="95536"/>
                  </a:lnTo>
                  <a:lnTo>
                    <a:pt x="1396270" y="93821"/>
                  </a:lnTo>
                  <a:lnTo>
                    <a:pt x="1423607" y="96393"/>
                  </a:lnTo>
                  <a:lnTo>
                    <a:pt x="1447229" y="93726"/>
                  </a:lnTo>
                  <a:lnTo>
                    <a:pt x="1453325" y="88868"/>
                  </a:lnTo>
                  <a:lnTo>
                    <a:pt x="1460468" y="68580"/>
                  </a:lnTo>
                  <a:lnTo>
                    <a:pt x="1466183" y="60960"/>
                  </a:lnTo>
                  <a:lnTo>
                    <a:pt x="1478375" y="64103"/>
                  </a:lnTo>
                  <a:lnTo>
                    <a:pt x="1488472" y="70676"/>
                  </a:lnTo>
                  <a:lnTo>
                    <a:pt x="1498568" y="72390"/>
                  </a:lnTo>
                  <a:lnTo>
                    <a:pt x="1502664" y="68580"/>
                  </a:lnTo>
                  <a:lnTo>
                    <a:pt x="1510856" y="61055"/>
                  </a:lnTo>
                  <a:lnTo>
                    <a:pt x="1520285" y="54959"/>
                  </a:lnTo>
                  <a:lnTo>
                    <a:pt x="1550194" y="50578"/>
                  </a:lnTo>
                  <a:lnTo>
                    <a:pt x="1560100" y="43625"/>
                  </a:lnTo>
                  <a:lnTo>
                    <a:pt x="1583436" y="19526"/>
                  </a:lnTo>
                  <a:lnTo>
                    <a:pt x="1588865" y="13907"/>
                  </a:lnTo>
                  <a:lnTo>
                    <a:pt x="1597343" y="8477"/>
                  </a:lnTo>
                  <a:lnTo>
                    <a:pt x="1606487" y="5715"/>
                  </a:lnTo>
                  <a:lnTo>
                    <a:pt x="1624679" y="5239"/>
                  </a:lnTo>
                  <a:lnTo>
                    <a:pt x="1634776" y="12097"/>
                  </a:lnTo>
                  <a:lnTo>
                    <a:pt x="1640110" y="27242"/>
                  </a:lnTo>
                  <a:lnTo>
                    <a:pt x="1643634" y="45339"/>
                  </a:lnTo>
                  <a:lnTo>
                    <a:pt x="1648397" y="61151"/>
                  </a:lnTo>
                  <a:lnTo>
                    <a:pt x="1654112" y="66008"/>
                  </a:lnTo>
                  <a:lnTo>
                    <a:pt x="1660208" y="66008"/>
                  </a:lnTo>
                  <a:lnTo>
                    <a:pt x="1672685" y="59531"/>
                  </a:lnTo>
                  <a:lnTo>
                    <a:pt x="1680401" y="49244"/>
                  </a:lnTo>
                  <a:lnTo>
                    <a:pt x="1677734" y="37529"/>
                  </a:lnTo>
                  <a:lnTo>
                    <a:pt x="1666780" y="17621"/>
                  </a:lnTo>
                  <a:lnTo>
                    <a:pt x="1667256" y="4858"/>
                  </a:lnTo>
                  <a:lnTo>
                    <a:pt x="1672209" y="0"/>
                  </a:lnTo>
                  <a:lnTo>
                    <a:pt x="1679258" y="1238"/>
                  </a:lnTo>
                  <a:lnTo>
                    <a:pt x="1686211" y="6953"/>
                  </a:lnTo>
                  <a:lnTo>
                    <a:pt x="1688878" y="12002"/>
                  </a:lnTo>
                  <a:lnTo>
                    <a:pt x="1693450" y="25337"/>
                  </a:lnTo>
                  <a:lnTo>
                    <a:pt x="1695926" y="29623"/>
                  </a:lnTo>
                  <a:lnTo>
                    <a:pt x="1699451" y="31814"/>
                  </a:lnTo>
                  <a:lnTo>
                    <a:pt x="1701832" y="31242"/>
                  </a:lnTo>
                  <a:lnTo>
                    <a:pt x="1704404" y="29909"/>
                  </a:lnTo>
                  <a:lnTo>
                    <a:pt x="1708404" y="29718"/>
                  </a:lnTo>
                  <a:lnTo>
                    <a:pt x="1724025" y="38195"/>
                  </a:lnTo>
                  <a:lnTo>
                    <a:pt x="1747647" y="66961"/>
                  </a:lnTo>
                  <a:lnTo>
                    <a:pt x="1762982" y="76867"/>
                  </a:lnTo>
                  <a:lnTo>
                    <a:pt x="1776698" y="79915"/>
                  </a:lnTo>
                  <a:lnTo>
                    <a:pt x="1780508" y="82582"/>
                  </a:lnTo>
                  <a:lnTo>
                    <a:pt x="1783842" y="88106"/>
                  </a:lnTo>
                  <a:lnTo>
                    <a:pt x="1784414" y="92107"/>
                  </a:lnTo>
                  <a:lnTo>
                    <a:pt x="1784414" y="92869"/>
                  </a:lnTo>
                  <a:cubicBezTo>
                    <a:pt x="1784414" y="92869"/>
                    <a:pt x="1784890" y="97727"/>
                    <a:pt x="1784890" y="97727"/>
                  </a:cubicBezTo>
                  <a:lnTo>
                    <a:pt x="1786985" y="103537"/>
                  </a:lnTo>
                  <a:lnTo>
                    <a:pt x="1795177" y="114395"/>
                  </a:lnTo>
                  <a:lnTo>
                    <a:pt x="1803749" y="119729"/>
                  </a:lnTo>
                  <a:lnTo>
                    <a:pt x="1812893" y="121158"/>
                  </a:lnTo>
                  <a:lnTo>
                    <a:pt x="1822609" y="120301"/>
                  </a:lnTo>
                  <a:lnTo>
                    <a:pt x="1843564" y="113062"/>
                  </a:lnTo>
                  <a:lnTo>
                    <a:pt x="1847945" y="111538"/>
                  </a:lnTo>
                  <a:lnTo>
                    <a:pt x="1853851" y="111728"/>
                  </a:lnTo>
                  <a:lnTo>
                    <a:pt x="1859756" y="121920"/>
                  </a:lnTo>
                  <a:lnTo>
                    <a:pt x="1863376" y="136779"/>
                  </a:lnTo>
                  <a:lnTo>
                    <a:pt x="1868329" y="151448"/>
                  </a:lnTo>
                  <a:lnTo>
                    <a:pt x="1878140" y="160877"/>
                  </a:lnTo>
                  <a:lnTo>
                    <a:pt x="1959959" y="168212"/>
                  </a:lnTo>
                  <a:lnTo>
                    <a:pt x="1964531" y="170498"/>
                  </a:lnTo>
                  <a:lnTo>
                    <a:pt x="1967389" y="174117"/>
                  </a:lnTo>
                  <a:lnTo>
                    <a:pt x="1968627" y="181070"/>
                  </a:lnTo>
                  <a:lnTo>
                    <a:pt x="1967294" y="185452"/>
                  </a:lnTo>
                  <a:lnTo>
                    <a:pt x="1965103" y="189833"/>
                  </a:lnTo>
                  <a:lnTo>
                    <a:pt x="1963960" y="196501"/>
                  </a:lnTo>
                  <a:lnTo>
                    <a:pt x="1965103" y="211550"/>
                  </a:lnTo>
                  <a:lnTo>
                    <a:pt x="1968532" y="220599"/>
                  </a:lnTo>
                  <a:lnTo>
                    <a:pt x="2011585" y="256794"/>
                  </a:lnTo>
                  <a:lnTo>
                    <a:pt x="2024539" y="271939"/>
                  </a:lnTo>
                  <a:lnTo>
                    <a:pt x="2061401" y="332518"/>
                  </a:lnTo>
                  <a:lnTo>
                    <a:pt x="2074640" y="348234"/>
                  </a:lnTo>
                  <a:lnTo>
                    <a:pt x="2090738" y="359855"/>
                  </a:lnTo>
                  <a:lnTo>
                    <a:pt x="2095690" y="361950"/>
                  </a:lnTo>
                  <a:lnTo>
                    <a:pt x="2126552" y="375380"/>
                  </a:lnTo>
                  <a:lnTo>
                    <a:pt x="2126647" y="375380"/>
                  </a:lnTo>
                  <a:cubicBezTo>
                    <a:pt x="2126647" y="375380"/>
                    <a:pt x="2133124" y="381762"/>
                    <a:pt x="2133124" y="381762"/>
                  </a:cubicBezTo>
                  <a:lnTo>
                    <a:pt x="2146173" y="400431"/>
                  </a:lnTo>
                  <a:lnTo>
                    <a:pt x="2153412" y="408623"/>
                  </a:lnTo>
                  <a:lnTo>
                    <a:pt x="2159413" y="407575"/>
                  </a:lnTo>
                  <a:lnTo>
                    <a:pt x="2164747" y="402812"/>
                  </a:lnTo>
                  <a:lnTo>
                    <a:pt x="2169986" y="399669"/>
                  </a:lnTo>
                  <a:lnTo>
                    <a:pt x="2173700" y="400622"/>
                  </a:lnTo>
                  <a:lnTo>
                    <a:pt x="2180939" y="405860"/>
                  </a:lnTo>
                  <a:lnTo>
                    <a:pt x="2184654" y="407099"/>
                  </a:lnTo>
                  <a:lnTo>
                    <a:pt x="2188655" y="405289"/>
                  </a:lnTo>
                  <a:lnTo>
                    <a:pt x="2190464" y="400812"/>
                  </a:lnTo>
                  <a:lnTo>
                    <a:pt x="2191798" y="395478"/>
                  </a:lnTo>
                  <a:lnTo>
                    <a:pt x="2194274" y="390811"/>
                  </a:lnTo>
                  <a:lnTo>
                    <a:pt x="2205800" y="380619"/>
                  </a:lnTo>
                  <a:lnTo>
                    <a:pt x="2218468" y="372999"/>
                  </a:lnTo>
                  <a:lnTo>
                    <a:pt x="2231517" y="368713"/>
                  </a:lnTo>
                  <a:lnTo>
                    <a:pt x="2261711" y="370332"/>
                  </a:lnTo>
                  <a:lnTo>
                    <a:pt x="2268569" y="368237"/>
                  </a:lnTo>
                  <a:lnTo>
                    <a:pt x="2276570" y="361093"/>
                  </a:lnTo>
                  <a:lnTo>
                    <a:pt x="2281238" y="350996"/>
                  </a:lnTo>
                  <a:lnTo>
                    <a:pt x="2285238" y="340233"/>
                  </a:lnTo>
                  <a:lnTo>
                    <a:pt x="2291334" y="330994"/>
                  </a:lnTo>
                  <a:lnTo>
                    <a:pt x="2298573" y="327660"/>
                  </a:lnTo>
                  <a:lnTo>
                    <a:pt x="2303336" y="331375"/>
                  </a:lnTo>
                  <a:lnTo>
                    <a:pt x="2307717" y="336518"/>
                  </a:lnTo>
                  <a:lnTo>
                    <a:pt x="2313813" y="337661"/>
                  </a:lnTo>
                  <a:lnTo>
                    <a:pt x="2320671" y="336137"/>
                  </a:lnTo>
                  <a:lnTo>
                    <a:pt x="2327434" y="336328"/>
                  </a:lnTo>
                  <a:lnTo>
                    <a:pt x="2340864" y="340995"/>
                  </a:lnTo>
                  <a:lnTo>
                    <a:pt x="2350008" y="348329"/>
                  </a:lnTo>
                  <a:lnTo>
                    <a:pt x="2364296" y="370427"/>
                  </a:lnTo>
                  <a:lnTo>
                    <a:pt x="2372201" y="379667"/>
                  </a:lnTo>
                  <a:lnTo>
                    <a:pt x="2381441" y="384143"/>
                  </a:lnTo>
                  <a:lnTo>
                    <a:pt x="2412683" y="386144"/>
                  </a:lnTo>
                  <a:lnTo>
                    <a:pt x="2472785" y="408337"/>
                  </a:lnTo>
                  <a:lnTo>
                    <a:pt x="2485644" y="400050"/>
                  </a:lnTo>
                </a:path>
              </a:pathLst>
            </a:custGeom>
            <a:grpFill/>
            <a:ln w="2381" cap="sq">
              <a:noFill/>
              <a:prstDash val="solid"/>
              <a:bevel/>
            </a:ln>
          </p:spPr>
          <p:txBody>
            <a:bodyPr rtlCol="0" anchor="ctr"/>
            <a:lstStyle/>
            <a:p>
              <a:endParaRPr lang="cs-CZ"/>
            </a:p>
          </p:txBody>
        </p:sp>
        <p:sp>
          <p:nvSpPr>
            <p:cNvPr id="169" name="Freeform: Shape 168">
              <a:extLst>
                <a:ext uri="{FF2B5EF4-FFF2-40B4-BE49-F238E27FC236}">
                  <a16:creationId xmlns:a16="http://schemas.microsoft.com/office/drawing/2014/main" id="{D55EE4B0-C2F3-C202-03E2-059A28B9B0B1}"/>
                </a:ext>
              </a:extLst>
            </p:cNvPr>
            <p:cNvSpPr/>
            <p:nvPr/>
          </p:nvSpPr>
          <p:spPr>
            <a:xfrm>
              <a:off x="13182122" y="7203595"/>
              <a:ext cx="140684" cy="217646"/>
            </a:xfrm>
            <a:custGeom>
              <a:avLst/>
              <a:gdLst>
                <a:gd name="connsiteX0" fmla="*/ 66008 w 140684"/>
                <a:gd name="connsiteY0" fmla="*/ 0 h 217646"/>
                <a:gd name="connsiteX1" fmla="*/ 73057 w 140684"/>
                <a:gd name="connsiteY1" fmla="*/ 1238 h 217646"/>
                <a:gd name="connsiteX2" fmla="*/ 80010 w 140684"/>
                <a:gd name="connsiteY2" fmla="*/ 6953 h 217646"/>
                <a:gd name="connsiteX3" fmla="*/ 82677 w 140684"/>
                <a:gd name="connsiteY3" fmla="*/ 12002 h 217646"/>
                <a:gd name="connsiteX4" fmla="*/ 87249 w 140684"/>
                <a:gd name="connsiteY4" fmla="*/ 25337 h 217646"/>
                <a:gd name="connsiteX5" fmla="*/ 89725 w 140684"/>
                <a:gd name="connsiteY5" fmla="*/ 29623 h 217646"/>
                <a:gd name="connsiteX6" fmla="*/ 93250 w 140684"/>
                <a:gd name="connsiteY6" fmla="*/ 31814 h 217646"/>
                <a:gd name="connsiteX7" fmla="*/ 95631 w 140684"/>
                <a:gd name="connsiteY7" fmla="*/ 31242 h 217646"/>
                <a:gd name="connsiteX8" fmla="*/ 98203 w 140684"/>
                <a:gd name="connsiteY8" fmla="*/ 29909 h 217646"/>
                <a:gd name="connsiteX9" fmla="*/ 102203 w 140684"/>
                <a:gd name="connsiteY9" fmla="*/ 29718 h 217646"/>
                <a:gd name="connsiteX10" fmla="*/ 117824 w 140684"/>
                <a:gd name="connsiteY10" fmla="*/ 38195 h 217646"/>
                <a:gd name="connsiteX11" fmla="*/ 126873 w 140684"/>
                <a:gd name="connsiteY11" fmla="*/ 49149 h 217646"/>
                <a:gd name="connsiteX12" fmla="*/ 121825 w 140684"/>
                <a:gd name="connsiteY12" fmla="*/ 61627 h 217646"/>
                <a:gd name="connsiteX13" fmla="*/ 120586 w 140684"/>
                <a:gd name="connsiteY13" fmla="*/ 76581 h 217646"/>
                <a:gd name="connsiteX14" fmla="*/ 107823 w 140684"/>
                <a:gd name="connsiteY14" fmla="*/ 77724 h 217646"/>
                <a:gd name="connsiteX15" fmla="*/ 98108 w 140684"/>
                <a:gd name="connsiteY15" fmla="*/ 80010 h 217646"/>
                <a:gd name="connsiteX16" fmla="*/ 96298 w 140684"/>
                <a:gd name="connsiteY16" fmla="*/ 66199 h 217646"/>
                <a:gd name="connsiteX17" fmla="*/ 90773 w 140684"/>
                <a:gd name="connsiteY17" fmla="*/ 61627 h 217646"/>
                <a:gd name="connsiteX18" fmla="*/ 81058 w 140684"/>
                <a:gd name="connsiteY18" fmla="*/ 76581 h 217646"/>
                <a:gd name="connsiteX19" fmla="*/ 71914 w 140684"/>
                <a:gd name="connsiteY19" fmla="*/ 89249 h 217646"/>
                <a:gd name="connsiteX20" fmla="*/ 65151 w 140684"/>
                <a:gd name="connsiteY20" fmla="*/ 100774 h 217646"/>
                <a:gd name="connsiteX21" fmla="*/ 68771 w 140684"/>
                <a:gd name="connsiteY21" fmla="*/ 119158 h 217646"/>
                <a:gd name="connsiteX22" fmla="*/ 80391 w 140684"/>
                <a:gd name="connsiteY22" fmla="*/ 124873 h 217646"/>
                <a:gd name="connsiteX23" fmla="*/ 94393 w 140684"/>
                <a:gd name="connsiteY23" fmla="*/ 126016 h 217646"/>
                <a:gd name="connsiteX24" fmla="*/ 102870 w 140684"/>
                <a:gd name="connsiteY24" fmla="*/ 142113 h 217646"/>
                <a:gd name="connsiteX25" fmla="*/ 112014 w 140684"/>
                <a:gd name="connsiteY25" fmla="*/ 140970 h 217646"/>
                <a:gd name="connsiteX26" fmla="*/ 121729 w 140684"/>
                <a:gd name="connsiteY26" fmla="*/ 167354 h 217646"/>
                <a:gd name="connsiteX27" fmla="*/ 126016 w 140684"/>
                <a:gd name="connsiteY27" fmla="*/ 190214 h 217646"/>
                <a:gd name="connsiteX28" fmla="*/ 139446 w 140684"/>
                <a:gd name="connsiteY28" fmla="*/ 190214 h 217646"/>
                <a:gd name="connsiteX29" fmla="*/ 140684 w 140684"/>
                <a:gd name="connsiteY29" fmla="*/ 209645 h 217646"/>
                <a:gd name="connsiteX30" fmla="*/ 110776 w 140684"/>
                <a:gd name="connsiteY30" fmla="*/ 210788 h 217646"/>
                <a:gd name="connsiteX31" fmla="*/ 85154 w 140684"/>
                <a:gd name="connsiteY31" fmla="*/ 214217 h 217646"/>
                <a:gd name="connsiteX32" fmla="*/ 68675 w 140684"/>
                <a:gd name="connsiteY32" fmla="*/ 217646 h 217646"/>
                <a:gd name="connsiteX33" fmla="*/ 67437 w 140684"/>
                <a:gd name="connsiteY33" fmla="*/ 205073 h 217646"/>
                <a:gd name="connsiteX34" fmla="*/ 58864 w 140684"/>
                <a:gd name="connsiteY34" fmla="*/ 201644 h 217646"/>
                <a:gd name="connsiteX35" fmla="*/ 60674 w 140684"/>
                <a:gd name="connsiteY35" fmla="*/ 186785 h 217646"/>
                <a:gd name="connsiteX36" fmla="*/ 59436 w 140684"/>
                <a:gd name="connsiteY36" fmla="*/ 163925 h 217646"/>
                <a:gd name="connsiteX37" fmla="*/ 47815 w 140684"/>
                <a:gd name="connsiteY37" fmla="*/ 149066 h 217646"/>
                <a:gd name="connsiteX38" fmla="*/ 46006 w 140684"/>
                <a:gd name="connsiteY38" fmla="*/ 137636 h 217646"/>
                <a:gd name="connsiteX39" fmla="*/ 39338 w 140684"/>
                <a:gd name="connsiteY39" fmla="*/ 125063 h 217646"/>
                <a:gd name="connsiteX40" fmla="*/ 28384 w 140684"/>
                <a:gd name="connsiteY40" fmla="*/ 118205 h 217646"/>
                <a:gd name="connsiteX41" fmla="*/ 15621 w 140684"/>
                <a:gd name="connsiteY41" fmla="*/ 106680 h 217646"/>
                <a:gd name="connsiteX42" fmla="*/ 12001 w 140684"/>
                <a:gd name="connsiteY42" fmla="*/ 91726 h 217646"/>
                <a:gd name="connsiteX43" fmla="*/ 16859 w 140684"/>
                <a:gd name="connsiteY43" fmla="*/ 87154 h 217646"/>
                <a:gd name="connsiteX44" fmla="*/ 15050 w 140684"/>
                <a:gd name="connsiteY44" fmla="*/ 72200 h 217646"/>
                <a:gd name="connsiteX45" fmla="*/ 4096 w 140684"/>
                <a:gd name="connsiteY45" fmla="*/ 68771 h 217646"/>
                <a:gd name="connsiteX46" fmla="*/ 476 w 140684"/>
                <a:gd name="connsiteY46" fmla="*/ 52673 h 217646"/>
                <a:gd name="connsiteX47" fmla="*/ 4096 w 140684"/>
                <a:gd name="connsiteY47" fmla="*/ 36576 h 217646"/>
                <a:gd name="connsiteX48" fmla="*/ 5905 w 140684"/>
                <a:gd name="connsiteY48" fmla="*/ 22765 h 217646"/>
                <a:gd name="connsiteX49" fmla="*/ 0 w 140684"/>
                <a:gd name="connsiteY49" fmla="*/ 6001 h 217646"/>
                <a:gd name="connsiteX50" fmla="*/ 18193 w 140684"/>
                <a:gd name="connsiteY50" fmla="*/ 5525 h 217646"/>
                <a:gd name="connsiteX51" fmla="*/ 28289 w 140684"/>
                <a:gd name="connsiteY51" fmla="*/ 12383 h 217646"/>
                <a:gd name="connsiteX52" fmla="*/ 33623 w 140684"/>
                <a:gd name="connsiteY52" fmla="*/ 27527 h 217646"/>
                <a:gd name="connsiteX53" fmla="*/ 37147 w 140684"/>
                <a:gd name="connsiteY53" fmla="*/ 45625 h 217646"/>
                <a:gd name="connsiteX54" fmla="*/ 41910 w 140684"/>
                <a:gd name="connsiteY54" fmla="*/ 61436 h 217646"/>
                <a:gd name="connsiteX55" fmla="*/ 47625 w 140684"/>
                <a:gd name="connsiteY55" fmla="*/ 66294 h 217646"/>
                <a:gd name="connsiteX56" fmla="*/ 53721 w 140684"/>
                <a:gd name="connsiteY56" fmla="*/ 66294 h 217646"/>
                <a:gd name="connsiteX57" fmla="*/ 66199 w 140684"/>
                <a:gd name="connsiteY57" fmla="*/ 59817 h 217646"/>
                <a:gd name="connsiteX58" fmla="*/ 73914 w 140684"/>
                <a:gd name="connsiteY58" fmla="*/ 49530 h 217646"/>
                <a:gd name="connsiteX59" fmla="*/ 71247 w 140684"/>
                <a:gd name="connsiteY59" fmla="*/ 37814 h 217646"/>
                <a:gd name="connsiteX60" fmla="*/ 60293 w 140684"/>
                <a:gd name="connsiteY60" fmla="*/ 17907 h 217646"/>
                <a:gd name="connsiteX61" fmla="*/ 60769 w 140684"/>
                <a:gd name="connsiteY61" fmla="*/ 5144 h 217646"/>
                <a:gd name="connsiteX62" fmla="*/ 65722 w 140684"/>
                <a:gd name="connsiteY62" fmla="*/ 286 h 217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40684" h="217646">
                  <a:moveTo>
                    <a:pt x="66008" y="0"/>
                  </a:moveTo>
                  <a:lnTo>
                    <a:pt x="73057" y="1238"/>
                  </a:lnTo>
                  <a:lnTo>
                    <a:pt x="80010" y="6953"/>
                  </a:lnTo>
                  <a:lnTo>
                    <a:pt x="82677" y="12002"/>
                  </a:lnTo>
                  <a:lnTo>
                    <a:pt x="87249" y="25337"/>
                  </a:lnTo>
                  <a:lnTo>
                    <a:pt x="89725" y="29623"/>
                  </a:lnTo>
                  <a:lnTo>
                    <a:pt x="93250" y="31814"/>
                  </a:lnTo>
                  <a:lnTo>
                    <a:pt x="95631" y="31242"/>
                  </a:lnTo>
                  <a:lnTo>
                    <a:pt x="98203" y="29909"/>
                  </a:lnTo>
                  <a:lnTo>
                    <a:pt x="102203" y="29718"/>
                  </a:lnTo>
                  <a:lnTo>
                    <a:pt x="117824" y="38195"/>
                  </a:lnTo>
                  <a:lnTo>
                    <a:pt x="126873" y="49149"/>
                  </a:lnTo>
                  <a:lnTo>
                    <a:pt x="121825" y="61627"/>
                  </a:lnTo>
                  <a:lnTo>
                    <a:pt x="120586" y="76581"/>
                  </a:lnTo>
                  <a:lnTo>
                    <a:pt x="107823" y="77724"/>
                  </a:lnTo>
                  <a:lnTo>
                    <a:pt x="98108" y="80010"/>
                  </a:lnTo>
                  <a:lnTo>
                    <a:pt x="96298" y="66199"/>
                  </a:lnTo>
                  <a:lnTo>
                    <a:pt x="90773" y="61627"/>
                  </a:lnTo>
                  <a:lnTo>
                    <a:pt x="81058" y="76581"/>
                  </a:lnTo>
                  <a:lnTo>
                    <a:pt x="71914" y="89249"/>
                  </a:lnTo>
                  <a:lnTo>
                    <a:pt x="65151" y="100774"/>
                  </a:lnTo>
                  <a:lnTo>
                    <a:pt x="68771" y="119158"/>
                  </a:lnTo>
                  <a:lnTo>
                    <a:pt x="80391" y="124873"/>
                  </a:lnTo>
                  <a:lnTo>
                    <a:pt x="94393" y="126016"/>
                  </a:lnTo>
                  <a:lnTo>
                    <a:pt x="102870" y="142113"/>
                  </a:lnTo>
                  <a:lnTo>
                    <a:pt x="112014" y="140970"/>
                  </a:lnTo>
                  <a:lnTo>
                    <a:pt x="121729" y="167354"/>
                  </a:lnTo>
                  <a:lnTo>
                    <a:pt x="126016" y="190214"/>
                  </a:lnTo>
                  <a:lnTo>
                    <a:pt x="139446" y="190214"/>
                  </a:lnTo>
                  <a:lnTo>
                    <a:pt x="140684" y="209645"/>
                  </a:lnTo>
                  <a:lnTo>
                    <a:pt x="110776" y="210788"/>
                  </a:lnTo>
                  <a:lnTo>
                    <a:pt x="85154" y="214217"/>
                  </a:lnTo>
                  <a:lnTo>
                    <a:pt x="68675" y="217646"/>
                  </a:lnTo>
                  <a:lnTo>
                    <a:pt x="67437" y="205073"/>
                  </a:lnTo>
                  <a:lnTo>
                    <a:pt x="58864" y="201644"/>
                  </a:lnTo>
                  <a:lnTo>
                    <a:pt x="60674" y="186785"/>
                  </a:lnTo>
                  <a:lnTo>
                    <a:pt x="59436" y="163925"/>
                  </a:lnTo>
                  <a:lnTo>
                    <a:pt x="47815" y="149066"/>
                  </a:lnTo>
                  <a:lnTo>
                    <a:pt x="46006" y="137636"/>
                  </a:lnTo>
                  <a:lnTo>
                    <a:pt x="39338" y="125063"/>
                  </a:lnTo>
                  <a:lnTo>
                    <a:pt x="28384" y="118205"/>
                  </a:lnTo>
                  <a:lnTo>
                    <a:pt x="15621" y="106680"/>
                  </a:lnTo>
                  <a:lnTo>
                    <a:pt x="12001" y="91726"/>
                  </a:lnTo>
                  <a:lnTo>
                    <a:pt x="16859" y="87154"/>
                  </a:lnTo>
                  <a:lnTo>
                    <a:pt x="15050" y="72200"/>
                  </a:lnTo>
                  <a:lnTo>
                    <a:pt x="4096" y="68771"/>
                  </a:lnTo>
                  <a:lnTo>
                    <a:pt x="476" y="52673"/>
                  </a:lnTo>
                  <a:lnTo>
                    <a:pt x="4096" y="36576"/>
                  </a:lnTo>
                  <a:lnTo>
                    <a:pt x="5905" y="22765"/>
                  </a:lnTo>
                  <a:lnTo>
                    <a:pt x="0" y="6001"/>
                  </a:lnTo>
                  <a:lnTo>
                    <a:pt x="18193" y="5525"/>
                  </a:lnTo>
                  <a:lnTo>
                    <a:pt x="28289" y="12383"/>
                  </a:lnTo>
                  <a:lnTo>
                    <a:pt x="33623" y="27527"/>
                  </a:lnTo>
                  <a:lnTo>
                    <a:pt x="37147" y="45625"/>
                  </a:lnTo>
                  <a:lnTo>
                    <a:pt x="41910" y="61436"/>
                  </a:lnTo>
                  <a:lnTo>
                    <a:pt x="47625" y="66294"/>
                  </a:lnTo>
                  <a:lnTo>
                    <a:pt x="53721" y="66294"/>
                  </a:lnTo>
                  <a:lnTo>
                    <a:pt x="66199" y="59817"/>
                  </a:lnTo>
                  <a:lnTo>
                    <a:pt x="73914" y="49530"/>
                  </a:lnTo>
                  <a:lnTo>
                    <a:pt x="71247" y="37814"/>
                  </a:lnTo>
                  <a:lnTo>
                    <a:pt x="60293" y="17907"/>
                  </a:lnTo>
                  <a:lnTo>
                    <a:pt x="60769" y="5144"/>
                  </a:lnTo>
                  <a:lnTo>
                    <a:pt x="65722" y="286"/>
                  </a:lnTo>
                </a:path>
              </a:pathLst>
            </a:custGeom>
            <a:grpFill/>
            <a:ln w="2381" cap="sq">
              <a:noFill/>
              <a:prstDash val="solid"/>
              <a:bevel/>
            </a:ln>
          </p:spPr>
          <p:txBody>
            <a:bodyPr rtlCol="0" anchor="ctr"/>
            <a:lstStyle/>
            <a:p>
              <a:endParaRPr lang="cs-CZ"/>
            </a:p>
          </p:txBody>
        </p:sp>
        <p:sp>
          <p:nvSpPr>
            <p:cNvPr id="170" name="Freeform: Shape 169">
              <a:extLst>
                <a:ext uri="{FF2B5EF4-FFF2-40B4-BE49-F238E27FC236}">
                  <a16:creationId xmlns:a16="http://schemas.microsoft.com/office/drawing/2014/main" id="{C55959B9-B966-71B7-C4FA-A5A823D22D4D}"/>
                </a:ext>
              </a:extLst>
            </p:cNvPr>
            <p:cNvSpPr/>
            <p:nvPr/>
          </p:nvSpPr>
          <p:spPr>
            <a:xfrm>
              <a:off x="13078013" y="7209310"/>
              <a:ext cx="164877" cy="198405"/>
            </a:xfrm>
            <a:custGeom>
              <a:avLst/>
              <a:gdLst>
                <a:gd name="connsiteX0" fmla="*/ 81153 w 164877"/>
                <a:gd name="connsiteY0" fmla="*/ 13811 h 198405"/>
                <a:gd name="connsiteX1" fmla="*/ 86582 w 164877"/>
                <a:gd name="connsiteY1" fmla="*/ 8192 h 198405"/>
                <a:gd name="connsiteX2" fmla="*/ 95060 w 164877"/>
                <a:gd name="connsiteY2" fmla="*/ 2762 h 198405"/>
                <a:gd name="connsiteX3" fmla="*/ 104204 w 164877"/>
                <a:gd name="connsiteY3" fmla="*/ 0 h 198405"/>
                <a:gd name="connsiteX4" fmla="*/ 110109 w 164877"/>
                <a:gd name="connsiteY4" fmla="*/ 16764 h 198405"/>
                <a:gd name="connsiteX5" fmla="*/ 108299 w 164877"/>
                <a:gd name="connsiteY5" fmla="*/ 30575 h 198405"/>
                <a:gd name="connsiteX6" fmla="*/ 104680 w 164877"/>
                <a:gd name="connsiteY6" fmla="*/ 46673 h 198405"/>
                <a:gd name="connsiteX7" fmla="*/ 108299 w 164877"/>
                <a:gd name="connsiteY7" fmla="*/ 62770 h 198405"/>
                <a:gd name="connsiteX8" fmla="*/ 119253 w 164877"/>
                <a:gd name="connsiteY8" fmla="*/ 66199 h 198405"/>
                <a:gd name="connsiteX9" fmla="*/ 121063 w 164877"/>
                <a:gd name="connsiteY9" fmla="*/ 81153 h 198405"/>
                <a:gd name="connsiteX10" fmla="*/ 116205 w 164877"/>
                <a:gd name="connsiteY10" fmla="*/ 85725 h 198405"/>
                <a:gd name="connsiteX11" fmla="*/ 119825 w 164877"/>
                <a:gd name="connsiteY11" fmla="*/ 100679 h 198405"/>
                <a:gd name="connsiteX12" fmla="*/ 132588 w 164877"/>
                <a:gd name="connsiteY12" fmla="*/ 112205 h 198405"/>
                <a:gd name="connsiteX13" fmla="*/ 143542 w 164877"/>
                <a:gd name="connsiteY13" fmla="*/ 119063 h 198405"/>
                <a:gd name="connsiteX14" fmla="*/ 150209 w 164877"/>
                <a:gd name="connsiteY14" fmla="*/ 131636 h 198405"/>
                <a:gd name="connsiteX15" fmla="*/ 152019 w 164877"/>
                <a:gd name="connsiteY15" fmla="*/ 143066 h 198405"/>
                <a:gd name="connsiteX16" fmla="*/ 163640 w 164877"/>
                <a:gd name="connsiteY16" fmla="*/ 157925 h 198405"/>
                <a:gd name="connsiteX17" fmla="*/ 164878 w 164877"/>
                <a:gd name="connsiteY17" fmla="*/ 180785 h 198405"/>
                <a:gd name="connsiteX18" fmla="*/ 163068 w 164877"/>
                <a:gd name="connsiteY18" fmla="*/ 195644 h 198405"/>
                <a:gd name="connsiteX19" fmla="*/ 154496 w 164877"/>
                <a:gd name="connsiteY19" fmla="*/ 192215 h 198405"/>
                <a:gd name="connsiteX20" fmla="*/ 128873 w 164877"/>
                <a:gd name="connsiteY20" fmla="*/ 171641 h 198405"/>
                <a:gd name="connsiteX21" fmla="*/ 122777 w 164877"/>
                <a:gd name="connsiteY21" fmla="*/ 163640 h 198405"/>
                <a:gd name="connsiteX22" fmla="*/ 111157 w 164877"/>
                <a:gd name="connsiteY22" fmla="*/ 168212 h 198405"/>
                <a:gd name="connsiteX23" fmla="*/ 115443 w 164877"/>
                <a:gd name="connsiteY23" fmla="*/ 176213 h 198405"/>
                <a:gd name="connsiteX24" fmla="*/ 119063 w 164877"/>
                <a:gd name="connsiteY24" fmla="*/ 189929 h 198405"/>
                <a:gd name="connsiteX25" fmla="*/ 117253 w 164877"/>
                <a:gd name="connsiteY25" fmla="*/ 196787 h 198405"/>
                <a:gd name="connsiteX26" fmla="*/ 111157 w 164877"/>
                <a:gd name="connsiteY26" fmla="*/ 195644 h 198405"/>
                <a:gd name="connsiteX27" fmla="*/ 103251 w 164877"/>
                <a:gd name="connsiteY27" fmla="*/ 186500 h 198405"/>
                <a:gd name="connsiteX28" fmla="*/ 91059 w 164877"/>
                <a:gd name="connsiteY28" fmla="*/ 186500 h 198405"/>
                <a:gd name="connsiteX29" fmla="*/ 80677 w 164877"/>
                <a:gd name="connsiteY29" fmla="*/ 185356 h 198405"/>
                <a:gd name="connsiteX30" fmla="*/ 74200 w 164877"/>
                <a:gd name="connsiteY30" fmla="*/ 198406 h 198405"/>
                <a:gd name="connsiteX31" fmla="*/ 70295 w 164877"/>
                <a:gd name="connsiteY31" fmla="*/ 194786 h 198405"/>
                <a:gd name="connsiteX32" fmla="*/ 54007 w 164877"/>
                <a:gd name="connsiteY32" fmla="*/ 189738 h 198405"/>
                <a:gd name="connsiteX33" fmla="*/ 49149 w 164877"/>
                <a:gd name="connsiteY33" fmla="*/ 195739 h 198405"/>
                <a:gd name="connsiteX34" fmla="*/ 46292 w 164877"/>
                <a:gd name="connsiteY34" fmla="*/ 182975 h 198405"/>
                <a:gd name="connsiteX35" fmla="*/ 44767 w 164877"/>
                <a:gd name="connsiteY35" fmla="*/ 182213 h 198405"/>
                <a:gd name="connsiteX36" fmla="*/ 43339 w 164877"/>
                <a:gd name="connsiteY36" fmla="*/ 181928 h 198405"/>
                <a:gd name="connsiteX37" fmla="*/ 41338 w 164877"/>
                <a:gd name="connsiteY37" fmla="*/ 183071 h 198405"/>
                <a:gd name="connsiteX38" fmla="*/ 38576 w 164877"/>
                <a:gd name="connsiteY38" fmla="*/ 183452 h 198405"/>
                <a:gd name="connsiteX39" fmla="*/ 32004 w 164877"/>
                <a:gd name="connsiteY39" fmla="*/ 180880 h 198405"/>
                <a:gd name="connsiteX40" fmla="*/ 28766 w 164877"/>
                <a:gd name="connsiteY40" fmla="*/ 177356 h 198405"/>
                <a:gd name="connsiteX41" fmla="*/ 26670 w 164877"/>
                <a:gd name="connsiteY41" fmla="*/ 173165 h 198405"/>
                <a:gd name="connsiteX42" fmla="*/ 25717 w 164877"/>
                <a:gd name="connsiteY42" fmla="*/ 164306 h 198405"/>
                <a:gd name="connsiteX43" fmla="*/ 23527 w 164877"/>
                <a:gd name="connsiteY43" fmla="*/ 153162 h 198405"/>
                <a:gd name="connsiteX44" fmla="*/ 22479 w 164877"/>
                <a:gd name="connsiteY44" fmla="*/ 143637 h 198405"/>
                <a:gd name="connsiteX45" fmla="*/ 21812 w 164877"/>
                <a:gd name="connsiteY45" fmla="*/ 134684 h 198405"/>
                <a:gd name="connsiteX46" fmla="*/ 22384 w 164877"/>
                <a:gd name="connsiteY46" fmla="*/ 130778 h 198405"/>
                <a:gd name="connsiteX47" fmla="*/ 21146 w 164877"/>
                <a:gd name="connsiteY47" fmla="*/ 127921 h 198405"/>
                <a:gd name="connsiteX48" fmla="*/ 17812 w 164877"/>
                <a:gd name="connsiteY48" fmla="*/ 124206 h 198405"/>
                <a:gd name="connsiteX49" fmla="*/ 14192 w 164877"/>
                <a:gd name="connsiteY49" fmla="*/ 122492 h 198405"/>
                <a:gd name="connsiteX50" fmla="*/ 5715 w 164877"/>
                <a:gd name="connsiteY50" fmla="*/ 122015 h 198405"/>
                <a:gd name="connsiteX51" fmla="*/ 0 w 164877"/>
                <a:gd name="connsiteY51" fmla="*/ 63913 h 198405"/>
                <a:gd name="connsiteX52" fmla="*/ 0 w 164877"/>
                <a:gd name="connsiteY52" fmla="*/ 62675 h 198405"/>
                <a:gd name="connsiteX53" fmla="*/ 8096 w 164877"/>
                <a:gd name="connsiteY53" fmla="*/ 55150 h 198405"/>
                <a:gd name="connsiteX54" fmla="*/ 17526 w 164877"/>
                <a:gd name="connsiteY54" fmla="*/ 49054 h 198405"/>
                <a:gd name="connsiteX55" fmla="*/ 47435 w 164877"/>
                <a:gd name="connsiteY55" fmla="*/ 44672 h 198405"/>
                <a:gd name="connsiteX56" fmla="*/ 57341 w 164877"/>
                <a:gd name="connsiteY56" fmla="*/ 37719 h 198405"/>
                <a:gd name="connsiteX57" fmla="*/ 80677 w 164877"/>
                <a:gd name="connsiteY57" fmla="*/ 13621 h 198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64877" h="198405">
                  <a:moveTo>
                    <a:pt x="81153" y="13811"/>
                  </a:moveTo>
                  <a:lnTo>
                    <a:pt x="86582" y="8192"/>
                  </a:lnTo>
                  <a:lnTo>
                    <a:pt x="95060" y="2762"/>
                  </a:lnTo>
                  <a:lnTo>
                    <a:pt x="104204" y="0"/>
                  </a:lnTo>
                  <a:lnTo>
                    <a:pt x="110109" y="16764"/>
                  </a:lnTo>
                  <a:lnTo>
                    <a:pt x="108299" y="30575"/>
                  </a:lnTo>
                  <a:lnTo>
                    <a:pt x="104680" y="46673"/>
                  </a:lnTo>
                  <a:lnTo>
                    <a:pt x="108299" y="62770"/>
                  </a:lnTo>
                  <a:lnTo>
                    <a:pt x="119253" y="66199"/>
                  </a:lnTo>
                  <a:lnTo>
                    <a:pt x="121063" y="81153"/>
                  </a:lnTo>
                  <a:lnTo>
                    <a:pt x="116205" y="85725"/>
                  </a:lnTo>
                  <a:lnTo>
                    <a:pt x="119825" y="100679"/>
                  </a:lnTo>
                  <a:lnTo>
                    <a:pt x="132588" y="112205"/>
                  </a:lnTo>
                  <a:lnTo>
                    <a:pt x="143542" y="119063"/>
                  </a:lnTo>
                  <a:lnTo>
                    <a:pt x="150209" y="131636"/>
                  </a:lnTo>
                  <a:lnTo>
                    <a:pt x="152019" y="143066"/>
                  </a:lnTo>
                  <a:lnTo>
                    <a:pt x="163640" y="157925"/>
                  </a:lnTo>
                  <a:lnTo>
                    <a:pt x="164878" y="180785"/>
                  </a:lnTo>
                  <a:lnTo>
                    <a:pt x="163068" y="195644"/>
                  </a:lnTo>
                  <a:lnTo>
                    <a:pt x="154496" y="192215"/>
                  </a:lnTo>
                  <a:lnTo>
                    <a:pt x="128873" y="171641"/>
                  </a:lnTo>
                  <a:lnTo>
                    <a:pt x="122777" y="163640"/>
                  </a:lnTo>
                  <a:lnTo>
                    <a:pt x="111157" y="168212"/>
                  </a:lnTo>
                  <a:lnTo>
                    <a:pt x="115443" y="176213"/>
                  </a:lnTo>
                  <a:lnTo>
                    <a:pt x="119063" y="189929"/>
                  </a:lnTo>
                  <a:lnTo>
                    <a:pt x="117253" y="196787"/>
                  </a:lnTo>
                  <a:lnTo>
                    <a:pt x="111157" y="195644"/>
                  </a:lnTo>
                  <a:lnTo>
                    <a:pt x="103251" y="186500"/>
                  </a:lnTo>
                  <a:lnTo>
                    <a:pt x="91059" y="186500"/>
                  </a:lnTo>
                  <a:lnTo>
                    <a:pt x="80677" y="185356"/>
                  </a:lnTo>
                  <a:lnTo>
                    <a:pt x="74200" y="198406"/>
                  </a:lnTo>
                  <a:lnTo>
                    <a:pt x="70295" y="194786"/>
                  </a:lnTo>
                  <a:lnTo>
                    <a:pt x="54007" y="189738"/>
                  </a:lnTo>
                  <a:lnTo>
                    <a:pt x="49149" y="195739"/>
                  </a:lnTo>
                  <a:lnTo>
                    <a:pt x="46292" y="182975"/>
                  </a:lnTo>
                  <a:lnTo>
                    <a:pt x="44767" y="182213"/>
                  </a:lnTo>
                  <a:lnTo>
                    <a:pt x="43339" y="181928"/>
                  </a:lnTo>
                  <a:lnTo>
                    <a:pt x="41338" y="183071"/>
                  </a:lnTo>
                  <a:lnTo>
                    <a:pt x="38576" y="183452"/>
                  </a:lnTo>
                  <a:lnTo>
                    <a:pt x="32004" y="180880"/>
                  </a:lnTo>
                  <a:lnTo>
                    <a:pt x="28766" y="177356"/>
                  </a:lnTo>
                  <a:lnTo>
                    <a:pt x="26670" y="173165"/>
                  </a:lnTo>
                  <a:lnTo>
                    <a:pt x="25717" y="164306"/>
                  </a:lnTo>
                  <a:lnTo>
                    <a:pt x="23527" y="153162"/>
                  </a:lnTo>
                  <a:lnTo>
                    <a:pt x="22479" y="143637"/>
                  </a:lnTo>
                  <a:lnTo>
                    <a:pt x="21812" y="134684"/>
                  </a:lnTo>
                  <a:lnTo>
                    <a:pt x="22384" y="130778"/>
                  </a:lnTo>
                  <a:lnTo>
                    <a:pt x="21146" y="127921"/>
                  </a:lnTo>
                  <a:lnTo>
                    <a:pt x="17812" y="124206"/>
                  </a:lnTo>
                  <a:lnTo>
                    <a:pt x="14192" y="122492"/>
                  </a:lnTo>
                  <a:lnTo>
                    <a:pt x="5715" y="122015"/>
                  </a:lnTo>
                  <a:lnTo>
                    <a:pt x="0" y="63913"/>
                  </a:lnTo>
                  <a:lnTo>
                    <a:pt x="0" y="62675"/>
                  </a:lnTo>
                  <a:cubicBezTo>
                    <a:pt x="0" y="62675"/>
                    <a:pt x="8096" y="55150"/>
                    <a:pt x="8096" y="55150"/>
                  </a:cubicBezTo>
                  <a:lnTo>
                    <a:pt x="17526" y="49054"/>
                  </a:lnTo>
                  <a:lnTo>
                    <a:pt x="47435" y="44672"/>
                  </a:lnTo>
                  <a:lnTo>
                    <a:pt x="57341" y="37719"/>
                  </a:lnTo>
                  <a:lnTo>
                    <a:pt x="80677" y="13621"/>
                  </a:lnTo>
                </a:path>
              </a:pathLst>
            </a:custGeom>
            <a:grpFill/>
            <a:ln w="2381" cap="sq">
              <a:noFill/>
              <a:prstDash val="solid"/>
              <a:bevel/>
            </a:ln>
          </p:spPr>
          <p:txBody>
            <a:bodyPr rtlCol="0" anchor="ctr"/>
            <a:lstStyle/>
            <a:p>
              <a:endParaRPr lang="cs-CZ"/>
            </a:p>
          </p:txBody>
        </p:sp>
        <p:sp>
          <p:nvSpPr>
            <p:cNvPr id="171" name="Freeform: Shape 170">
              <a:extLst>
                <a:ext uri="{FF2B5EF4-FFF2-40B4-BE49-F238E27FC236}">
                  <a16:creationId xmlns:a16="http://schemas.microsoft.com/office/drawing/2014/main" id="{65031E68-2484-AD4E-A877-F8E385CC128E}"/>
                </a:ext>
              </a:extLst>
            </p:cNvPr>
            <p:cNvSpPr/>
            <p:nvPr/>
          </p:nvSpPr>
          <p:spPr>
            <a:xfrm>
              <a:off x="12979906" y="7264650"/>
              <a:ext cx="204311" cy="277558"/>
            </a:xfrm>
            <a:custGeom>
              <a:avLst/>
              <a:gdLst>
                <a:gd name="connsiteX0" fmla="*/ 94298 w 204311"/>
                <a:gd name="connsiteY0" fmla="*/ 11335 h 277558"/>
                <a:gd name="connsiteX1" fmla="*/ 98393 w 204311"/>
                <a:gd name="connsiteY1" fmla="*/ 7525 h 277558"/>
                <a:gd name="connsiteX2" fmla="*/ 98393 w 204311"/>
                <a:gd name="connsiteY2" fmla="*/ 8763 h 277558"/>
                <a:gd name="connsiteX3" fmla="*/ 104204 w 204311"/>
                <a:gd name="connsiteY3" fmla="*/ 66866 h 277558"/>
                <a:gd name="connsiteX4" fmla="*/ 112681 w 204311"/>
                <a:gd name="connsiteY4" fmla="*/ 67342 h 277558"/>
                <a:gd name="connsiteX5" fmla="*/ 116300 w 204311"/>
                <a:gd name="connsiteY5" fmla="*/ 69056 h 277558"/>
                <a:gd name="connsiteX6" fmla="*/ 119634 w 204311"/>
                <a:gd name="connsiteY6" fmla="*/ 72771 h 277558"/>
                <a:gd name="connsiteX7" fmla="*/ 120872 w 204311"/>
                <a:gd name="connsiteY7" fmla="*/ 75629 h 277558"/>
                <a:gd name="connsiteX8" fmla="*/ 120301 w 204311"/>
                <a:gd name="connsiteY8" fmla="*/ 79534 h 277558"/>
                <a:gd name="connsiteX9" fmla="*/ 120968 w 204311"/>
                <a:gd name="connsiteY9" fmla="*/ 88487 h 277558"/>
                <a:gd name="connsiteX10" fmla="*/ 122015 w 204311"/>
                <a:gd name="connsiteY10" fmla="*/ 98012 h 277558"/>
                <a:gd name="connsiteX11" fmla="*/ 124206 w 204311"/>
                <a:gd name="connsiteY11" fmla="*/ 109157 h 277558"/>
                <a:gd name="connsiteX12" fmla="*/ 125158 w 204311"/>
                <a:gd name="connsiteY12" fmla="*/ 118015 h 277558"/>
                <a:gd name="connsiteX13" fmla="*/ 127254 w 204311"/>
                <a:gd name="connsiteY13" fmla="*/ 122206 h 277558"/>
                <a:gd name="connsiteX14" fmla="*/ 130493 w 204311"/>
                <a:gd name="connsiteY14" fmla="*/ 125730 h 277558"/>
                <a:gd name="connsiteX15" fmla="*/ 137065 w 204311"/>
                <a:gd name="connsiteY15" fmla="*/ 128302 h 277558"/>
                <a:gd name="connsiteX16" fmla="*/ 139827 w 204311"/>
                <a:gd name="connsiteY16" fmla="*/ 127921 h 277558"/>
                <a:gd name="connsiteX17" fmla="*/ 141827 w 204311"/>
                <a:gd name="connsiteY17" fmla="*/ 126778 h 277558"/>
                <a:gd name="connsiteX18" fmla="*/ 143256 w 204311"/>
                <a:gd name="connsiteY18" fmla="*/ 127064 h 277558"/>
                <a:gd name="connsiteX19" fmla="*/ 144780 w 204311"/>
                <a:gd name="connsiteY19" fmla="*/ 127826 h 277558"/>
                <a:gd name="connsiteX20" fmla="*/ 147638 w 204311"/>
                <a:gd name="connsiteY20" fmla="*/ 140589 h 277558"/>
                <a:gd name="connsiteX21" fmla="*/ 152495 w 204311"/>
                <a:gd name="connsiteY21" fmla="*/ 134588 h 277558"/>
                <a:gd name="connsiteX22" fmla="*/ 168783 w 204311"/>
                <a:gd name="connsiteY22" fmla="*/ 139637 h 277558"/>
                <a:gd name="connsiteX23" fmla="*/ 172688 w 204311"/>
                <a:gd name="connsiteY23" fmla="*/ 143256 h 277558"/>
                <a:gd name="connsiteX24" fmla="*/ 195929 w 204311"/>
                <a:gd name="connsiteY24" fmla="*/ 164687 h 277558"/>
                <a:gd name="connsiteX25" fmla="*/ 198406 w 204311"/>
                <a:gd name="connsiteY25" fmla="*/ 174212 h 277558"/>
                <a:gd name="connsiteX26" fmla="*/ 204311 w 204311"/>
                <a:gd name="connsiteY26" fmla="*/ 187452 h 277558"/>
                <a:gd name="connsiteX27" fmla="*/ 201263 w 204311"/>
                <a:gd name="connsiteY27" fmla="*/ 190881 h 277558"/>
                <a:gd name="connsiteX28" fmla="*/ 199835 w 204311"/>
                <a:gd name="connsiteY28" fmla="*/ 193834 h 277558"/>
                <a:gd name="connsiteX29" fmla="*/ 197072 w 204311"/>
                <a:gd name="connsiteY29" fmla="*/ 198120 h 277558"/>
                <a:gd name="connsiteX30" fmla="*/ 195453 w 204311"/>
                <a:gd name="connsiteY30" fmla="*/ 202978 h 277558"/>
                <a:gd name="connsiteX31" fmla="*/ 195263 w 204311"/>
                <a:gd name="connsiteY31" fmla="*/ 209264 h 277558"/>
                <a:gd name="connsiteX32" fmla="*/ 197739 w 204311"/>
                <a:gd name="connsiteY32" fmla="*/ 215837 h 277558"/>
                <a:gd name="connsiteX33" fmla="*/ 201740 w 204311"/>
                <a:gd name="connsiteY33" fmla="*/ 222123 h 277558"/>
                <a:gd name="connsiteX34" fmla="*/ 198977 w 204311"/>
                <a:gd name="connsiteY34" fmla="*/ 232029 h 277558"/>
                <a:gd name="connsiteX35" fmla="*/ 202311 w 204311"/>
                <a:gd name="connsiteY35" fmla="*/ 247650 h 277558"/>
                <a:gd name="connsiteX36" fmla="*/ 191929 w 204311"/>
                <a:gd name="connsiteY36" fmla="*/ 246316 h 277558"/>
                <a:gd name="connsiteX37" fmla="*/ 190024 w 204311"/>
                <a:gd name="connsiteY37" fmla="*/ 248221 h 277558"/>
                <a:gd name="connsiteX38" fmla="*/ 190405 w 204311"/>
                <a:gd name="connsiteY38" fmla="*/ 251365 h 277558"/>
                <a:gd name="connsiteX39" fmla="*/ 195263 w 204311"/>
                <a:gd name="connsiteY39" fmla="*/ 258223 h 277558"/>
                <a:gd name="connsiteX40" fmla="*/ 198120 w 204311"/>
                <a:gd name="connsiteY40" fmla="*/ 261557 h 277558"/>
                <a:gd name="connsiteX41" fmla="*/ 198692 w 204311"/>
                <a:gd name="connsiteY41" fmla="*/ 264700 h 277558"/>
                <a:gd name="connsiteX42" fmla="*/ 192119 w 204311"/>
                <a:gd name="connsiteY42" fmla="*/ 267081 h 277558"/>
                <a:gd name="connsiteX43" fmla="*/ 189738 w 204311"/>
                <a:gd name="connsiteY43" fmla="*/ 268891 h 277558"/>
                <a:gd name="connsiteX44" fmla="*/ 182309 w 204311"/>
                <a:gd name="connsiteY44" fmla="*/ 267557 h 277558"/>
                <a:gd name="connsiteX45" fmla="*/ 178689 w 204311"/>
                <a:gd name="connsiteY45" fmla="*/ 264414 h 277558"/>
                <a:gd name="connsiteX46" fmla="*/ 176594 w 204311"/>
                <a:gd name="connsiteY46" fmla="*/ 261461 h 277558"/>
                <a:gd name="connsiteX47" fmla="*/ 175165 w 204311"/>
                <a:gd name="connsiteY47" fmla="*/ 259175 h 277558"/>
                <a:gd name="connsiteX48" fmla="*/ 173260 w 204311"/>
                <a:gd name="connsiteY48" fmla="*/ 258604 h 277558"/>
                <a:gd name="connsiteX49" fmla="*/ 168021 w 204311"/>
                <a:gd name="connsiteY49" fmla="*/ 260033 h 277558"/>
                <a:gd name="connsiteX50" fmla="*/ 165830 w 204311"/>
                <a:gd name="connsiteY50" fmla="*/ 260223 h 277558"/>
                <a:gd name="connsiteX51" fmla="*/ 162497 w 204311"/>
                <a:gd name="connsiteY51" fmla="*/ 259747 h 277558"/>
                <a:gd name="connsiteX52" fmla="*/ 152686 w 204311"/>
                <a:gd name="connsiteY52" fmla="*/ 265652 h 277558"/>
                <a:gd name="connsiteX53" fmla="*/ 140303 w 204311"/>
                <a:gd name="connsiteY53" fmla="*/ 277559 h 277558"/>
                <a:gd name="connsiteX54" fmla="*/ 119634 w 204311"/>
                <a:gd name="connsiteY54" fmla="*/ 268415 h 277558"/>
                <a:gd name="connsiteX55" fmla="*/ 123920 w 204311"/>
                <a:gd name="connsiteY55" fmla="*/ 248221 h 277558"/>
                <a:gd name="connsiteX56" fmla="*/ 100108 w 204311"/>
                <a:gd name="connsiteY56" fmla="*/ 238125 h 277558"/>
                <a:gd name="connsiteX57" fmla="*/ 97441 w 204311"/>
                <a:gd name="connsiteY57" fmla="*/ 213836 h 277558"/>
                <a:gd name="connsiteX58" fmla="*/ 99060 w 204311"/>
                <a:gd name="connsiteY58" fmla="*/ 199644 h 277558"/>
                <a:gd name="connsiteX59" fmla="*/ 87725 w 204311"/>
                <a:gd name="connsiteY59" fmla="*/ 189547 h 277558"/>
                <a:gd name="connsiteX60" fmla="*/ 67723 w 204311"/>
                <a:gd name="connsiteY60" fmla="*/ 190595 h 277558"/>
                <a:gd name="connsiteX61" fmla="*/ 52007 w 204311"/>
                <a:gd name="connsiteY61" fmla="*/ 177451 h 277558"/>
                <a:gd name="connsiteX62" fmla="*/ 46006 w 204311"/>
                <a:gd name="connsiteY62" fmla="*/ 169355 h 277558"/>
                <a:gd name="connsiteX63" fmla="*/ 29242 w 204311"/>
                <a:gd name="connsiteY63" fmla="*/ 162211 h 277558"/>
                <a:gd name="connsiteX64" fmla="*/ 9239 w 204311"/>
                <a:gd name="connsiteY64" fmla="*/ 88964 h 277558"/>
                <a:gd name="connsiteX65" fmla="*/ 0 w 204311"/>
                <a:gd name="connsiteY65" fmla="*/ 80772 h 277558"/>
                <a:gd name="connsiteX66" fmla="*/ 6477 w 204311"/>
                <a:gd name="connsiteY66" fmla="*/ 71628 h 277558"/>
                <a:gd name="connsiteX67" fmla="*/ 5429 w 204311"/>
                <a:gd name="connsiteY67" fmla="*/ 52292 h 277558"/>
                <a:gd name="connsiteX68" fmla="*/ 3239 w 204311"/>
                <a:gd name="connsiteY68" fmla="*/ 33909 h 277558"/>
                <a:gd name="connsiteX69" fmla="*/ 19431 w 204311"/>
                <a:gd name="connsiteY69" fmla="*/ 35433 h 277558"/>
                <a:gd name="connsiteX70" fmla="*/ 43053 w 204311"/>
                <a:gd name="connsiteY70" fmla="*/ 32766 h 277558"/>
                <a:gd name="connsiteX71" fmla="*/ 49149 w 204311"/>
                <a:gd name="connsiteY71" fmla="*/ 27908 h 277558"/>
                <a:gd name="connsiteX72" fmla="*/ 56293 w 204311"/>
                <a:gd name="connsiteY72" fmla="*/ 7620 h 277558"/>
                <a:gd name="connsiteX73" fmla="*/ 62008 w 204311"/>
                <a:gd name="connsiteY73" fmla="*/ 0 h 277558"/>
                <a:gd name="connsiteX74" fmla="*/ 74200 w 204311"/>
                <a:gd name="connsiteY74" fmla="*/ 3143 h 277558"/>
                <a:gd name="connsiteX75" fmla="*/ 84296 w 204311"/>
                <a:gd name="connsiteY75" fmla="*/ 9716 h 277558"/>
                <a:gd name="connsiteX76" fmla="*/ 94393 w 204311"/>
                <a:gd name="connsiteY76" fmla="*/ 11430 h 277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204311" h="277558">
                  <a:moveTo>
                    <a:pt x="94298" y="11335"/>
                  </a:moveTo>
                  <a:lnTo>
                    <a:pt x="98393" y="7525"/>
                  </a:lnTo>
                  <a:lnTo>
                    <a:pt x="98393" y="8763"/>
                  </a:lnTo>
                  <a:cubicBezTo>
                    <a:pt x="98393" y="8763"/>
                    <a:pt x="104204" y="66866"/>
                    <a:pt x="104204" y="66866"/>
                  </a:cubicBezTo>
                  <a:lnTo>
                    <a:pt x="112681" y="67342"/>
                  </a:lnTo>
                  <a:lnTo>
                    <a:pt x="116300" y="69056"/>
                  </a:lnTo>
                  <a:lnTo>
                    <a:pt x="119634" y="72771"/>
                  </a:lnTo>
                  <a:lnTo>
                    <a:pt x="120872" y="75629"/>
                  </a:lnTo>
                  <a:lnTo>
                    <a:pt x="120301" y="79534"/>
                  </a:lnTo>
                  <a:lnTo>
                    <a:pt x="120968" y="88487"/>
                  </a:lnTo>
                  <a:lnTo>
                    <a:pt x="122015" y="98012"/>
                  </a:lnTo>
                  <a:lnTo>
                    <a:pt x="124206" y="109157"/>
                  </a:lnTo>
                  <a:lnTo>
                    <a:pt x="125158" y="118015"/>
                  </a:lnTo>
                  <a:lnTo>
                    <a:pt x="127254" y="122206"/>
                  </a:lnTo>
                  <a:lnTo>
                    <a:pt x="130493" y="125730"/>
                  </a:lnTo>
                  <a:lnTo>
                    <a:pt x="137065" y="128302"/>
                  </a:lnTo>
                  <a:lnTo>
                    <a:pt x="139827" y="127921"/>
                  </a:lnTo>
                  <a:lnTo>
                    <a:pt x="141827" y="126778"/>
                  </a:lnTo>
                  <a:lnTo>
                    <a:pt x="143256" y="127064"/>
                  </a:lnTo>
                  <a:lnTo>
                    <a:pt x="144780" y="127826"/>
                  </a:lnTo>
                  <a:lnTo>
                    <a:pt x="147638" y="140589"/>
                  </a:lnTo>
                  <a:lnTo>
                    <a:pt x="152495" y="134588"/>
                  </a:lnTo>
                  <a:lnTo>
                    <a:pt x="168783" y="139637"/>
                  </a:lnTo>
                  <a:lnTo>
                    <a:pt x="172688" y="143256"/>
                  </a:lnTo>
                  <a:lnTo>
                    <a:pt x="195929" y="164687"/>
                  </a:lnTo>
                  <a:lnTo>
                    <a:pt x="198406" y="174212"/>
                  </a:lnTo>
                  <a:lnTo>
                    <a:pt x="204311" y="187452"/>
                  </a:lnTo>
                  <a:lnTo>
                    <a:pt x="201263" y="190881"/>
                  </a:lnTo>
                  <a:lnTo>
                    <a:pt x="199835" y="193834"/>
                  </a:lnTo>
                  <a:lnTo>
                    <a:pt x="197072" y="198120"/>
                  </a:lnTo>
                  <a:lnTo>
                    <a:pt x="195453" y="202978"/>
                  </a:lnTo>
                  <a:lnTo>
                    <a:pt x="195263" y="209264"/>
                  </a:lnTo>
                  <a:lnTo>
                    <a:pt x="197739" y="215837"/>
                  </a:lnTo>
                  <a:lnTo>
                    <a:pt x="201740" y="222123"/>
                  </a:lnTo>
                  <a:lnTo>
                    <a:pt x="198977" y="232029"/>
                  </a:lnTo>
                  <a:lnTo>
                    <a:pt x="202311" y="247650"/>
                  </a:lnTo>
                  <a:lnTo>
                    <a:pt x="191929" y="246316"/>
                  </a:lnTo>
                  <a:lnTo>
                    <a:pt x="190024" y="248221"/>
                  </a:lnTo>
                  <a:lnTo>
                    <a:pt x="190405" y="251365"/>
                  </a:lnTo>
                  <a:lnTo>
                    <a:pt x="195263" y="258223"/>
                  </a:lnTo>
                  <a:lnTo>
                    <a:pt x="198120" y="261557"/>
                  </a:lnTo>
                  <a:lnTo>
                    <a:pt x="198692" y="264700"/>
                  </a:lnTo>
                  <a:lnTo>
                    <a:pt x="192119" y="267081"/>
                  </a:lnTo>
                  <a:lnTo>
                    <a:pt x="189738" y="268891"/>
                  </a:lnTo>
                  <a:lnTo>
                    <a:pt x="182309" y="267557"/>
                  </a:lnTo>
                  <a:lnTo>
                    <a:pt x="178689" y="264414"/>
                  </a:lnTo>
                  <a:lnTo>
                    <a:pt x="176594" y="261461"/>
                  </a:lnTo>
                  <a:lnTo>
                    <a:pt x="175165" y="259175"/>
                  </a:lnTo>
                  <a:lnTo>
                    <a:pt x="173260" y="258604"/>
                  </a:lnTo>
                  <a:lnTo>
                    <a:pt x="168021" y="260033"/>
                  </a:lnTo>
                  <a:lnTo>
                    <a:pt x="165830" y="260223"/>
                  </a:lnTo>
                  <a:lnTo>
                    <a:pt x="162497" y="259747"/>
                  </a:lnTo>
                  <a:lnTo>
                    <a:pt x="152686" y="265652"/>
                  </a:lnTo>
                  <a:lnTo>
                    <a:pt x="140303" y="277559"/>
                  </a:lnTo>
                  <a:lnTo>
                    <a:pt x="119634" y="268415"/>
                  </a:lnTo>
                  <a:lnTo>
                    <a:pt x="123920" y="248221"/>
                  </a:lnTo>
                  <a:lnTo>
                    <a:pt x="100108" y="238125"/>
                  </a:lnTo>
                  <a:lnTo>
                    <a:pt x="97441" y="213836"/>
                  </a:lnTo>
                  <a:lnTo>
                    <a:pt x="99060" y="199644"/>
                  </a:lnTo>
                  <a:lnTo>
                    <a:pt x="87725" y="189547"/>
                  </a:lnTo>
                  <a:lnTo>
                    <a:pt x="67723" y="190595"/>
                  </a:lnTo>
                  <a:lnTo>
                    <a:pt x="52007" y="177451"/>
                  </a:lnTo>
                  <a:lnTo>
                    <a:pt x="46006" y="169355"/>
                  </a:lnTo>
                  <a:lnTo>
                    <a:pt x="29242" y="162211"/>
                  </a:lnTo>
                  <a:lnTo>
                    <a:pt x="9239" y="88964"/>
                  </a:lnTo>
                  <a:lnTo>
                    <a:pt x="0" y="80772"/>
                  </a:lnTo>
                  <a:lnTo>
                    <a:pt x="6477" y="71628"/>
                  </a:lnTo>
                  <a:lnTo>
                    <a:pt x="5429" y="52292"/>
                  </a:lnTo>
                  <a:lnTo>
                    <a:pt x="3239" y="33909"/>
                  </a:lnTo>
                  <a:lnTo>
                    <a:pt x="19431" y="35433"/>
                  </a:lnTo>
                  <a:lnTo>
                    <a:pt x="43053" y="32766"/>
                  </a:lnTo>
                  <a:lnTo>
                    <a:pt x="49149" y="27908"/>
                  </a:lnTo>
                  <a:lnTo>
                    <a:pt x="56293" y="7620"/>
                  </a:lnTo>
                  <a:lnTo>
                    <a:pt x="62008" y="0"/>
                  </a:lnTo>
                  <a:lnTo>
                    <a:pt x="74200" y="3143"/>
                  </a:lnTo>
                  <a:lnTo>
                    <a:pt x="84296" y="9716"/>
                  </a:lnTo>
                  <a:lnTo>
                    <a:pt x="94393" y="11430"/>
                  </a:lnTo>
                </a:path>
              </a:pathLst>
            </a:custGeom>
            <a:grpFill/>
            <a:ln w="2381" cap="sq">
              <a:noFill/>
              <a:prstDash val="solid"/>
              <a:bevel/>
            </a:ln>
          </p:spPr>
          <p:txBody>
            <a:bodyPr rtlCol="0" anchor="ctr"/>
            <a:lstStyle/>
            <a:p>
              <a:endParaRPr lang="cs-CZ"/>
            </a:p>
          </p:txBody>
        </p:sp>
        <p:sp>
          <p:nvSpPr>
            <p:cNvPr id="172" name="Freeform: Shape 171">
              <a:extLst>
                <a:ext uri="{FF2B5EF4-FFF2-40B4-BE49-F238E27FC236}">
                  <a16:creationId xmlns:a16="http://schemas.microsoft.com/office/drawing/2014/main" id="{9F7B5823-298B-B106-438D-5339A4738DA3}"/>
                </a:ext>
              </a:extLst>
            </p:cNvPr>
            <p:cNvSpPr/>
            <p:nvPr/>
          </p:nvSpPr>
          <p:spPr>
            <a:xfrm>
              <a:off x="13247368" y="7252459"/>
              <a:ext cx="172212" cy="160496"/>
            </a:xfrm>
            <a:custGeom>
              <a:avLst/>
              <a:gdLst>
                <a:gd name="connsiteX0" fmla="*/ 113062 w 172212"/>
                <a:gd name="connsiteY0" fmla="*/ 43148 h 160496"/>
                <a:gd name="connsiteX1" fmla="*/ 113062 w 172212"/>
                <a:gd name="connsiteY1" fmla="*/ 43910 h 160496"/>
                <a:gd name="connsiteX2" fmla="*/ 113538 w 172212"/>
                <a:gd name="connsiteY2" fmla="*/ 48768 h 160496"/>
                <a:gd name="connsiteX3" fmla="*/ 115633 w 172212"/>
                <a:gd name="connsiteY3" fmla="*/ 54578 h 160496"/>
                <a:gd name="connsiteX4" fmla="*/ 123825 w 172212"/>
                <a:gd name="connsiteY4" fmla="*/ 65437 h 160496"/>
                <a:gd name="connsiteX5" fmla="*/ 132398 w 172212"/>
                <a:gd name="connsiteY5" fmla="*/ 70771 h 160496"/>
                <a:gd name="connsiteX6" fmla="*/ 141542 w 172212"/>
                <a:gd name="connsiteY6" fmla="*/ 72199 h 160496"/>
                <a:gd name="connsiteX7" fmla="*/ 151257 w 172212"/>
                <a:gd name="connsiteY7" fmla="*/ 71342 h 160496"/>
                <a:gd name="connsiteX8" fmla="*/ 172212 w 172212"/>
                <a:gd name="connsiteY8" fmla="*/ 64103 h 160496"/>
                <a:gd name="connsiteX9" fmla="*/ 157544 w 172212"/>
                <a:gd name="connsiteY9" fmla="*/ 69247 h 160496"/>
                <a:gd name="connsiteX10" fmla="*/ 155353 w 172212"/>
                <a:gd name="connsiteY10" fmla="*/ 85154 h 160496"/>
                <a:gd name="connsiteX11" fmla="*/ 154115 w 172212"/>
                <a:gd name="connsiteY11" fmla="*/ 95441 h 160496"/>
                <a:gd name="connsiteX12" fmla="*/ 152591 w 172212"/>
                <a:gd name="connsiteY12" fmla="*/ 106394 h 160496"/>
                <a:gd name="connsiteX13" fmla="*/ 137065 w 172212"/>
                <a:gd name="connsiteY13" fmla="*/ 104680 h 160496"/>
                <a:gd name="connsiteX14" fmla="*/ 125158 w 172212"/>
                <a:gd name="connsiteY14" fmla="*/ 92202 h 160496"/>
                <a:gd name="connsiteX15" fmla="*/ 121825 w 172212"/>
                <a:gd name="connsiteY15" fmla="*/ 93917 h 160496"/>
                <a:gd name="connsiteX16" fmla="*/ 118586 w 172212"/>
                <a:gd name="connsiteY16" fmla="*/ 94583 h 160496"/>
                <a:gd name="connsiteX17" fmla="*/ 114967 w 172212"/>
                <a:gd name="connsiteY17" fmla="*/ 94583 h 160496"/>
                <a:gd name="connsiteX18" fmla="*/ 111062 w 172212"/>
                <a:gd name="connsiteY18" fmla="*/ 96774 h 160496"/>
                <a:gd name="connsiteX19" fmla="*/ 106585 w 172212"/>
                <a:gd name="connsiteY19" fmla="*/ 98584 h 160496"/>
                <a:gd name="connsiteX20" fmla="*/ 101632 w 172212"/>
                <a:gd name="connsiteY20" fmla="*/ 102584 h 160496"/>
                <a:gd name="connsiteX21" fmla="*/ 93440 w 172212"/>
                <a:gd name="connsiteY21" fmla="*/ 103061 h 160496"/>
                <a:gd name="connsiteX22" fmla="*/ 81058 w 172212"/>
                <a:gd name="connsiteY22" fmla="*/ 98870 h 160496"/>
                <a:gd name="connsiteX23" fmla="*/ 79820 w 172212"/>
                <a:gd name="connsiteY23" fmla="*/ 109156 h 160496"/>
                <a:gd name="connsiteX24" fmla="*/ 97250 w 172212"/>
                <a:gd name="connsiteY24" fmla="*/ 122873 h 160496"/>
                <a:gd name="connsiteX25" fmla="*/ 103061 w 172212"/>
                <a:gd name="connsiteY25" fmla="*/ 130969 h 160496"/>
                <a:gd name="connsiteX26" fmla="*/ 109442 w 172212"/>
                <a:gd name="connsiteY26" fmla="*/ 137732 h 160496"/>
                <a:gd name="connsiteX27" fmla="*/ 114491 w 172212"/>
                <a:gd name="connsiteY27" fmla="*/ 141065 h 160496"/>
                <a:gd name="connsiteX28" fmla="*/ 116396 w 172212"/>
                <a:gd name="connsiteY28" fmla="*/ 147257 h 160496"/>
                <a:gd name="connsiteX29" fmla="*/ 114395 w 172212"/>
                <a:gd name="connsiteY29" fmla="*/ 153067 h 160496"/>
                <a:gd name="connsiteX30" fmla="*/ 113538 w 172212"/>
                <a:gd name="connsiteY30" fmla="*/ 158306 h 160496"/>
                <a:gd name="connsiteX31" fmla="*/ 90773 w 172212"/>
                <a:gd name="connsiteY31" fmla="*/ 160496 h 160496"/>
                <a:gd name="connsiteX32" fmla="*/ 75533 w 172212"/>
                <a:gd name="connsiteY32" fmla="*/ 160496 h 160496"/>
                <a:gd name="connsiteX33" fmla="*/ 74295 w 172212"/>
                <a:gd name="connsiteY33" fmla="*/ 141065 h 160496"/>
                <a:gd name="connsiteX34" fmla="*/ 60865 w 172212"/>
                <a:gd name="connsiteY34" fmla="*/ 141065 h 160496"/>
                <a:gd name="connsiteX35" fmla="*/ 56579 w 172212"/>
                <a:gd name="connsiteY35" fmla="*/ 118205 h 160496"/>
                <a:gd name="connsiteX36" fmla="*/ 46863 w 172212"/>
                <a:gd name="connsiteY36" fmla="*/ 91821 h 160496"/>
                <a:gd name="connsiteX37" fmla="*/ 37719 w 172212"/>
                <a:gd name="connsiteY37" fmla="*/ 92964 h 160496"/>
                <a:gd name="connsiteX38" fmla="*/ 29242 w 172212"/>
                <a:gd name="connsiteY38" fmla="*/ 76867 h 160496"/>
                <a:gd name="connsiteX39" fmla="*/ 15240 w 172212"/>
                <a:gd name="connsiteY39" fmla="*/ 75724 h 160496"/>
                <a:gd name="connsiteX40" fmla="*/ 3620 w 172212"/>
                <a:gd name="connsiteY40" fmla="*/ 70009 h 160496"/>
                <a:gd name="connsiteX41" fmla="*/ 0 w 172212"/>
                <a:gd name="connsiteY41" fmla="*/ 51625 h 160496"/>
                <a:gd name="connsiteX42" fmla="*/ 6763 w 172212"/>
                <a:gd name="connsiteY42" fmla="*/ 40100 h 160496"/>
                <a:gd name="connsiteX43" fmla="*/ 15907 w 172212"/>
                <a:gd name="connsiteY43" fmla="*/ 27432 h 160496"/>
                <a:gd name="connsiteX44" fmla="*/ 25622 w 172212"/>
                <a:gd name="connsiteY44" fmla="*/ 12478 h 160496"/>
                <a:gd name="connsiteX45" fmla="*/ 31147 w 172212"/>
                <a:gd name="connsiteY45" fmla="*/ 17050 h 160496"/>
                <a:gd name="connsiteX46" fmla="*/ 32957 w 172212"/>
                <a:gd name="connsiteY46" fmla="*/ 30861 h 160496"/>
                <a:gd name="connsiteX47" fmla="*/ 42672 w 172212"/>
                <a:gd name="connsiteY47" fmla="*/ 28575 h 160496"/>
                <a:gd name="connsiteX48" fmla="*/ 55436 w 172212"/>
                <a:gd name="connsiteY48" fmla="*/ 27432 h 160496"/>
                <a:gd name="connsiteX49" fmla="*/ 56674 w 172212"/>
                <a:gd name="connsiteY49" fmla="*/ 12478 h 160496"/>
                <a:gd name="connsiteX50" fmla="*/ 61722 w 172212"/>
                <a:gd name="connsiteY50" fmla="*/ 0 h 160496"/>
                <a:gd name="connsiteX51" fmla="*/ 76295 w 172212"/>
                <a:gd name="connsiteY51" fmla="*/ 17812 h 160496"/>
                <a:gd name="connsiteX52" fmla="*/ 91631 w 172212"/>
                <a:gd name="connsiteY52" fmla="*/ 27718 h 160496"/>
                <a:gd name="connsiteX53" fmla="*/ 105346 w 172212"/>
                <a:gd name="connsiteY53" fmla="*/ 30766 h 160496"/>
                <a:gd name="connsiteX54" fmla="*/ 109157 w 172212"/>
                <a:gd name="connsiteY54" fmla="*/ 33433 h 160496"/>
                <a:gd name="connsiteX55" fmla="*/ 112490 w 172212"/>
                <a:gd name="connsiteY55" fmla="*/ 38957 h 160496"/>
                <a:gd name="connsiteX56" fmla="*/ 113062 w 172212"/>
                <a:gd name="connsiteY56" fmla="*/ 42958 h 160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72212" h="160496">
                  <a:moveTo>
                    <a:pt x="113062" y="43148"/>
                  </a:moveTo>
                  <a:lnTo>
                    <a:pt x="113062" y="43910"/>
                  </a:lnTo>
                  <a:cubicBezTo>
                    <a:pt x="113062" y="43910"/>
                    <a:pt x="113538" y="48768"/>
                    <a:pt x="113538" y="48768"/>
                  </a:cubicBezTo>
                  <a:lnTo>
                    <a:pt x="115633" y="54578"/>
                  </a:lnTo>
                  <a:lnTo>
                    <a:pt x="123825" y="65437"/>
                  </a:lnTo>
                  <a:lnTo>
                    <a:pt x="132398" y="70771"/>
                  </a:lnTo>
                  <a:lnTo>
                    <a:pt x="141542" y="72199"/>
                  </a:lnTo>
                  <a:lnTo>
                    <a:pt x="151257" y="71342"/>
                  </a:lnTo>
                  <a:lnTo>
                    <a:pt x="172212" y="64103"/>
                  </a:lnTo>
                  <a:lnTo>
                    <a:pt x="157544" y="69247"/>
                  </a:lnTo>
                  <a:lnTo>
                    <a:pt x="155353" y="85154"/>
                  </a:lnTo>
                  <a:lnTo>
                    <a:pt x="154115" y="95441"/>
                  </a:lnTo>
                  <a:lnTo>
                    <a:pt x="152591" y="106394"/>
                  </a:lnTo>
                  <a:lnTo>
                    <a:pt x="137065" y="104680"/>
                  </a:lnTo>
                  <a:lnTo>
                    <a:pt x="125158" y="92202"/>
                  </a:lnTo>
                  <a:lnTo>
                    <a:pt x="121825" y="93917"/>
                  </a:lnTo>
                  <a:lnTo>
                    <a:pt x="118586" y="94583"/>
                  </a:lnTo>
                  <a:lnTo>
                    <a:pt x="114967" y="94583"/>
                  </a:lnTo>
                  <a:cubicBezTo>
                    <a:pt x="114967" y="94583"/>
                    <a:pt x="111062" y="96774"/>
                    <a:pt x="111062" y="96774"/>
                  </a:cubicBezTo>
                  <a:lnTo>
                    <a:pt x="106585" y="98584"/>
                  </a:lnTo>
                  <a:lnTo>
                    <a:pt x="101632" y="102584"/>
                  </a:lnTo>
                  <a:lnTo>
                    <a:pt x="93440" y="103061"/>
                  </a:lnTo>
                  <a:lnTo>
                    <a:pt x="81058" y="98870"/>
                  </a:lnTo>
                  <a:lnTo>
                    <a:pt x="79820" y="109156"/>
                  </a:lnTo>
                  <a:lnTo>
                    <a:pt x="97250" y="122873"/>
                  </a:lnTo>
                  <a:lnTo>
                    <a:pt x="103061" y="130969"/>
                  </a:lnTo>
                  <a:lnTo>
                    <a:pt x="109442" y="137732"/>
                  </a:lnTo>
                  <a:lnTo>
                    <a:pt x="114491" y="141065"/>
                  </a:lnTo>
                  <a:lnTo>
                    <a:pt x="116396" y="147257"/>
                  </a:lnTo>
                  <a:lnTo>
                    <a:pt x="114395" y="153067"/>
                  </a:lnTo>
                  <a:lnTo>
                    <a:pt x="113538" y="158306"/>
                  </a:lnTo>
                  <a:lnTo>
                    <a:pt x="90773" y="160496"/>
                  </a:lnTo>
                  <a:lnTo>
                    <a:pt x="75533" y="160496"/>
                  </a:lnTo>
                  <a:lnTo>
                    <a:pt x="74295" y="141065"/>
                  </a:lnTo>
                  <a:lnTo>
                    <a:pt x="60865" y="141065"/>
                  </a:lnTo>
                  <a:lnTo>
                    <a:pt x="56579" y="118205"/>
                  </a:lnTo>
                  <a:lnTo>
                    <a:pt x="46863" y="91821"/>
                  </a:lnTo>
                  <a:lnTo>
                    <a:pt x="37719" y="92964"/>
                  </a:lnTo>
                  <a:lnTo>
                    <a:pt x="29242" y="76867"/>
                  </a:lnTo>
                  <a:lnTo>
                    <a:pt x="15240" y="75724"/>
                  </a:lnTo>
                  <a:lnTo>
                    <a:pt x="3620" y="70009"/>
                  </a:lnTo>
                  <a:lnTo>
                    <a:pt x="0" y="51625"/>
                  </a:lnTo>
                  <a:lnTo>
                    <a:pt x="6763" y="40100"/>
                  </a:lnTo>
                  <a:lnTo>
                    <a:pt x="15907" y="27432"/>
                  </a:lnTo>
                  <a:lnTo>
                    <a:pt x="25622" y="12478"/>
                  </a:lnTo>
                  <a:lnTo>
                    <a:pt x="31147" y="17050"/>
                  </a:lnTo>
                  <a:lnTo>
                    <a:pt x="32957" y="30861"/>
                  </a:lnTo>
                  <a:lnTo>
                    <a:pt x="42672" y="28575"/>
                  </a:lnTo>
                  <a:lnTo>
                    <a:pt x="55436" y="27432"/>
                  </a:lnTo>
                  <a:lnTo>
                    <a:pt x="56674" y="12478"/>
                  </a:lnTo>
                  <a:lnTo>
                    <a:pt x="61722" y="0"/>
                  </a:lnTo>
                  <a:lnTo>
                    <a:pt x="76295" y="17812"/>
                  </a:lnTo>
                  <a:lnTo>
                    <a:pt x="91631" y="27718"/>
                  </a:lnTo>
                  <a:lnTo>
                    <a:pt x="105346" y="30766"/>
                  </a:lnTo>
                  <a:lnTo>
                    <a:pt x="109157" y="33433"/>
                  </a:lnTo>
                  <a:lnTo>
                    <a:pt x="112490" y="38957"/>
                  </a:lnTo>
                  <a:lnTo>
                    <a:pt x="113062" y="42958"/>
                  </a:lnTo>
                </a:path>
              </a:pathLst>
            </a:custGeom>
            <a:grpFill/>
            <a:ln w="2381" cap="sq">
              <a:noFill/>
              <a:prstDash val="solid"/>
              <a:bevel/>
            </a:ln>
          </p:spPr>
          <p:txBody>
            <a:bodyPr rtlCol="0" anchor="ctr"/>
            <a:lstStyle/>
            <a:p>
              <a:endParaRPr lang="cs-CZ"/>
            </a:p>
          </p:txBody>
        </p:sp>
        <p:sp>
          <p:nvSpPr>
            <p:cNvPr id="173" name="Freeform: Shape 172">
              <a:extLst>
                <a:ext uri="{FF2B5EF4-FFF2-40B4-BE49-F238E27FC236}">
                  <a16:creationId xmlns:a16="http://schemas.microsoft.com/office/drawing/2014/main" id="{5186FDAA-ED31-EA9F-A397-A71106F52C0A}"/>
                </a:ext>
              </a:extLst>
            </p:cNvPr>
            <p:cNvSpPr/>
            <p:nvPr/>
          </p:nvSpPr>
          <p:spPr>
            <a:xfrm>
              <a:off x="12867416" y="7297226"/>
              <a:ext cx="141541" cy="398621"/>
            </a:xfrm>
            <a:custGeom>
              <a:avLst/>
              <a:gdLst>
                <a:gd name="connsiteX0" fmla="*/ 104394 w 141541"/>
                <a:gd name="connsiteY0" fmla="*/ 191 h 398621"/>
                <a:gd name="connsiteX1" fmla="*/ 115538 w 141541"/>
                <a:gd name="connsiteY1" fmla="*/ 1238 h 398621"/>
                <a:gd name="connsiteX2" fmla="*/ 117729 w 141541"/>
                <a:gd name="connsiteY2" fmla="*/ 19622 h 398621"/>
                <a:gd name="connsiteX3" fmla="*/ 118777 w 141541"/>
                <a:gd name="connsiteY3" fmla="*/ 38957 h 398621"/>
                <a:gd name="connsiteX4" fmla="*/ 112300 w 141541"/>
                <a:gd name="connsiteY4" fmla="*/ 48101 h 398621"/>
                <a:gd name="connsiteX5" fmla="*/ 121539 w 141541"/>
                <a:gd name="connsiteY5" fmla="*/ 56293 h 398621"/>
                <a:gd name="connsiteX6" fmla="*/ 141542 w 141541"/>
                <a:gd name="connsiteY6" fmla="*/ 129540 h 398621"/>
                <a:gd name="connsiteX7" fmla="*/ 122015 w 141541"/>
                <a:gd name="connsiteY7" fmla="*/ 142780 h 398621"/>
                <a:gd name="connsiteX8" fmla="*/ 125825 w 141541"/>
                <a:gd name="connsiteY8" fmla="*/ 170212 h 398621"/>
                <a:gd name="connsiteX9" fmla="*/ 107918 w 141541"/>
                <a:gd name="connsiteY9" fmla="*/ 168212 h 398621"/>
                <a:gd name="connsiteX10" fmla="*/ 106299 w 141541"/>
                <a:gd name="connsiteY10" fmla="*/ 189452 h 398621"/>
                <a:gd name="connsiteX11" fmla="*/ 108490 w 141541"/>
                <a:gd name="connsiteY11" fmla="*/ 200597 h 398621"/>
                <a:gd name="connsiteX12" fmla="*/ 99250 w 141541"/>
                <a:gd name="connsiteY12" fmla="*/ 205645 h 398621"/>
                <a:gd name="connsiteX13" fmla="*/ 89535 w 141541"/>
                <a:gd name="connsiteY13" fmla="*/ 196501 h 398621"/>
                <a:gd name="connsiteX14" fmla="*/ 51625 w 141541"/>
                <a:gd name="connsiteY14" fmla="*/ 202597 h 398621"/>
                <a:gd name="connsiteX15" fmla="*/ 54864 w 141541"/>
                <a:gd name="connsiteY15" fmla="*/ 238982 h 398621"/>
                <a:gd name="connsiteX16" fmla="*/ 53816 w 141541"/>
                <a:gd name="connsiteY16" fmla="*/ 261176 h 398621"/>
                <a:gd name="connsiteX17" fmla="*/ 58103 w 141541"/>
                <a:gd name="connsiteY17" fmla="*/ 262223 h 398621"/>
                <a:gd name="connsiteX18" fmla="*/ 57531 w 141541"/>
                <a:gd name="connsiteY18" fmla="*/ 277368 h 398621"/>
                <a:gd name="connsiteX19" fmla="*/ 67818 w 141541"/>
                <a:gd name="connsiteY19" fmla="*/ 279368 h 398621"/>
                <a:gd name="connsiteX20" fmla="*/ 74867 w 141541"/>
                <a:gd name="connsiteY20" fmla="*/ 277368 h 398621"/>
                <a:gd name="connsiteX21" fmla="*/ 82487 w 141541"/>
                <a:gd name="connsiteY21" fmla="*/ 286417 h 398621"/>
                <a:gd name="connsiteX22" fmla="*/ 79820 w 141541"/>
                <a:gd name="connsiteY22" fmla="*/ 294513 h 398621"/>
                <a:gd name="connsiteX23" fmla="*/ 104204 w 141541"/>
                <a:gd name="connsiteY23" fmla="*/ 296513 h 398621"/>
                <a:gd name="connsiteX24" fmla="*/ 94964 w 141541"/>
                <a:gd name="connsiteY24" fmla="*/ 310610 h 398621"/>
                <a:gd name="connsiteX25" fmla="*/ 102584 w 141541"/>
                <a:gd name="connsiteY25" fmla="*/ 333756 h 398621"/>
                <a:gd name="connsiteX26" fmla="*/ 109061 w 141541"/>
                <a:gd name="connsiteY26" fmla="*/ 344805 h 398621"/>
                <a:gd name="connsiteX27" fmla="*/ 113919 w 141541"/>
                <a:gd name="connsiteY27" fmla="*/ 351854 h 398621"/>
                <a:gd name="connsiteX28" fmla="*/ 106299 w 141541"/>
                <a:gd name="connsiteY28" fmla="*/ 360902 h 398621"/>
                <a:gd name="connsiteX29" fmla="*/ 87916 w 141541"/>
                <a:gd name="connsiteY29" fmla="*/ 363950 h 398621"/>
                <a:gd name="connsiteX30" fmla="*/ 84106 w 141541"/>
                <a:gd name="connsiteY30" fmla="*/ 379000 h 398621"/>
                <a:gd name="connsiteX31" fmla="*/ 78105 w 141541"/>
                <a:gd name="connsiteY31" fmla="*/ 387001 h 398621"/>
                <a:gd name="connsiteX32" fmla="*/ 62960 w 141541"/>
                <a:gd name="connsiteY32" fmla="*/ 393002 h 398621"/>
                <a:gd name="connsiteX33" fmla="*/ 42482 w 141541"/>
                <a:gd name="connsiteY33" fmla="*/ 398621 h 398621"/>
                <a:gd name="connsiteX34" fmla="*/ 37338 w 141541"/>
                <a:gd name="connsiteY34" fmla="*/ 348425 h 398621"/>
                <a:gd name="connsiteX35" fmla="*/ 36671 w 141541"/>
                <a:gd name="connsiteY35" fmla="*/ 321564 h 398621"/>
                <a:gd name="connsiteX36" fmla="*/ 34862 w 141541"/>
                <a:gd name="connsiteY36" fmla="*/ 305562 h 398621"/>
                <a:gd name="connsiteX37" fmla="*/ 30671 w 141541"/>
                <a:gd name="connsiteY37" fmla="*/ 298418 h 398621"/>
                <a:gd name="connsiteX38" fmla="*/ 28385 w 141541"/>
                <a:gd name="connsiteY38" fmla="*/ 289751 h 398621"/>
                <a:gd name="connsiteX39" fmla="*/ 30099 w 141541"/>
                <a:gd name="connsiteY39" fmla="*/ 270701 h 398621"/>
                <a:gd name="connsiteX40" fmla="*/ 34671 w 141541"/>
                <a:gd name="connsiteY40" fmla="*/ 243935 h 398621"/>
                <a:gd name="connsiteX41" fmla="*/ 30099 w 141541"/>
                <a:gd name="connsiteY41" fmla="*/ 201168 h 398621"/>
                <a:gd name="connsiteX42" fmla="*/ 28004 w 141541"/>
                <a:gd name="connsiteY42" fmla="*/ 191548 h 398621"/>
                <a:gd name="connsiteX43" fmla="*/ 10858 w 141541"/>
                <a:gd name="connsiteY43" fmla="*/ 162687 h 398621"/>
                <a:gd name="connsiteX44" fmla="*/ 5334 w 141541"/>
                <a:gd name="connsiteY44" fmla="*/ 148971 h 398621"/>
                <a:gd name="connsiteX45" fmla="*/ 5334 w 141541"/>
                <a:gd name="connsiteY45" fmla="*/ 135827 h 398621"/>
                <a:gd name="connsiteX46" fmla="*/ 1143 w 141541"/>
                <a:gd name="connsiteY46" fmla="*/ 101537 h 398621"/>
                <a:gd name="connsiteX47" fmla="*/ 0 w 141541"/>
                <a:gd name="connsiteY47" fmla="*/ 84201 h 398621"/>
                <a:gd name="connsiteX48" fmla="*/ 1143 w 141541"/>
                <a:gd name="connsiteY48" fmla="*/ 74867 h 398621"/>
                <a:gd name="connsiteX49" fmla="*/ 4000 w 141541"/>
                <a:gd name="connsiteY49" fmla="*/ 66008 h 398621"/>
                <a:gd name="connsiteX50" fmla="*/ 7906 w 141541"/>
                <a:gd name="connsiteY50" fmla="*/ 58103 h 398621"/>
                <a:gd name="connsiteX51" fmla="*/ 24860 w 141541"/>
                <a:gd name="connsiteY51" fmla="*/ 65056 h 398621"/>
                <a:gd name="connsiteX52" fmla="*/ 36004 w 141541"/>
                <a:gd name="connsiteY52" fmla="*/ 64484 h 398621"/>
                <a:gd name="connsiteX53" fmla="*/ 45053 w 141541"/>
                <a:gd name="connsiteY53" fmla="*/ 59341 h 398621"/>
                <a:gd name="connsiteX54" fmla="*/ 49435 w 141541"/>
                <a:gd name="connsiteY54" fmla="*/ 51911 h 398621"/>
                <a:gd name="connsiteX55" fmla="*/ 55817 w 141541"/>
                <a:gd name="connsiteY55" fmla="*/ 34481 h 398621"/>
                <a:gd name="connsiteX56" fmla="*/ 60674 w 141541"/>
                <a:gd name="connsiteY56" fmla="*/ 28766 h 398621"/>
                <a:gd name="connsiteX57" fmla="*/ 76105 w 141541"/>
                <a:gd name="connsiteY57" fmla="*/ 20574 h 398621"/>
                <a:gd name="connsiteX58" fmla="*/ 96583 w 141541"/>
                <a:gd name="connsiteY58" fmla="*/ 1715 h 398621"/>
                <a:gd name="connsiteX59" fmla="*/ 104394 w 141541"/>
                <a:gd name="connsiteY59" fmla="*/ 0 h 398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41541" h="398621">
                  <a:moveTo>
                    <a:pt x="104394" y="191"/>
                  </a:moveTo>
                  <a:lnTo>
                    <a:pt x="115538" y="1238"/>
                  </a:lnTo>
                  <a:lnTo>
                    <a:pt x="117729" y="19622"/>
                  </a:lnTo>
                  <a:lnTo>
                    <a:pt x="118777" y="38957"/>
                  </a:lnTo>
                  <a:lnTo>
                    <a:pt x="112300" y="48101"/>
                  </a:lnTo>
                  <a:lnTo>
                    <a:pt x="121539" y="56293"/>
                  </a:lnTo>
                  <a:lnTo>
                    <a:pt x="141542" y="129540"/>
                  </a:lnTo>
                  <a:lnTo>
                    <a:pt x="122015" y="142780"/>
                  </a:lnTo>
                  <a:lnTo>
                    <a:pt x="125825" y="170212"/>
                  </a:lnTo>
                  <a:lnTo>
                    <a:pt x="107918" y="168212"/>
                  </a:lnTo>
                  <a:lnTo>
                    <a:pt x="106299" y="189452"/>
                  </a:lnTo>
                  <a:lnTo>
                    <a:pt x="108490" y="200597"/>
                  </a:lnTo>
                  <a:lnTo>
                    <a:pt x="99250" y="205645"/>
                  </a:lnTo>
                  <a:lnTo>
                    <a:pt x="89535" y="196501"/>
                  </a:lnTo>
                  <a:lnTo>
                    <a:pt x="51625" y="202597"/>
                  </a:lnTo>
                  <a:lnTo>
                    <a:pt x="54864" y="238982"/>
                  </a:lnTo>
                  <a:lnTo>
                    <a:pt x="53816" y="261176"/>
                  </a:lnTo>
                  <a:lnTo>
                    <a:pt x="58103" y="262223"/>
                  </a:lnTo>
                  <a:lnTo>
                    <a:pt x="57531" y="277368"/>
                  </a:lnTo>
                  <a:lnTo>
                    <a:pt x="67818" y="279368"/>
                  </a:lnTo>
                  <a:lnTo>
                    <a:pt x="74867" y="277368"/>
                  </a:lnTo>
                  <a:lnTo>
                    <a:pt x="82487" y="286417"/>
                  </a:lnTo>
                  <a:lnTo>
                    <a:pt x="79820" y="294513"/>
                  </a:lnTo>
                  <a:lnTo>
                    <a:pt x="104204" y="296513"/>
                  </a:lnTo>
                  <a:lnTo>
                    <a:pt x="94964" y="310610"/>
                  </a:lnTo>
                  <a:lnTo>
                    <a:pt x="102584" y="333756"/>
                  </a:lnTo>
                  <a:lnTo>
                    <a:pt x="109061" y="344805"/>
                  </a:lnTo>
                  <a:lnTo>
                    <a:pt x="113919" y="351854"/>
                  </a:lnTo>
                  <a:lnTo>
                    <a:pt x="106299" y="360902"/>
                  </a:lnTo>
                  <a:lnTo>
                    <a:pt x="87916" y="363950"/>
                  </a:lnTo>
                  <a:lnTo>
                    <a:pt x="84106" y="379000"/>
                  </a:lnTo>
                  <a:lnTo>
                    <a:pt x="78105" y="387001"/>
                  </a:lnTo>
                  <a:lnTo>
                    <a:pt x="62960" y="393002"/>
                  </a:lnTo>
                  <a:lnTo>
                    <a:pt x="42482" y="398621"/>
                  </a:lnTo>
                  <a:lnTo>
                    <a:pt x="37338" y="348425"/>
                  </a:lnTo>
                  <a:lnTo>
                    <a:pt x="36671" y="321564"/>
                  </a:lnTo>
                  <a:lnTo>
                    <a:pt x="34862" y="305562"/>
                  </a:lnTo>
                  <a:lnTo>
                    <a:pt x="30671" y="298418"/>
                  </a:lnTo>
                  <a:lnTo>
                    <a:pt x="28385" y="289751"/>
                  </a:lnTo>
                  <a:lnTo>
                    <a:pt x="30099" y="270701"/>
                  </a:lnTo>
                  <a:lnTo>
                    <a:pt x="34671" y="243935"/>
                  </a:lnTo>
                  <a:lnTo>
                    <a:pt x="30099" y="201168"/>
                  </a:lnTo>
                  <a:lnTo>
                    <a:pt x="28004" y="191548"/>
                  </a:lnTo>
                  <a:lnTo>
                    <a:pt x="10858" y="162687"/>
                  </a:lnTo>
                  <a:lnTo>
                    <a:pt x="5334" y="148971"/>
                  </a:lnTo>
                  <a:lnTo>
                    <a:pt x="5334" y="135827"/>
                  </a:lnTo>
                  <a:lnTo>
                    <a:pt x="1143" y="101537"/>
                  </a:lnTo>
                  <a:lnTo>
                    <a:pt x="0" y="84201"/>
                  </a:lnTo>
                  <a:lnTo>
                    <a:pt x="1143" y="74867"/>
                  </a:lnTo>
                  <a:lnTo>
                    <a:pt x="4000" y="66008"/>
                  </a:lnTo>
                  <a:lnTo>
                    <a:pt x="7906" y="58103"/>
                  </a:lnTo>
                  <a:lnTo>
                    <a:pt x="24860" y="65056"/>
                  </a:lnTo>
                  <a:lnTo>
                    <a:pt x="36004" y="64484"/>
                  </a:lnTo>
                  <a:lnTo>
                    <a:pt x="45053" y="59341"/>
                  </a:lnTo>
                  <a:lnTo>
                    <a:pt x="49435" y="51911"/>
                  </a:lnTo>
                  <a:lnTo>
                    <a:pt x="55817" y="34481"/>
                  </a:lnTo>
                  <a:lnTo>
                    <a:pt x="60674" y="28766"/>
                  </a:lnTo>
                  <a:lnTo>
                    <a:pt x="76105" y="20574"/>
                  </a:lnTo>
                  <a:lnTo>
                    <a:pt x="96583" y="1715"/>
                  </a:lnTo>
                  <a:lnTo>
                    <a:pt x="104394" y="0"/>
                  </a:lnTo>
                </a:path>
              </a:pathLst>
            </a:custGeom>
            <a:grpFill/>
            <a:ln w="2381" cap="sq">
              <a:noFill/>
              <a:prstDash val="solid"/>
              <a:bevel/>
            </a:ln>
          </p:spPr>
          <p:txBody>
            <a:bodyPr rtlCol="0" anchor="ctr"/>
            <a:lstStyle/>
            <a:p>
              <a:endParaRPr lang="cs-CZ"/>
            </a:p>
          </p:txBody>
        </p:sp>
        <p:sp>
          <p:nvSpPr>
            <p:cNvPr id="174" name="Freeform: Shape 173">
              <a:extLst>
                <a:ext uri="{FF2B5EF4-FFF2-40B4-BE49-F238E27FC236}">
                  <a16:creationId xmlns:a16="http://schemas.microsoft.com/office/drawing/2014/main" id="{4B911079-E9D1-8B95-003A-635E00B52F2D}"/>
                </a:ext>
              </a:extLst>
            </p:cNvPr>
            <p:cNvSpPr/>
            <p:nvPr/>
          </p:nvSpPr>
          <p:spPr>
            <a:xfrm>
              <a:off x="13642465" y="7565545"/>
              <a:ext cx="207073" cy="186404"/>
            </a:xfrm>
            <a:custGeom>
              <a:avLst/>
              <a:gdLst>
                <a:gd name="connsiteX0" fmla="*/ 60198 w 207073"/>
                <a:gd name="connsiteY0" fmla="*/ 13335 h 186404"/>
                <a:gd name="connsiteX1" fmla="*/ 60293 w 207073"/>
                <a:gd name="connsiteY1" fmla="*/ 13335 h 186404"/>
                <a:gd name="connsiteX2" fmla="*/ 66770 w 207073"/>
                <a:gd name="connsiteY2" fmla="*/ 19717 h 186404"/>
                <a:gd name="connsiteX3" fmla="*/ 79819 w 207073"/>
                <a:gd name="connsiteY3" fmla="*/ 38386 h 186404"/>
                <a:gd name="connsiteX4" fmla="*/ 87058 w 207073"/>
                <a:gd name="connsiteY4" fmla="*/ 46577 h 186404"/>
                <a:gd name="connsiteX5" fmla="*/ 93059 w 207073"/>
                <a:gd name="connsiteY5" fmla="*/ 45529 h 186404"/>
                <a:gd name="connsiteX6" fmla="*/ 98393 w 207073"/>
                <a:gd name="connsiteY6" fmla="*/ 40767 h 186404"/>
                <a:gd name="connsiteX7" fmla="*/ 103632 w 207073"/>
                <a:gd name="connsiteY7" fmla="*/ 37624 h 186404"/>
                <a:gd name="connsiteX8" fmla="*/ 107347 w 207073"/>
                <a:gd name="connsiteY8" fmla="*/ 38576 h 186404"/>
                <a:gd name="connsiteX9" fmla="*/ 114586 w 207073"/>
                <a:gd name="connsiteY9" fmla="*/ 43815 h 186404"/>
                <a:gd name="connsiteX10" fmla="*/ 118300 w 207073"/>
                <a:gd name="connsiteY10" fmla="*/ 45053 h 186404"/>
                <a:gd name="connsiteX11" fmla="*/ 122301 w 207073"/>
                <a:gd name="connsiteY11" fmla="*/ 43243 h 186404"/>
                <a:gd name="connsiteX12" fmla="*/ 124111 w 207073"/>
                <a:gd name="connsiteY12" fmla="*/ 38767 h 186404"/>
                <a:gd name="connsiteX13" fmla="*/ 125444 w 207073"/>
                <a:gd name="connsiteY13" fmla="*/ 33433 h 186404"/>
                <a:gd name="connsiteX14" fmla="*/ 127921 w 207073"/>
                <a:gd name="connsiteY14" fmla="*/ 28765 h 186404"/>
                <a:gd name="connsiteX15" fmla="*/ 139446 w 207073"/>
                <a:gd name="connsiteY15" fmla="*/ 18574 h 186404"/>
                <a:gd name="connsiteX16" fmla="*/ 152114 w 207073"/>
                <a:gd name="connsiteY16" fmla="*/ 10954 h 186404"/>
                <a:gd name="connsiteX17" fmla="*/ 165163 w 207073"/>
                <a:gd name="connsiteY17" fmla="*/ 6667 h 186404"/>
                <a:gd name="connsiteX18" fmla="*/ 195358 w 207073"/>
                <a:gd name="connsiteY18" fmla="*/ 8287 h 186404"/>
                <a:gd name="connsiteX19" fmla="*/ 202216 w 207073"/>
                <a:gd name="connsiteY19" fmla="*/ 6191 h 186404"/>
                <a:gd name="connsiteX20" fmla="*/ 206216 w 207073"/>
                <a:gd name="connsiteY20" fmla="*/ 18859 h 186404"/>
                <a:gd name="connsiteX21" fmla="*/ 207073 w 207073"/>
                <a:gd name="connsiteY21" fmla="*/ 43624 h 186404"/>
                <a:gd name="connsiteX22" fmla="*/ 207073 w 207073"/>
                <a:gd name="connsiteY22" fmla="*/ 55150 h 186404"/>
                <a:gd name="connsiteX23" fmla="*/ 187547 w 207073"/>
                <a:gd name="connsiteY23" fmla="*/ 55150 h 186404"/>
                <a:gd name="connsiteX24" fmla="*/ 173355 w 207073"/>
                <a:gd name="connsiteY24" fmla="*/ 65056 h 186404"/>
                <a:gd name="connsiteX25" fmla="*/ 170688 w 207073"/>
                <a:gd name="connsiteY25" fmla="*/ 83248 h 186404"/>
                <a:gd name="connsiteX26" fmla="*/ 166211 w 207073"/>
                <a:gd name="connsiteY26" fmla="*/ 112966 h 186404"/>
                <a:gd name="connsiteX27" fmla="*/ 160020 w 207073"/>
                <a:gd name="connsiteY27" fmla="*/ 117919 h 186404"/>
                <a:gd name="connsiteX28" fmla="*/ 143161 w 207073"/>
                <a:gd name="connsiteY28" fmla="*/ 117919 h 186404"/>
                <a:gd name="connsiteX29" fmla="*/ 131635 w 207073"/>
                <a:gd name="connsiteY29" fmla="*/ 116300 h 186404"/>
                <a:gd name="connsiteX30" fmla="*/ 123730 w 207073"/>
                <a:gd name="connsiteY30" fmla="*/ 136589 h 186404"/>
                <a:gd name="connsiteX31" fmla="*/ 113443 w 207073"/>
                <a:gd name="connsiteY31" fmla="*/ 132207 h 186404"/>
                <a:gd name="connsiteX32" fmla="*/ 104394 w 207073"/>
                <a:gd name="connsiteY32" fmla="*/ 133540 h 186404"/>
                <a:gd name="connsiteX33" fmla="*/ 99250 w 207073"/>
                <a:gd name="connsiteY33" fmla="*/ 131159 h 186404"/>
                <a:gd name="connsiteX34" fmla="*/ 97155 w 207073"/>
                <a:gd name="connsiteY34" fmla="*/ 128968 h 186404"/>
                <a:gd name="connsiteX35" fmla="*/ 94964 w 207073"/>
                <a:gd name="connsiteY35" fmla="*/ 125635 h 186404"/>
                <a:gd name="connsiteX36" fmla="*/ 77724 w 207073"/>
                <a:gd name="connsiteY36" fmla="*/ 126682 h 186404"/>
                <a:gd name="connsiteX37" fmla="*/ 79629 w 207073"/>
                <a:gd name="connsiteY37" fmla="*/ 139446 h 186404"/>
                <a:gd name="connsiteX38" fmla="*/ 79057 w 207073"/>
                <a:gd name="connsiteY38" fmla="*/ 143065 h 186404"/>
                <a:gd name="connsiteX39" fmla="*/ 77343 w 207073"/>
                <a:gd name="connsiteY39" fmla="*/ 148399 h 186404"/>
                <a:gd name="connsiteX40" fmla="*/ 66484 w 207073"/>
                <a:gd name="connsiteY40" fmla="*/ 152686 h 186404"/>
                <a:gd name="connsiteX41" fmla="*/ 61150 w 207073"/>
                <a:gd name="connsiteY41" fmla="*/ 158305 h 186404"/>
                <a:gd name="connsiteX42" fmla="*/ 56483 w 207073"/>
                <a:gd name="connsiteY42" fmla="*/ 160782 h 186404"/>
                <a:gd name="connsiteX43" fmla="*/ 47149 w 207073"/>
                <a:gd name="connsiteY43" fmla="*/ 163449 h 186404"/>
                <a:gd name="connsiteX44" fmla="*/ 45910 w 207073"/>
                <a:gd name="connsiteY44" fmla="*/ 166021 h 186404"/>
                <a:gd name="connsiteX45" fmla="*/ 46196 w 207073"/>
                <a:gd name="connsiteY45" fmla="*/ 168592 h 186404"/>
                <a:gd name="connsiteX46" fmla="*/ 47911 w 207073"/>
                <a:gd name="connsiteY46" fmla="*/ 170878 h 186404"/>
                <a:gd name="connsiteX47" fmla="*/ 50006 w 207073"/>
                <a:gd name="connsiteY47" fmla="*/ 172212 h 186404"/>
                <a:gd name="connsiteX48" fmla="*/ 52578 w 207073"/>
                <a:gd name="connsiteY48" fmla="*/ 171736 h 186404"/>
                <a:gd name="connsiteX49" fmla="*/ 57626 w 207073"/>
                <a:gd name="connsiteY49" fmla="*/ 168783 h 186404"/>
                <a:gd name="connsiteX50" fmla="*/ 59912 w 207073"/>
                <a:gd name="connsiteY50" fmla="*/ 169450 h 186404"/>
                <a:gd name="connsiteX51" fmla="*/ 59912 w 207073"/>
                <a:gd name="connsiteY51" fmla="*/ 174022 h 186404"/>
                <a:gd name="connsiteX52" fmla="*/ 57340 w 207073"/>
                <a:gd name="connsiteY52" fmla="*/ 179451 h 186404"/>
                <a:gd name="connsiteX53" fmla="*/ 32385 w 207073"/>
                <a:gd name="connsiteY53" fmla="*/ 186404 h 186404"/>
                <a:gd name="connsiteX54" fmla="*/ 0 w 207073"/>
                <a:gd name="connsiteY54" fmla="*/ 180308 h 186404"/>
                <a:gd name="connsiteX55" fmla="*/ 571 w 207073"/>
                <a:gd name="connsiteY55" fmla="*/ 156019 h 186404"/>
                <a:gd name="connsiteX56" fmla="*/ 4000 w 207073"/>
                <a:gd name="connsiteY56" fmla="*/ 155258 h 186404"/>
                <a:gd name="connsiteX57" fmla="*/ 10192 w 207073"/>
                <a:gd name="connsiteY57" fmla="*/ 148780 h 186404"/>
                <a:gd name="connsiteX58" fmla="*/ 9906 w 207073"/>
                <a:gd name="connsiteY58" fmla="*/ 145161 h 186404"/>
                <a:gd name="connsiteX59" fmla="*/ 8953 w 207073"/>
                <a:gd name="connsiteY59" fmla="*/ 138208 h 186404"/>
                <a:gd name="connsiteX60" fmla="*/ 10382 w 207073"/>
                <a:gd name="connsiteY60" fmla="*/ 133350 h 186404"/>
                <a:gd name="connsiteX61" fmla="*/ 13144 w 207073"/>
                <a:gd name="connsiteY61" fmla="*/ 128968 h 186404"/>
                <a:gd name="connsiteX62" fmla="*/ 14288 w 207073"/>
                <a:gd name="connsiteY62" fmla="*/ 123539 h 186404"/>
                <a:gd name="connsiteX63" fmla="*/ 15240 w 207073"/>
                <a:gd name="connsiteY63" fmla="*/ 117443 h 186404"/>
                <a:gd name="connsiteX64" fmla="*/ 17335 w 207073"/>
                <a:gd name="connsiteY64" fmla="*/ 113347 h 186404"/>
                <a:gd name="connsiteX65" fmla="*/ 16764 w 207073"/>
                <a:gd name="connsiteY65" fmla="*/ 109538 h 186404"/>
                <a:gd name="connsiteX66" fmla="*/ 15240 w 207073"/>
                <a:gd name="connsiteY66" fmla="*/ 106585 h 186404"/>
                <a:gd name="connsiteX67" fmla="*/ 12668 w 207073"/>
                <a:gd name="connsiteY67" fmla="*/ 104394 h 186404"/>
                <a:gd name="connsiteX68" fmla="*/ 9620 w 207073"/>
                <a:gd name="connsiteY68" fmla="*/ 102394 h 186404"/>
                <a:gd name="connsiteX69" fmla="*/ 6763 w 207073"/>
                <a:gd name="connsiteY69" fmla="*/ 99727 h 186404"/>
                <a:gd name="connsiteX70" fmla="*/ 7810 w 207073"/>
                <a:gd name="connsiteY70" fmla="*/ 94393 h 186404"/>
                <a:gd name="connsiteX71" fmla="*/ 11049 w 207073"/>
                <a:gd name="connsiteY71" fmla="*/ 90488 h 186404"/>
                <a:gd name="connsiteX72" fmla="*/ 14288 w 207073"/>
                <a:gd name="connsiteY72" fmla="*/ 88106 h 186404"/>
                <a:gd name="connsiteX73" fmla="*/ 19431 w 207073"/>
                <a:gd name="connsiteY73" fmla="*/ 81629 h 186404"/>
                <a:gd name="connsiteX74" fmla="*/ 13621 w 207073"/>
                <a:gd name="connsiteY74" fmla="*/ 80105 h 186404"/>
                <a:gd name="connsiteX75" fmla="*/ 13811 w 207073"/>
                <a:gd name="connsiteY75" fmla="*/ 58674 h 186404"/>
                <a:gd name="connsiteX76" fmla="*/ 33338 w 207073"/>
                <a:gd name="connsiteY76" fmla="*/ 48863 h 186404"/>
                <a:gd name="connsiteX77" fmla="*/ 33814 w 207073"/>
                <a:gd name="connsiteY77" fmla="*/ 46863 h 186404"/>
                <a:gd name="connsiteX78" fmla="*/ 33814 w 207073"/>
                <a:gd name="connsiteY78" fmla="*/ 43815 h 186404"/>
                <a:gd name="connsiteX79" fmla="*/ 30575 w 207073"/>
                <a:gd name="connsiteY79" fmla="*/ 41624 h 186404"/>
                <a:gd name="connsiteX80" fmla="*/ 28765 w 207073"/>
                <a:gd name="connsiteY80" fmla="*/ 36671 h 186404"/>
                <a:gd name="connsiteX81" fmla="*/ 26575 w 207073"/>
                <a:gd name="connsiteY81" fmla="*/ 34099 h 186404"/>
                <a:gd name="connsiteX82" fmla="*/ 25336 w 207073"/>
                <a:gd name="connsiteY82" fmla="*/ 30766 h 186404"/>
                <a:gd name="connsiteX83" fmla="*/ 26479 w 207073"/>
                <a:gd name="connsiteY83" fmla="*/ 27432 h 186404"/>
                <a:gd name="connsiteX84" fmla="*/ 27051 w 207073"/>
                <a:gd name="connsiteY84" fmla="*/ 20479 h 186404"/>
                <a:gd name="connsiteX85" fmla="*/ 29623 w 207073"/>
                <a:gd name="connsiteY85" fmla="*/ 14002 h 186404"/>
                <a:gd name="connsiteX86" fmla="*/ 31528 w 207073"/>
                <a:gd name="connsiteY86" fmla="*/ 6858 h 186404"/>
                <a:gd name="connsiteX87" fmla="*/ 29813 w 207073"/>
                <a:gd name="connsiteY87" fmla="*/ 2857 h 186404"/>
                <a:gd name="connsiteX88" fmla="*/ 29242 w 207073"/>
                <a:gd name="connsiteY88" fmla="*/ 0 h 186404"/>
                <a:gd name="connsiteX89" fmla="*/ 60103 w 207073"/>
                <a:gd name="connsiteY89" fmla="*/ 13430 h 186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207073" h="186404">
                  <a:moveTo>
                    <a:pt x="60198" y="13335"/>
                  </a:moveTo>
                  <a:lnTo>
                    <a:pt x="60293" y="13335"/>
                  </a:lnTo>
                  <a:cubicBezTo>
                    <a:pt x="60293" y="13335"/>
                    <a:pt x="66770" y="19717"/>
                    <a:pt x="66770" y="19717"/>
                  </a:cubicBezTo>
                  <a:lnTo>
                    <a:pt x="79819" y="38386"/>
                  </a:lnTo>
                  <a:lnTo>
                    <a:pt x="87058" y="46577"/>
                  </a:lnTo>
                  <a:lnTo>
                    <a:pt x="93059" y="45529"/>
                  </a:lnTo>
                  <a:lnTo>
                    <a:pt x="98393" y="40767"/>
                  </a:lnTo>
                  <a:lnTo>
                    <a:pt x="103632" y="37624"/>
                  </a:lnTo>
                  <a:lnTo>
                    <a:pt x="107347" y="38576"/>
                  </a:lnTo>
                  <a:lnTo>
                    <a:pt x="114586" y="43815"/>
                  </a:lnTo>
                  <a:lnTo>
                    <a:pt x="118300" y="45053"/>
                  </a:lnTo>
                  <a:lnTo>
                    <a:pt x="122301" y="43243"/>
                  </a:lnTo>
                  <a:lnTo>
                    <a:pt x="124111" y="38767"/>
                  </a:lnTo>
                  <a:lnTo>
                    <a:pt x="125444" y="33433"/>
                  </a:lnTo>
                  <a:lnTo>
                    <a:pt x="127921" y="28765"/>
                  </a:lnTo>
                  <a:lnTo>
                    <a:pt x="139446" y="18574"/>
                  </a:lnTo>
                  <a:lnTo>
                    <a:pt x="152114" y="10954"/>
                  </a:lnTo>
                  <a:lnTo>
                    <a:pt x="165163" y="6667"/>
                  </a:lnTo>
                  <a:lnTo>
                    <a:pt x="195358" y="8287"/>
                  </a:lnTo>
                  <a:lnTo>
                    <a:pt x="202216" y="6191"/>
                  </a:lnTo>
                  <a:lnTo>
                    <a:pt x="206216" y="18859"/>
                  </a:lnTo>
                  <a:lnTo>
                    <a:pt x="207073" y="43624"/>
                  </a:lnTo>
                  <a:lnTo>
                    <a:pt x="207073" y="55150"/>
                  </a:lnTo>
                  <a:lnTo>
                    <a:pt x="187547" y="55150"/>
                  </a:lnTo>
                  <a:lnTo>
                    <a:pt x="173355" y="65056"/>
                  </a:lnTo>
                  <a:lnTo>
                    <a:pt x="170688" y="83248"/>
                  </a:lnTo>
                  <a:lnTo>
                    <a:pt x="166211" y="112966"/>
                  </a:lnTo>
                  <a:lnTo>
                    <a:pt x="160020" y="117919"/>
                  </a:lnTo>
                  <a:lnTo>
                    <a:pt x="143161" y="117919"/>
                  </a:lnTo>
                  <a:lnTo>
                    <a:pt x="131635" y="116300"/>
                  </a:lnTo>
                  <a:lnTo>
                    <a:pt x="123730" y="136589"/>
                  </a:lnTo>
                  <a:lnTo>
                    <a:pt x="113443" y="132207"/>
                  </a:lnTo>
                  <a:lnTo>
                    <a:pt x="104394" y="133540"/>
                  </a:lnTo>
                  <a:lnTo>
                    <a:pt x="99250" y="131159"/>
                  </a:lnTo>
                  <a:lnTo>
                    <a:pt x="97155" y="128968"/>
                  </a:lnTo>
                  <a:lnTo>
                    <a:pt x="94964" y="125635"/>
                  </a:lnTo>
                  <a:lnTo>
                    <a:pt x="77724" y="126682"/>
                  </a:lnTo>
                  <a:lnTo>
                    <a:pt x="79629" y="139446"/>
                  </a:lnTo>
                  <a:lnTo>
                    <a:pt x="79057" y="143065"/>
                  </a:lnTo>
                  <a:lnTo>
                    <a:pt x="77343" y="148399"/>
                  </a:lnTo>
                  <a:lnTo>
                    <a:pt x="66484" y="152686"/>
                  </a:lnTo>
                  <a:lnTo>
                    <a:pt x="61150" y="158305"/>
                  </a:lnTo>
                  <a:lnTo>
                    <a:pt x="56483" y="160782"/>
                  </a:lnTo>
                  <a:lnTo>
                    <a:pt x="47149" y="163449"/>
                  </a:lnTo>
                  <a:lnTo>
                    <a:pt x="45910" y="166021"/>
                  </a:lnTo>
                  <a:lnTo>
                    <a:pt x="46196" y="168592"/>
                  </a:lnTo>
                  <a:lnTo>
                    <a:pt x="47911" y="170878"/>
                  </a:lnTo>
                  <a:lnTo>
                    <a:pt x="50006" y="172212"/>
                  </a:lnTo>
                  <a:lnTo>
                    <a:pt x="52578" y="171736"/>
                  </a:lnTo>
                  <a:lnTo>
                    <a:pt x="57626" y="168783"/>
                  </a:lnTo>
                  <a:lnTo>
                    <a:pt x="59912" y="169450"/>
                  </a:lnTo>
                  <a:lnTo>
                    <a:pt x="59912" y="174022"/>
                  </a:lnTo>
                  <a:lnTo>
                    <a:pt x="57340" y="179451"/>
                  </a:lnTo>
                  <a:lnTo>
                    <a:pt x="32385" y="186404"/>
                  </a:lnTo>
                  <a:lnTo>
                    <a:pt x="0" y="180308"/>
                  </a:lnTo>
                  <a:lnTo>
                    <a:pt x="571" y="156019"/>
                  </a:lnTo>
                  <a:lnTo>
                    <a:pt x="4000" y="155258"/>
                  </a:lnTo>
                  <a:lnTo>
                    <a:pt x="10192" y="148780"/>
                  </a:lnTo>
                  <a:lnTo>
                    <a:pt x="9906" y="145161"/>
                  </a:lnTo>
                  <a:lnTo>
                    <a:pt x="8953" y="138208"/>
                  </a:lnTo>
                  <a:lnTo>
                    <a:pt x="10382" y="133350"/>
                  </a:lnTo>
                  <a:lnTo>
                    <a:pt x="13144" y="128968"/>
                  </a:lnTo>
                  <a:lnTo>
                    <a:pt x="14288" y="123539"/>
                  </a:lnTo>
                  <a:lnTo>
                    <a:pt x="15240" y="117443"/>
                  </a:lnTo>
                  <a:lnTo>
                    <a:pt x="17335" y="113347"/>
                  </a:lnTo>
                  <a:lnTo>
                    <a:pt x="16764" y="109538"/>
                  </a:lnTo>
                  <a:lnTo>
                    <a:pt x="15240" y="106585"/>
                  </a:lnTo>
                  <a:lnTo>
                    <a:pt x="12668" y="104394"/>
                  </a:lnTo>
                  <a:lnTo>
                    <a:pt x="9620" y="102394"/>
                  </a:lnTo>
                  <a:lnTo>
                    <a:pt x="6763" y="99727"/>
                  </a:lnTo>
                  <a:lnTo>
                    <a:pt x="7810" y="94393"/>
                  </a:lnTo>
                  <a:lnTo>
                    <a:pt x="11049" y="90488"/>
                  </a:lnTo>
                  <a:lnTo>
                    <a:pt x="14288" y="88106"/>
                  </a:lnTo>
                  <a:lnTo>
                    <a:pt x="19431" y="81629"/>
                  </a:lnTo>
                  <a:lnTo>
                    <a:pt x="13621" y="80105"/>
                  </a:lnTo>
                  <a:lnTo>
                    <a:pt x="13811" y="58674"/>
                  </a:lnTo>
                  <a:lnTo>
                    <a:pt x="33338" y="48863"/>
                  </a:lnTo>
                  <a:lnTo>
                    <a:pt x="33814" y="46863"/>
                  </a:lnTo>
                  <a:lnTo>
                    <a:pt x="33814" y="43815"/>
                  </a:lnTo>
                  <a:cubicBezTo>
                    <a:pt x="33814" y="43815"/>
                    <a:pt x="30575" y="41624"/>
                    <a:pt x="30575" y="41624"/>
                  </a:cubicBezTo>
                  <a:lnTo>
                    <a:pt x="28765" y="36671"/>
                  </a:lnTo>
                  <a:lnTo>
                    <a:pt x="26575" y="34099"/>
                  </a:lnTo>
                  <a:lnTo>
                    <a:pt x="25336" y="30766"/>
                  </a:lnTo>
                  <a:lnTo>
                    <a:pt x="26479" y="27432"/>
                  </a:lnTo>
                  <a:lnTo>
                    <a:pt x="27051" y="20479"/>
                  </a:lnTo>
                  <a:lnTo>
                    <a:pt x="29623" y="14002"/>
                  </a:lnTo>
                  <a:lnTo>
                    <a:pt x="31528" y="6858"/>
                  </a:lnTo>
                  <a:lnTo>
                    <a:pt x="29813" y="2857"/>
                  </a:lnTo>
                  <a:lnTo>
                    <a:pt x="29242" y="0"/>
                  </a:lnTo>
                  <a:lnTo>
                    <a:pt x="60103" y="13430"/>
                  </a:lnTo>
                </a:path>
              </a:pathLst>
            </a:custGeom>
            <a:grpFill/>
            <a:ln w="2381" cap="sq">
              <a:noFill/>
              <a:prstDash val="solid"/>
              <a:bevel/>
            </a:ln>
          </p:spPr>
          <p:txBody>
            <a:bodyPr rtlCol="0" anchor="ctr"/>
            <a:lstStyle/>
            <a:p>
              <a:endParaRPr lang="cs-CZ"/>
            </a:p>
          </p:txBody>
        </p:sp>
        <p:sp>
          <p:nvSpPr>
            <p:cNvPr id="175" name="Freeform: Shape 174">
              <a:extLst>
                <a:ext uri="{FF2B5EF4-FFF2-40B4-BE49-F238E27FC236}">
                  <a16:creationId xmlns:a16="http://schemas.microsoft.com/office/drawing/2014/main" id="{2A0A55D0-3A50-1F76-445B-3E10E4746DCB}"/>
                </a:ext>
              </a:extLst>
            </p:cNvPr>
            <p:cNvSpPr/>
            <p:nvPr/>
          </p:nvSpPr>
          <p:spPr>
            <a:xfrm>
              <a:off x="13327092" y="7315038"/>
              <a:ext cx="349091" cy="309086"/>
            </a:xfrm>
            <a:custGeom>
              <a:avLst/>
              <a:gdLst>
                <a:gd name="connsiteX0" fmla="*/ 96869 w 349091"/>
                <a:gd name="connsiteY0" fmla="*/ 0 h 309086"/>
                <a:gd name="connsiteX1" fmla="*/ 102775 w 349091"/>
                <a:gd name="connsiteY1" fmla="*/ 190 h 309086"/>
                <a:gd name="connsiteX2" fmla="*/ 108680 w 349091"/>
                <a:gd name="connsiteY2" fmla="*/ 10382 h 309086"/>
                <a:gd name="connsiteX3" fmla="*/ 112300 w 349091"/>
                <a:gd name="connsiteY3" fmla="*/ 25241 h 309086"/>
                <a:gd name="connsiteX4" fmla="*/ 117253 w 349091"/>
                <a:gd name="connsiteY4" fmla="*/ 39910 h 309086"/>
                <a:gd name="connsiteX5" fmla="*/ 127063 w 349091"/>
                <a:gd name="connsiteY5" fmla="*/ 49340 h 309086"/>
                <a:gd name="connsiteX6" fmla="*/ 208883 w 349091"/>
                <a:gd name="connsiteY6" fmla="*/ 56674 h 309086"/>
                <a:gd name="connsiteX7" fmla="*/ 213455 w 349091"/>
                <a:gd name="connsiteY7" fmla="*/ 58960 h 309086"/>
                <a:gd name="connsiteX8" fmla="*/ 216313 w 349091"/>
                <a:gd name="connsiteY8" fmla="*/ 62579 h 309086"/>
                <a:gd name="connsiteX9" fmla="*/ 217551 w 349091"/>
                <a:gd name="connsiteY9" fmla="*/ 69532 h 309086"/>
                <a:gd name="connsiteX10" fmla="*/ 216217 w 349091"/>
                <a:gd name="connsiteY10" fmla="*/ 73914 h 309086"/>
                <a:gd name="connsiteX11" fmla="*/ 214027 w 349091"/>
                <a:gd name="connsiteY11" fmla="*/ 78295 h 309086"/>
                <a:gd name="connsiteX12" fmla="*/ 212884 w 349091"/>
                <a:gd name="connsiteY12" fmla="*/ 84963 h 309086"/>
                <a:gd name="connsiteX13" fmla="*/ 214027 w 349091"/>
                <a:gd name="connsiteY13" fmla="*/ 100013 h 309086"/>
                <a:gd name="connsiteX14" fmla="*/ 217456 w 349091"/>
                <a:gd name="connsiteY14" fmla="*/ 109061 h 309086"/>
                <a:gd name="connsiteX15" fmla="*/ 260509 w 349091"/>
                <a:gd name="connsiteY15" fmla="*/ 145256 h 309086"/>
                <a:gd name="connsiteX16" fmla="*/ 273463 w 349091"/>
                <a:gd name="connsiteY16" fmla="*/ 160401 h 309086"/>
                <a:gd name="connsiteX17" fmla="*/ 310325 w 349091"/>
                <a:gd name="connsiteY17" fmla="*/ 220980 h 309086"/>
                <a:gd name="connsiteX18" fmla="*/ 323564 w 349091"/>
                <a:gd name="connsiteY18" fmla="*/ 236696 h 309086"/>
                <a:gd name="connsiteX19" fmla="*/ 339661 w 349091"/>
                <a:gd name="connsiteY19" fmla="*/ 248317 h 309086"/>
                <a:gd name="connsiteX20" fmla="*/ 344614 w 349091"/>
                <a:gd name="connsiteY20" fmla="*/ 250412 h 309086"/>
                <a:gd name="connsiteX21" fmla="*/ 345186 w 349091"/>
                <a:gd name="connsiteY21" fmla="*/ 253270 h 309086"/>
                <a:gd name="connsiteX22" fmla="*/ 346900 w 349091"/>
                <a:gd name="connsiteY22" fmla="*/ 257270 h 309086"/>
                <a:gd name="connsiteX23" fmla="*/ 344996 w 349091"/>
                <a:gd name="connsiteY23" fmla="*/ 264414 h 309086"/>
                <a:gd name="connsiteX24" fmla="*/ 342424 w 349091"/>
                <a:gd name="connsiteY24" fmla="*/ 270891 h 309086"/>
                <a:gd name="connsiteX25" fmla="*/ 341852 w 349091"/>
                <a:gd name="connsiteY25" fmla="*/ 277844 h 309086"/>
                <a:gd name="connsiteX26" fmla="*/ 340709 w 349091"/>
                <a:gd name="connsiteY26" fmla="*/ 281178 h 309086"/>
                <a:gd name="connsiteX27" fmla="*/ 341947 w 349091"/>
                <a:gd name="connsiteY27" fmla="*/ 284512 h 309086"/>
                <a:gd name="connsiteX28" fmla="*/ 344138 w 349091"/>
                <a:gd name="connsiteY28" fmla="*/ 287084 h 309086"/>
                <a:gd name="connsiteX29" fmla="*/ 345948 w 349091"/>
                <a:gd name="connsiteY29" fmla="*/ 292036 h 309086"/>
                <a:gd name="connsiteX30" fmla="*/ 349091 w 349091"/>
                <a:gd name="connsiteY30" fmla="*/ 294227 h 309086"/>
                <a:gd name="connsiteX31" fmla="*/ 349091 w 349091"/>
                <a:gd name="connsiteY31" fmla="*/ 297275 h 309086"/>
                <a:gd name="connsiteX32" fmla="*/ 348805 w 349091"/>
                <a:gd name="connsiteY32" fmla="*/ 299276 h 309086"/>
                <a:gd name="connsiteX33" fmla="*/ 329279 w 349091"/>
                <a:gd name="connsiteY33" fmla="*/ 309086 h 309086"/>
                <a:gd name="connsiteX34" fmla="*/ 325374 w 349091"/>
                <a:gd name="connsiteY34" fmla="*/ 288512 h 309086"/>
                <a:gd name="connsiteX35" fmla="*/ 317754 w 349091"/>
                <a:gd name="connsiteY35" fmla="*/ 290322 h 309086"/>
                <a:gd name="connsiteX36" fmla="*/ 303467 w 349091"/>
                <a:gd name="connsiteY36" fmla="*/ 292132 h 309086"/>
                <a:gd name="connsiteX37" fmla="*/ 301561 w 349091"/>
                <a:gd name="connsiteY37" fmla="*/ 277940 h 309086"/>
                <a:gd name="connsiteX38" fmla="*/ 279654 w 349091"/>
                <a:gd name="connsiteY38" fmla="*/ 274415 h 309086"/>
                <a:gd name="connsiteX39" fmla="*/ 268224 w 349091"/>
                <a:gd name="connsiteY39" fmla="*/ 274415 h 309086"/>
                <a:gd name="connsiteX40" fmla="*/ 255842 w 349091"/>
                <a:gd name="connsiteY40" fmla="*/ 258509 h 309086"/>
                <a:gd name="connsiteX41" fmla="*/ 244411 w 349091"/>
                <a:gd name="connsiteY41" fmla="*/ 265557 h 309086"/>
                <a:gd name="connsiteX42" fmla="*/ 227267 w 349091"/>
                <a:gd name="connsiteY42" fmla="*/ 265557 h 309086"/>
                <a:gd name="connsiteX43" fmla="*/ 198787 w 349091"/>
                <a:gd name="connsiteY43" fmla="*/ 272606 h 309086"/>
                <a:gd name="connsiteX44" fmla="*/ 186404 w 349091"/>
                <a:gd name="connsiteY44" fmla="*/ 286798 h 309086"/>
                <a:gd name="connsiteX45" fmla="*/ 167354 w 349091"/>
                <a:gd name="connsiteY45" fmla="*/ 286798 h 309086"/>
                <a:gd name="connsiteX46" fmla="*/ 164497 w 349091"/>
                <a:gd name="connsiteY46" fmla="*/ 272606 h 309086"/>
                <a:gd name="connsiteX47" fmla="*/ 170212 w 349091"/>
                <a:gd name="connsiteY47" fmla="*/ 258413 h 309086"/>
                <a:gd name="connsiteX48" fmla="*/ 169259 w 349091"/>
                <a:gd name="connsiteY48" fmla="*/ 244221 h 309086"/>
                <a:gd name="connsiteX49" fmla="*/ 159734 w 349091"/>
                <a:gd name="connsiteY49" fmla="*/ 233553 h 309086"/>
                <a:gd name="connsiteX50" fmla="*/ 181642 w 349091"/>
                <a:gd name="connsiteY50" fmla="*/ 230029 h 309086"/>
                <a:gd name="connsiteX51" fmla="*/ 192119 w 349091"/>
                <a:gd name="connsiteY51" fmla="*/ 221171 h 309086"/>
                <a:gd name="connsiteX52" fmla="*/ 199739 w 349091"/>
                <a:gd name="connsiteY52" fmla="*/ 199835 h 309086"/>
                <a:gd name="connsiteX53" fmla="*/ 203549 w 349091"/>
                <a:gd name="connsiteY53" fmla="*/ 183833 h 309086"/>
                <a:gd name="connsiteX54" fmla="*/ 153162 w 349091"/>
                <a:gd name="connsiteY54" fmla="*/ 174974 h 309086"/>
                <a:gd name="connsiteX55" fmla="*/ 152209 w 349091"/>
                <a:gd name="connsiteY55" fmla="*/ 160782 h 309086"/>
                <a:gd name="connsiteX56" fmla="*/ 140779 w 349091"/>
                <a:gd name="connsiteY56" fmla="*/ 158972 h 309086"/>
                <a:gd name="connsiteX57" fmla="*/ 148400 w 349091"/>
                <a:gd name="connsiteY57" fmla="*/ 125158 h 309086"/>
                <a:gd name="connsiteX58" fmla="*/ 104680 w 349091"/>
                <a:gd name="connsiteY58" fmla="*/ 141161 h 309086"/>
                <a:gd name="connsiteX59" fmla="*/ 86582 w 349091"/>
                <a:gd name="connsiteY59" fmla="*/ 135827 h 309086"/>
                <a:gd name="connsiteX60" fmla="*/ 75628 w 349091"/>
                <a:gd name="connsiteY60" fmla="*/ 126682 h 309086"/>
                <a:gd name="connsiteX61" fmla="*/ 58579 w 349091"/>
                <a:gd name="connsiteY61" fmla="*/ 120967 h 309086"/>
                <a:gd name="connsiteX62" fmla="*/ 50673 w 349091"/>
                <a:gd name="connsiteY62" fmla="*/ 109538 h 309086"/>
                <a:gd name="connsiteX63" fmla="*/ 38386 w 349091"/>
                <a:gd name="connsiteY63" fmla="*/ 102965 h 309086"/>
                <a:gd name="connsiteX64" fmla="*/ 33718 w 349091"/>
                <a:gd name="connsiteY64" fmla="*/ 95821 h 309086"/>
                <a:gd name="connsiteX65" fmla="*/ 34576 w 349091"/>
                <a:gd name="connsiteY65" fmla="*/ 90583 h 309086"/>
                <a:gd name="connsiteX66" fmla="*/ 36576 w 349091"/>
                <a:gd name="connsiteY66" fmla="*/ 84773 h 309086"/>
                <a:gd name="connsiteX67" fmla="*/ 34671 w 349091"/>
                <a:gd name="connsiteY67" fmla="*/ 78581 h 309086"/>
                <a:gd name="connsiteX68" fmla="*/ 29623 w 349091"/>
                <a:gd name="connsiteY68" fmla="*/ 75248 h 309086"/>
                <a:gd name="connsiteX69" fmla="*/ 23241 w 349091"/>
                <a:gd name="connsiteY69" fmla="*/ 68485 h 309086"/>
                <a:gd name="connsiteX70" fmla="*/ 17431 w 349091"/>
                <a:gd name="connsiteY70" fmla="*/ 60389 h 309086"/>
                <a:gd name="connsiteX71" fmla="*/ 0 w 349091"/>
                <a:gd name="connsiteY71" fmla="*/ 46672 h 309086"/>
                <a:gd name="connsiteX72" fmla="*/ 1238 w 349091"/>
                <a:gd name="connsiteY72" fmla="*/ 36385 h 309086"/>
                <a:gd name="connsiteX73" fmla="*/ 13621 w 349091"/>
                <a:gd name="connsiteY73" fmla="*/ 40577 h 309086"/>
                <a:gd name="connsiteX74" fmla="*/ 21812 w 349091"/>
                <a:gd name="connsiteY74" fmla="*/ 40100 h 309086"/>
                <a:gd name="connsiteX75" fmla="*/ 26765 w 349091"/>
                <a:gd name="connsiteY75" fmla="*/ 36100 h 309086"/>
                <a:gd name="connsiteX76" fmla="*/ 31242 w 349091"/>
                <a:gd name="connsiteY76" fmla="*/ 34290 h 309086"/>
                <a:gd name="connsiteX77" fmla="*/ 35147 w 349091"/>
                <a:gd name="connsiteY77" fmla="*/ 32004 h 309086"/>
                <a:gd name="connsiteX78" fmla="*/ 38767 w 349091"/>
                <a:gd name="connsiteY78" fmla="*/ 32004 h 309086"/>
                <a:gd name="connsiteX79" fmla="*/ 42005 w 349091"/>
                <a:gd name="connsiteY79" fmla="*/ 31432 h 309086"/>
                <a:gd name="connsiteX80" fmla="*/ 45339 w 349091"/>
                <a:gd name="connsiteY80" fmla="*/ 29718 h 309086"/>
                <a:gd name="connsiteX81" fmla="*/ 57245 w 349091"/>
                <a:gd name="connsiteY81" fmla="*/ 42196 h 309086"/>
                <a:gd name="connsiteX82" fmla="*/ 72771 w 349091"/>
                <a:gd name="connsiteY82" fmla="*/ 43910 h 309086"/>
                <a:gd name="connsiteX83" fmla="*/ 74295 w 349091"/>
                <a:gd name="connsiteY83" fmla="*/ 32957 h 309086"/>
                <a:gd name="connsiteX84" fmla="*/ 75533 w 349091"/>
                <a:gd name="connsiteY84" fmla="*/ 22669 h 309086"/>
                <a:gd name="connsiteX85" fmla="*/ 77724 w 349091"/>
                <a:gd name="connsiteY85" fmla="*/ 6763 h 309086"/>
                <a:gd name="connsiteX86" fmla="*/ 92392 w 349091"/>
                <a:gd name="connsiteY86" fmla="*/ 1619 h 309086"/>
                <a:gd name="connsiteX87" fmla="*/ 96774 w 349091"/>
                <a:gd name="connsiteY87" fmla="*/ 95 h 30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349091" h="309086">
                  <a:moveTo>
                    <a:pt x="96869" y="0"/>
                  </a:moveTo>
                  <a:lnTo>
                    <a:pt x="102775" y="190"/>
                  </a:lnTo>
                  <a:lnTo>
                    <a:pt x="108680" y="10382"/>
                  </a:lnTo>
                  <a:lnTo>
                    <a:pt x="112300" y="25241"/>
                  </a:lnTo>
                  <a:lnTo>
                    <a:pt x="117253" y="39910"/>
                  </a:lnTo>
                  <a:lnTo>
                    <a:pt x="127063" y="49340"/>
                  </a:lnTo>
                  <a:lnTo>
                    <a:pt x="208883" y="56674"/>
                  </a:lnTo>
                  <a:lnTo>
                    <a:pt x="213455" y="58960"/>
                  </a:lnTo>
                  <a:lnTo>
                    <a:pt x="216313" y="62579"/>
                  </a:lnTo>
                  <a:lnTo>
                    <a:pt x="217551" y="69532"/>
                  </a:lnTo>
                  <a:lnTo>
                    <a:pt x="216217" y="73914"/>
                  </a:lnTo>
                  <a:lnTo>
                    <a:pt x="214027" y="78295"/>
                  </a:lnTo>
                  <a:lnTo>
                    <a:pt x="212884" y="84963"/>
                  </a:lnTo>
                  <a:lnTo>
                    <a:pt x="214027" y="100013"/>
                  </a:lnTo>
                  <a:lnTo>
                    <a:pt x="217456" y="109061"/>
                  </a:lnTo>
                  <a:lnTo>
                    <a:pt x="260509" y="145256"/>
                  </a:lnTo>
                  <a:lnTo>
                    <a:pt x="273463" y="160401"/>
                  </a:lnTo>
                  <a:lnTo>
                    <a:pt x="310325" y="220980"/>
                  </a:lnTo>
                  <a:lnTo>
                    <a:pt x="323564" y="236696"/>
                  </a:lnTo>
                  <a:lnTo>
                    <a:pt x="339661" y="248317"/>
                  </a:lnTo>
                  <a:lnTo>
                    <a:pt x="344614" y="250412"/>
                  </a:lnTo>
                  <a:lnTo>
                    <a:pt x="345186" y="253270"/>
                  </a:lnTo>
                  <a:lnTo>
                    <a:pt x="346900" y="257270"/>
                  </a:lnTo>
                  <a:lnTo>
                    <a:pt x="344996" y="264414"/>
                  </a:lnTo>
                  <a:lnTo>
                    <a:pt x="342424" y="270891"/>
                  </a:lnTo>
                  <a:lnTo>
                    <a:pt x="341852" y="277844"/>
                  </a:lnTo>
                  <a:lnTo>
                    <a:pt x="340709" y="281178"/>
                  </a:lnTo>
                  <a:lnTo>
                    <a:pt x="341947" y="284512"/>
                  </a:lnTo>
                  <a:lnTo>
                    <a:pt x="344138" y="287084"/>
                  </a:lnTo>
                  <a:lnTo>
                    <a:pt x="345948" y="292036"/>
                  </a:lnTo>
                  <a:lnTo>
                    <a:pt x="349091" y="294227"/>
                  </a:lnTo>
                  <a:lnTo>
                    <a:pt x="349091" y="297275"/>
                  </a:lnTo>
                  <a:cubicBezTo>
                    <a:pt x="349091" y="297275"/>
                    <a:pt x="348805" y="299276"/>
                    <a:pt x="348805" y="299276"/>
                  </a:cubicBezTo>
                  <a:lnTo>
                    <a:pt x="329279" y="309086"/>
                  </a:lnTo>
                  <a:lnTo>
                    <a:pt x="325374" y="288512"/>
                  </a:lnTo>
                  <a:lnTo>
                    <a:pt x="317754" y="290322"/>
                  </a:lnTo>
                  <a:lnTo>
                    <a:pt x="303467" y="292132"/>
                  </a:lnTo>
                  <a:lnTo>
                    <a:pt x="301561" y="277940"/>
                  </a:lnTo>
                  <a:lnTo>
                    <a:pt x="279654" y="274415"/>
                  </a:lnTo>
                  <a:lnTo>
                    <a:pt x="268224" y="274415"/>
                  </a:lnTo>
                  <a:lnTo>
                    <a:pt x="255842" y="258509"/>
                  </a:lnTo>
                  <a:lnTo>
                    <a:pt x="244411" y="265557"/>
                  </a:lnTo>
                  <a:lnTo>
                    <a:pt x="227267" y="265557"/>
                  </a:lnTo>
                  <a:lnTo>
                    <a:pt x="198787" y="272606"/>
                  </a:lnTo>
                  <a:lnTo>
                    <a:pt x="186404" y="286798"/>
                  </a:lnTo>
                  <a:lnTo>
                    <a:pt x="167354" y="286798"/>
                  </a:lnTo>
                  <a:lnTo>
                    <a:pt x="164497" y="272606"/>
                  </a:lnTo>
                  <a:lnTo>
                    <a:pt x="170212" y="258413"/>
                  </a:lnTo>
                  <a:lnTo>
                    <a:pt x="169259" y="244221"/>
                  </a:lnTo>
                  <a:lnTo>
                    <a:pt x="159734" y="233553"/>
                  </a:lnTo>
                  <a:lnTo>
                    <a:pt x="181642" y="230029"/>
                  </a:lnTo>
                  <a:lnTo>
                    <a:pt x="192119" y="221171"/>
                  </a:lnTo>
                  <a:lnTo>
                    <a:pt x="199739" y="199835"/>
                  </a:lnTo>
                  <a:lnTo>
                    <a:pt x="203549" y="183833"/>
                  </a:lnTo>
                  <a:lnTo>
                    <a:pt x="153162" y="174974"/>
                  </a:lnTo>
                  <a:lnTo>
                    <a:pt x="152209" y="160782"/>
                  </a:lnTo>
                  <a:lnTo>
                    <a:pt x="140779" y="158972"/>
                  </a:lnTo>
                  <a:lnTo>
                    <a:pt x="148400" y="125158"/>
                  </a:lnTo>
                  <a:lnTo>
                    <a:pt x="104680" y="141161"/>
                  </a:lnTo>
                  <a:lnTo>
                    <a:pt x="86582" y="135827"/>
                  </a:lnTo>
                  <a:lnTo>
                    <a:pt x="75628" y="126682"/>
                  </a:lnTo>
                  <a:lnTo>
                    <a:pt x="58579" y="120967"/>
                  </a:lnTo>
                  <a:lnTo>
                    <a:pt x="50673" y="109538"/>
                  </a:lnTo>
                  <a:lnTo>
                    <a:pt x="38386" y="102965"/>
                  </a:lnTo>
                  <a:lnTo>
                    <a:pt x="33718" y="95821"/>
                  </a:lnTo>
                  <a:lnTo>
                    <a:pt x="34576" y="90583"/>
                  </a:lnTo>
                  <a:lnTo>
                    <a:pt x="36576" y="84773"/>
                  </a:lnTo>
                  <a:lnTo>
                    <a:pt x="34671" y="78581"/>
                  </a:lnTo>
                  <a:lnTo>
                    <a:pt x="29623" y="75248"/>
                  </a:lnTo>
                  <a:lnTo>
                    <a:pt x="23241" y="68485"/>
                  </a:lnTo>
                  <a:lnTo>
                    <a:pt x="17431" y="60389"/>
                  </a:lnTo>
                  <a:lnTo>
                    <a:pt x="0" y="46672"/>
                  </a:lnTo>
                  <a:lnTo>
                    <a:pt x="1238" y="36385"/>
                  </a:lnTo>
                  <a:lnTo>
                    <a:pt x="13621" y="40577"/>
                  </a:lnTo>
                  <a:lnTo>
                    <a:pt x="21812" y="40100"/>
                  </a:lnTo>
                  <a:lnTo>
                    <a:pt x="26765" y="36100"/>
                  </a:lnTo>
                  <a:lnTo>
                    <a:pt x="31242" y="34290"/>
                  </a:lnTo>
                  <a:lnTo>
                    <a:pt x="35147" y="32004"/>
                  </a:lnTo>
                  <a:lnTo>
                    <a:pt x="38767" y="32004"/>
                  </a:lnTo>
                  <a:cubicBezTo>
                    <a:pt x="38767" y="32004"/>
                    <a:pt x="42005" y="31432"/>
                    <a:pt x="42005" y="31432"/>
                  </a:cubicBezTo>
                  <a:lnTo>
                    <a:pt x="45339" y="29718"/>
                  </a:lnTo>
                  <a:lnTo>
                    <a:pt x="57245" y="42196"/>
                  </a:lnTo>
                  <a:lnTo>
                    <a:pt x="72771" y="43910"/>
                  </a:lnTo>
                  <a:lnTo>
                    <a:pt x="74295" y="32957"/>
                  </a:lnTo>
                  <a:lnTo>
                    <a:pt x="75533" y="22669"/>
                  </a:lnTo>
                  <a:lnTo>
                    <a:pt x="77724" y="6763"/>
                  </a:lnTo>
                  <a:lnTo>
                    <a:pt x="92392" y="1619"/>
                  </a:lnTo>
                  <a:lnTo>
                    <a:pt x="96774" y="95"/>
                  </a:lnTo>
                </a:path>
              </a:pathLst>
            </a:custGeom>
            <a:grpFill/>
            <a:ln w="2381" cap="sq">
              <a:noFill/>
              <a:prstDash val="solid"/>
              <a:bevel/>
            </a:ln>
          </p:spPr>
          <p:txBody>
            <a:bodyPr rtlCol="0" anchor="ctr"/>
            <a:lstStyle/>
            <a:p>
              <a:endParaRPr lang="cs-CZ"/>
            </a:p>
          </p:txBody>
        </p:sp>
        <p:sp>
          <p:nvSpPr>
            <p:cNvPr id="176" name="Freeform: Shape 175">
              <a:extLst>
                <a:ext uri="{FF2B5EF4-FFF2-40B4-BE49-F238E27FC236}">
                  <a16:creationId xmlns:a16="http://schemas.microsoft.com/office/drawing/2014/main" id="{2620D122-43B9-48AE-05EA-8C15ABE955DC}"/>
                </a:ext>
              </a:extLst>
            </p:cNvPr>
            <p:cNvSpPr/>
            <p:nvPr/>
          </p:nvSpPr>
          <p:spPr>
            <a:xfrm>
              <a:off x="13766195" y="7531351"/>
              <a:ext cx="428720" cy="290036"/>
            </a:xfrm>
            <a:custGeom>
              <a:avLst/>
              <a:gdLst>
                <a:gd name="connsiteX0" fmla="*/ 108585 w 428720"/>
                <a:gd name="connsiteY0" fmla="*/ 0 h 290036"/>
                <a:gd name="connsiteX1" fmla="*/ 113348 w 428720"/>
                <a:gd name="connsiteY1" fmla="*/ 3715 h 290036"/>
                <a:gd name="connsiteX2" fmla="*/ 117729 w 428720"/>
                <a:gd name="connsiteY2" fmla="*/ 8858 h 290036"/>
                <a:gd name="connsiteX3" fmla="*/ 123825 w 428720"/>
                <a:gd name="connsiteY3" fmla="*/ 10001 h 290036"/>
                <a:gd name="connsiteX4" fmla="*/ 130683 w 428720"/>
                <a:gd name="connsiteY4" fmla="*/ 8477 h 290036"/>
                <a:gd name="connsiteX5" fmla="*/ 137446 w 428720"/>
                <a:gd name="connsiteY5" fmla="*/ 8668 h 290036"/>
                <a:gd name="connsiteX6" fmla="*/ 150876 w 428720"/>
                <a:gd name="connsiteY6" fmla="*/ 13335 h 290036"/>
                <a:gd name="connsiteX7" fmla="*/ 160020 w 428720"/>
                <a:gd name="connsiteY7" fmla="*/ 20669 h 290036"/>
                <a:gd name="connsiteX8" fmla="*/ 174308 w 428720"/>
                <a:gd name="connsiteY8" fmla="*/ 42767 h 290036"/>
                <a:gd name="connsiteX9" fmla="*/ 182213 w 428720"/>
                <a:gd name="connsiteY9" fmla="*/ 52006 h 290036"/>
                <a:gd name="connsiteX10" fmla="*/ 191453 w 428720"/>
                <a:gd name="connsiteY10" fmla="*/ 56483 h 290036"/>
                <a:gd name="connsiteX11" fmla="*/ 222695 w 428720"/>
                <a:gd name="connsiteY11" fmla="*/ 58483 h 290036"/>
                <a:gd name="connsiteX12" fmla="*/ 282797 w 428720"/>
                <a:gd name="connsiteY12" fmla="*/ 80677 h 290036"/>
                <a:gd name="connsiteX13" fmla="*/ 295656 w 428720"/>
                <a:gd name="connsiteY13" fmla="*/ 72390 h 290036"/>
                <a:gd name="connsiteX14" fmla="*/ 363855 w 428720"/>
                <a:gd name="connsiteY14" fmla="*/ 71723 h 290036"/>
                <a:gd name="connsiteX15" fmla="*/ 361760 w 428720"/>
                <a:gd name="connsiteY15" fmla="*/ 98107 h 290036"/>
                <a:gd name="connsiteX16" fmla="*/ 362903 w 428720"/>
                <a:gd name="connsiteY16" fmla="*/ 115252 h 290036"/>
                <a:gd name="connsiteX17" fmla="*/ 358712 w 428720"/>
                <a:gd name="connsiteY17" fmla="*/ 130112 h 290036"/>
                <a:gd name="connsiteX18" fmla="*/ 357378 w 428720"/>
                <a:gd name="connsiteY18" fmla="*/ 142780 h 290036"/>
                <a:gd name="connsiteX19" fmla="*/ 367094 w 428720"/>
                <a:gd name="connsiteY19" fmla="*/ 153448 h 290036"/>
                <a:gd name="connsiteX20" fmla="*/ 407861 w 428720"/>
                <a:gd name="connsiteY20" fmla="*/ 172784 h 290036"/>
                <a:gd name="connsiteX21" fmla="*/ 428720 w 428720"/>
                <a:gd name="connsiteY21" fmla="*/ 196310 h 290036"/>
                <a:gd name="connsiteX22" fmla="*/ 426434 w 428720"/>
                <a:gd name="connsiteY22" fmla="*/ 213455 h 290036"/>
                <a:gd name="connsiteX23" fmla="*/ 423863 w 428720"/>
                <a:gd name="connsiteY23" fmla="*/ 217646 h 290036"/>
                <a:gd name="connsiteX24" fmla="*/ 420148 w 428720"/>
                <a:gd name="connsiteY24" fmla="*/ 222314 h 290036"/>
                <a:gd name="connsiteX25" fmla="*/ 416243 w 428720"/>
                <a:gd name="connsiteY25" fmla="*/ 223647 h 290036"/>
                <a:gd name="connsiteX26" fmla="*/ 412337 w 428720"/>
                <a:gd name="connsiteY26" fmla="*/ 227076 h 290036"/>
                <a:gd name="connsiteX27" fmla="*/ 392049 w 428720"/>
                <a:gd name="connsiteY27" fmla="*/ 238506 h 290036"/>
                <a:gd name="connsiteX28" fmla="*/ 387001 w 428720"/>
                <a:gd name="connsiteY28" fmla="*/ 249460 h 290036"/>
                <a:gd name="connsiteX29" fmla="*/ 380714 w 428720"/>
                <a:gd name="connsiteY29" fmla="*/ 253460 h 290036"/>
                <a:gd name="connsiteX30" fmla="*/ 374618 w 428720"/>
                <a:gd name="connsiteY30" fmla="*/ 266510 h 290036"/>
                <a:gd name="connsiteX31" fmla="*/ 363379 w 428720"/>
                <a:gd name="connsiteY31" fmla="*/ 265843 h 290036"/>
                <a:gd name="connsiteX32" fmla="*/ 360331 w 428720"/>
                <a:gd name="connsiteY32" fmla="*/ 266224 h 290036"/>
                <a:gd name="connsiteX33" fmla="*/ 353568 w 428720"/>
                <a:gd name="connsiteY33" fmla="*/ 262318 h 290036"/>
                <a:gd name="connsiteX34" fmla="*/ 347853 w 428720"/>
                <a:gd name="connsiteY34" fmla="*/ 255746 h 290036"/>
                <a:gd name="connsiteX35" fmla="*/ 337566 w 428720"/>
                <a:gd name="connsiteY35" fmla="*/ 255556 h 290036"/>
                <a:gd name="connsiteX36" fmla="*/ 316325 w 428720"/>
                <a:gd name="connsiteY36" fmla="*/ 263557 h 290036"/>
                <a:gd name="connsiteX37" fmla="*/ 296323 w 428720"/>
                <a:gd name="connsiteY37" fmla="*/ 247936 h 290036"/>
                <a:gd name="connsiteX38" fmla="*/ 285083 w 428720"/>
                <a:gd name="connsiteY38" fmla="*/ 253174 h 290036"/>
                <a:gd name="connsiteX39" fmla="*/ 265557 w 428720"/>
                <a:gd name="connsiteY39" fmla="*/ 275368 h 290036"/>
                <a:gd name="connsiteX40" fmla="*/ 254794 w 428720"/>
                <a:gd name="connsiteY40" fmla="*/ 273748 h 290036"/>
                <a:gd name="connsiteX41" fmla="*/ 252031 w 428720"/>
                <a:gd name="connsiteY41" fmla="*/ 275558 h 290036"/>
                <a:gd name="connsiteX42" fmla="*/ 249364 w 428720"/>
                <a:gd name="connsiteY42" fmla="*/ 278130 h 290036"/>
                <a:gd name="connsiteX43" fmla="*/ 247364 w 428720"/>
                <a:gd name="connsiteY43" fmla="*/ 280892 h 290036"/>
                <a:gd name="connsiteX44" fmla="*/ 244031 w 428720"/>
                <a:gd name="connsiteY44" fmla="*/ 284226 h 290036"/>
                <a:gd name="connsiteX45" fmla="*/ 236506 w 428720"/>
                <a:gd name="connsiteY45" fmla="*/ 283940 h 290036"/>
                <a:gd name="connsiteX46" fmla="*/ 230029 w 428720"/>
                <a:gd name="connsiteY46" fmla="*/ 288798 h 290036"/>
                <a:gd name="connsiteX47" fmla="*/ 219170 w 428720"/>
                <a:gd name="connsiteY47" fmla="*/ 290036 h 290036"/>
                <a:gd name="connsiteX48" fmla="*/ 180023 w 428720"/>
                <a:gd name="connsiteY48" fmla="*/ 273939 h 290036"/>
                <a:gd name="connsiteX49" fmla="*/ 176022 w 428720"/>
                <a:gd name="connsiteY49" fmla="*/ 272796 h 290036"/>
                <a:gd name="connsiteX50" fmla="*/ 176213 w 428720"/>
                <a:gd name="connsiteY50" fmla="*/ 270605 h 290036"/>
                <a:gd name="connsiteX51" fmla="*/ 176975 w 428720"/>
                <a:gd name="connsiteY51" fmla="*/ 268415 h 290036"/>
                <a:gd name="connsiteX52" fmla="*/ 181451 w 428720"/>
                <a:gd name="connsiteY52" fmla="*/ 263557 h 290036"/>
                <a:gd name="connsiteX53" fmla="*/ 184118 w 428720"/>
                <a:gd name="connsiteY53" fmla="*/ 259651 h 290036"/>
                <a:gd name="connsiteX54" fmla="*/ 181356 w 428720"/>
                <a:gd name="connsiteY54" fmla="*/ 256699 h 290036"/>
                <a:gd name="connsiteX55" fmla="*/ 166116 w 428720"/>
                <a:gd name="connsiteY55" fmla="*/ 246602 h 290036"/>
                <a:gd name="connsiteX56" fmla="*/ 153543 w 428720"/>
                <a:gd name="connsiteY56" fmla="*/ 233839 h 290036"/>
                <a:gd name="connsiteX57" fmla="*/ 121253 w 428720"/>
                <a:gd name="connsiteY57" fmla="*/ 234315 h 290036"/>
                <a:gd name="connsiteX58" fmla="*/ 105442 w 428720"/>
                <a:gd name="connsiteY58" fmla="*/ 237363 h 290036"/>
                <a:gd name="connsiteX59" fmla="*/ 99346 w 428720"/>
                <a:gd name="connsiteY59" fmla="*/ 226028 h 290036"/>
                <a:gd name="connsiteX60" fmla="*/ 97822 w 428720"/>
                <a:gd name="connsiteY60" fmla="*/ 225552 h 290036"/>
                <a:gd name="connsiteX61" fmla="*/ 95726 w 428720"/>
                <a:gd name="connsiteY61" fmla="*/ 225266 h 290036"/>
                <a:gd name="connsiteX62" fmla="*/ 94202 w 428720"/>
                <a:gd name="connsiteY62" fmla="*/ 225933 h 290036"/>
                <a:gd name="connsiteX63" fmla="*/ 76295 w 428720"/>
                <a:gd name="connsiteY63" fmla="*/ 223742 h 290036"/>
                <a:gd name="connsiteX64" fmla="*/ 64865 w 428720"/>
                <a:gd name="connsiteY64" fmla="*/ 221361 h 290036"/>
                <a:gd name="connsiteX65" fmla="*/ 59817 w 428720"/>
                <a:gd name="connsiteY65" fmla="*/ 223361 h 290036"/>
                <a:gd name="connsiteX66" fmla="*/ 46958 w 428720"/>
                <a:gd name="connsiteY66" fmla="*/ 232315 h 290036"/>
                <a:gd name="connsiteX67" fmla="*/ 34290 w 428720"/>
                <a:gd name="connsiteY67" fmla="*/ 222504 h 290036"/>
                <a:gd name="connsiteX68" fmla="*/ 34004 w 428720"/>
                <a:gd name="connsiteY68" fmla="*/ 219837 h 290036"/>
                <a:gd name="connsiteX69" fmla="*/ 32480 w 428720"/>
                <a:gd name="connsiteY69" fmla="*/ 212122 h 290036"/>
                <a:gd name="connsiteX70" fmla="*/ 15240 w 428720"/>
                <a:gd name="connsiteY70" fmla="*/ 200596 h 290036"/>
                <a:gd name="connsiteX71" fmla="*/ 9335 w 428720"/>
                <a:gd name="connsiteY71" fmla="*/ 191834 h 290036"/>
                <a:gd name="connsiteX72" fmla="*/ 0 w 428720"/>
                <a:gd name="connsiteY72" fmla="*/ 171069 h 290036"/>
                <a:gd name="connsiteX73" fmla="*/ 7906 w 428720"/>
                <a:gd name="connsiteY73" fmla="*/ 150781 h 290036"/>
                <a:gd name="connsiteX74" fmla="*/ 19431 w 428720"/>
                <a:gd name="connsiteY74" fmla="*/ 152400 h 290036"/>
                <a:gd name="connsiteX75" fmla="*/ 36290 w 428720"/>
                <a:gd name="connsiteY75" fmla="*/ 152400 h 290036"/>
                <a:gd name="connsiteX76" fmla="*/ 42482 w 428720"/>
                <a:gd name="connsiteY76" fmla="*/ 147447 h 290036"/>
                <a:gd name="connsiteX77" fmla="*/ 46958 w 428720"/>
                <a:gd name="connsiteY77" fmla="*/ 117729 h 290036"/>
                <a:gd name="connsiteX78" fmla="*/ 49625 w 428720"/>
                <a:gd name="connsiteY78" fmla="*/ 99536 h 290036"/>
                <a:gd name="connsiteX79" fmla="*/ 63817 w 428720"/>
                <a:gd name="connsiteY79" fmla="*/ 89630 h 290036"/>
                <a:gd name="connsiteX80" fmla="*/ 83344 w 428720"/>
                <a:gd name="connsiteY80" fmla="*/ 89630 h 290036"/>
                <a:gd name="connsiteX81" fmla="*/ 83344 w 428720"/>
                <a:gd name="connsiteY81" fmla="*/ 78105 h 290036"/>
                <a:gd name="connsiteX82" fmla="*/ 82487 w 428720"/>
                <a:gd name="connsiteY82" fmla="*/ 53340 h 290036"/>
                <a:gd name="connsiteX83" fmla="*/ 78486 w 428720"/>
                <a:gd name="connsiteY83" fmla="*/ 40672 h 290036"/>
                <a:gd name="connsiteX84" fmla="*/ 86487 w 428720"/>
                <a:gd name="connsiteY84" fmla="*/ 33528 h 290036"/>
                <a:gd name="connsiteX85" fmla="*/ 91154 w 428720"/>
                <a:gd name="connsiteY85" fmla="*/ 23431 h 290036"/>
                <a:gd name="connsiteX86" fmla="*/ 95155 w 428720"/>
                <a:gd name="connsiteY86" fmla="*/ 12668 h 290036"/>
                <a:gd name="connsiteX87" fmla="*/ 101251 w 428720"/>
                <a:gd name="connsiteY87" fmla="*/ 3429 h 290036"/>
                <a:gd name="connsiteX88" fmla="*/ 108490 w 428720"/>
                <a:gd name="connsiteY88" fmla="*/ 95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428720" h="290036">
                  <a:moveTo>
                    <a:pt x="108585" y="0"/>
                  </a:moveTo>
                  <a:lnTo>
                    <a:pt x="113348" y="3715"/>
                  </a:lnTo>
                  <a:lnTo>
                    <a:pt x="117729" y="8858"/>
                  </a:lnTo>
                  <a:lnTo>
                    <a:pt x="123825" y="10001"/>
                  </a:lnTo>
                  <a:lnTo>
                    <a:pt x="130683" y="8477"/>
                  </a:lnTo>
                  <a:lnTo>
                    <a:pt x="137446" y="8668"/>
                  </a:lnTo>
                  <a:lnTo>
                    <a:pt x="150876" y="13335"/>
                  </a:lnTo>
                  <a:lnTo>
                    <a:pt x="160020" y="20669"/>
                  </a:lnTo>
                  <a:lnTo>
                    <a:pt x="174308" y="42767"/>
                  </a:lnTo>
                  <a:lnTo>
                    <a:pt x="182213" y="52006"/>
                  </a:lnTo>
                  <a:lnTo>
                    <a:pt x="191453" y="56483"/>
                  </a:lnTo>
                  <a:lnTo>
                    <a:pt x="222695" y="58483"/>
                  </a:lnTo>
                  <a:lnTo>
                    <a:pt x="282797" y="80677"/>
                  </a:lnTo>
                  <a:lnTo>
                    <a:pt x="295656" y="72390"/>
                  </a:lnTo>
                  <a:lnTo>
                    <a:pt x="363855" y="71723"/>
                  </a:lnTo>
                  <a:lnTo>
                    <a:pt x="361760" y="98107"/>
                  </a:lnTo>
                  <a:lnTo>
                    <a:pt x="362903" y="115252"/>
                  </a:lnTo>
                  <a:lnTo>
                    <a:pt x="358712" y="130112"/>
                  </a:lnTo>
                  <a:lnTo>
                    <a:pt x="357378" y="142780"/>
                  </a:lnTo>
                  <a:lnTo>
                    <a:pt x="367094" y="153448"/>
                  </a:lnTo>
                  <a:lnTo>
                    <a:pt x="407861" y="172784"/>
                  </a:lnTo>
                  <a:lnTo>
                    <a:pt x="428720" y="196310"/>
                  </a:lnTo>
                  <a:lnTo>
                    <a:pt x="426434" y="213455"/>
                  </a:lnTo>
                  <a:lnTo>
                    <a:pt x="423863" y="217646"/>
                  </a:lnTo>
                  <a:lnTo>
                    <a:pt x="420148" y="222314"/>
                  </a:lnTo>
                  <a:lnTo>
                    <a:pt x="416243" y="223647"/>
                  </a:lnTo>
                  <a:lnTo>
                    <a:pt x="412337" y="227076"/>
                  </a:lnTo>
                  <a:lnTo>
                    <a:pt x="392049" y="238506"/>
                  </a:lnTo>
                  <a:lnTo>
                    <a:pt x="387001" y="249460"/>
                  </a:lnTo>
                  <a:lnTo>
                    <a:pt x="380714" y="253460"/>
                  </a:lnTo>
                  <a:lnTo>
                    <a:pt x="374618" y="266510"/>
                  </a:lnTo>
                  <a:lnTo>
                    <a:pt x="363379" y="265843"/>
                  </a:lnTo>
                  <a:lnTo>
                    <a:pt x="360331" y="266224"/>
                  </a:lnTo>
                  <a:lnTo>
                    <a:pt x="353568" y="262318"/>
                  </a:lnTo>
                  <a:lnTo>
                    <a:pt x="347853" y="255746"/>
                  </a:lnTo>
                  <a:lnTo>
                    <a:pt x="337566" y="255556"/>
                  </a:lnTo>
                  <a:lnTo>
                    <a:pt x="316325" y="263557"/>
                  </a:lnTo>
                  <a:lnTo>
                    <a:pt x="296323" y="247936"/>
                  </a:lnTo>
                  <a:lnTo>
                    <a:pt x="285083" y="253174"/>
                  </a:lnTo>
                  <a:lnTo>
                    <a:pt x="265557" y="275368"/>
                  </a:lnTo>
                  <a:lnTo>
                    <a:pt x="254794" y="273748"/>
                  </a:lnTo>
                  <a:lnTo>
                    <a:pt x="252031" y="275558"/>
                  </a:lnTo>
                  <a:lnTo>
                    <a:pt x="249364" y="278130"/>
                  </a:lnTo>
                  <a:lnTo>
                    <a:pt x="247364" y="280892"/>
                  </a:lnTo>
                  <a:lnTo>
                    <a:pt x="244031" y="284226"/>
                  </a:lnTo>
                  <a:lnTo>
                    <a:pt x="236506" y="283940"/>
                  </a:lnTo>
                  <a:lnTo>
                    <a:pt x="230029" y="288798"/>
                  </a:lnTo>
                  <a:lnTo>
                    <a:pt x="219170" y="290036"/>
                  </a:lnTo>
                  <a:lnTo>
                    <a:pt x="180023" y="273939"/>
                  </a:lnTo>
                  <a:lnTo>
                    <a:pt x="176022" y="272796"/>
                  </a:lnTo>
                  <a:lnTo>
                    <a:pt x="176213" y="270605"/>
                  </a:lnTo>
                  <a:lnTo>
                    <a:pt x="176975" y="268415"/>
                  </a:lnTo>
                  <a:lnTo>
                    <a:pt x="181451" y="263557"/>
                  </a:lnTo>
                  <a:lnTo>
                    <a:pt x="184118" y="259651"/>
                  </a:lnTo>
                  <a:lnTo>
                    <a:pt x="181356" y="256699"/>
                  </a:lnTo>
                  <a:lnTo>
                    <a:pt x="166116" y="246602"/>
                  </a:lnTo>
                  <a:lnTo>
                    <a:pt x="153543" y="233839"/>
                  </a:lnTo>
                  <a:lnTo>
                    <a:pt x="121253" y="234315"/>
                  </a:lnTo>
                  <a:lnTo>
                    <a:pt x="105442" y="237363"/>
                  </a:lnTo>
                  <a:lnTo>
                    <a:pt x="99346" y="226028"/>
                  </a:lnTo>
                  <a:lnTo>
                    <a:pt x="97822" y="225552"/>
                  </a:lnTo>
                  <a:lnTo>
                    <a:pt x="95726" y="225266"/>
                  </a:lnTo>
                  <a:lnTo>
                    <a:pt x="94202" y="225933"/>
                  </a:lnTo>
                  <a:lnTo>
                    <a:pt x="76295" y="223742"/>
                  </a:lnTo>
                  <a:lnTo>
                    <a:pt x="64865" y="221361"/>
                  </a:lnTo>
                  <a:lnTo>
                    <a:pt x="59817" y="223361"/>
                  </a:lnTo>
                  <a:lnTo>
                    <a:pt x="46958" y="232315"/>
                  </a:lnTo>
                  <a:lnTo>
                    <a:pt x="34290" y="222504"/>
                  </a:lnTo>
                  <a:lnTo>
                    <a:pt x="34004" y="219837"/>
                  </a:lnTo>
                  <a:lnTo>
                    <a:pt x="32480" y="212122"/>
                  </a:lnTo>
                  <a:lnTo>
                    <a:pt x="15240" y="200596"/>
                  </a:lnTo>
                  <a:lnTo>
                    <a:pt x="9335" y="191834"/>
                  </a:lnTo>
                  <a:lnTo>
                    <a:pt x="0" y="171069"/>
                  </a:lnTo>
                  <a:lnTo>
                    <a:pt x="7906" y="150781"/>
                  </a:lnTo>
                  <a:lnTo>
                    <a:pt x="19431" y="152400"/>
                  </a:lnTo>
                  <a:lnTo>
                    <a:pt x="36290" y="152400"/>
                  </a:lnTo>
                  <a:lnTo>
                    <a:pt x="42482" y="147447"/>
                  </a:lnTo>
                  <a:lnTo>
                    <a:pt x="46958" y="117729"/>
                  </a:lnTo>
                  <a:lnTo>
                    <a:pt x="49625" y="99536"/>
                  </a:lnTo>
                  <a:lnTo>
                    <a:pt x="63817" y="89630"/>
                  </a:lnTo>
                  <a:lnTo>
                    <a:pt x="83344" y="89630"/>
                  </a:lnTo>
                  <a:lnTo>
                    <a:pt x="83344" y="78105"/>
                  </a:lnTo>
                  <a:lnTo>
                    <a:pt x="82487" y="53340"/>
                  </a:lnTo>
                  <a:lnTo>
                    <a:pt x="78486" y="40672"/>
                  </a:lnTo>
                  <a:lnTo>
                    <a:pt x="86487" y="33528"/>
                  </a:lnTo>
                  <a:lnTo>
                    <a:pt x="91154" y="23431"/>
                  </a:lnTo>
                  <a:lnTo>
                    <a:pt x="95155" y="12668"/>
                  </a:lnTo>
                  <a:lnTo>
                    <a:pt x="101251" y="3429"/>
                  </a:lnTo>
                  <a:lnTo>
                    <a:pt x="108490" y="95"/>
                  </a:lnTo>
                </a:path>
              </a:pathLst>
            </a:custGeom>
            <a:grpFill/>
            <a:ln w="2381" cap="sq">
              <a:noFill/>
              <a:prstDash val="solid"/>
              <a:bevel/>
            </a:ln>
          </p:spPr>
          <p:txBody>
            <a:bodyPr rtlCol="0" anchor="ctr"/>
            <a:lstStyle/>
            <a:p>
              <a:endParaRPr lang="cs-CZ"/>
            </a:p>
          </p:txBody>
        </p:sp>
        <p:sp>
          <p:nvSpPr>
            <p:cNvPr id="177" name="Freeform: Shape 176">
              <a:extLst>
                <a:ext uri="{FF2B5EF4-FFF2-40B4-BE49-F238E27FC236}">
                  <a16:creationId xmlns:a16="http://schemas.microsoft.com/office/drawing/2014/main" id="{D3326E26-20E4-BB6B-E1B1-1CA0996DCDEE}"/>
                </a:ext>
              </a:extLst>
            </p:cNvPr>
            <p:cNvSpPr/>
            <p:nvPr/>
          </p:nvSpPr>
          <p:spPr>
            <a:xfrm>
              <a:off x="14081187" y="7727565"/>
              <a:ext cx="172592" cy="242792"/>
            </a:xfrm>
            <a:custGeom>
              <a:avLst/>
              <a:gdLst>
                <a:gd name="connsiteX0" fmla="*/ 113538 w 172592"/>
                <a:gd name="connsiteY0" fmla="*/ 0 h 242792"/>
                <a:gd name="connsiteX1" fmla="*/ 118777 w 172592"/>
                <a:gd name="connsiteY1" fmla="*/ 6001 h 242792"/>
                <a:gd name="connsiteX2" fmla="*/ 158210 w 172592"/>
                <a:gd name="connsiteY2" fmla="*/ 30671 h 242792"/>
                <a:gd name="connsiteX3" fmla="*/ 165449 w 172592"/>
                <a:gd name="connsiteY3" fmla="*/ 37148 h 242792"/>
                <a:gd name="connsiteX4" fmla="*/ 170307 w 172592"/>
                <a:gd name="connsiteY4" fmla="*/ 47434 h 242792"/>
                <a:gd name="connsiteX5" fmla="*/ 172593 w 172592"/>
                <a:gd name="connsiteY5" fmla="*/ 64294 h 242792"/>
                <a:gd name="connsiteX6" fmla="*/ 170688 w 172592"/>
                <a:gd name="connsiteY6" fmla="*/ 104680 h 242792"/>
                <a:gd name="connsiteX7" fmla="*/ 167830 w 172592"/>
                <a:gd name="connsiteY7" fmla="*/ 126778 h 242792"/>
                <a:gd name="connsiteX8" fmla="*/ 164116 w 172592"/>
                <a:gd name="connsiteY8" fmla="*/ 142113 h 242792"/>
                <a:gd name="connsiteX9" fmla="*/ 152305 w 172592"/>
                <a:gd name="connsiteY9" fmla="*/ 153353 h 242792"/>
                <a:gd name="connsiteX10" fmla="*/ 116110 w 172592"/>
                <a:gd name="connsiteY10" fmla="*/ 170974 h 242792"/>
                <a:gd name="connsiteX11" fmla="*/ 108775 w 172592"/>
                <a:gd name="connsiteY11" fmla="*/ 181737 h 242792"/>
                <a:gd name="connsiteX12" fmla="*/ 114205 w 172592"/>
                <a:gd name="connsiteY12" fmla="*/ 194786 h 242792"/>
                <a:gd name="connsiteX13" fmla="*/ 124301 w 172592"/>
                <a:gd name="connsiteY13" fmla="*/ 200120 h 242792"/>
                <a:gd name="connsiteX14" fmla="*/ 133445 w 172592"/>
                <a:gd name="connsiteY14" fmla="*/ 207264 h 242792"/>
                <a:gd name="connsiteX15" fmla="*/ 135446 w 172592"/>
                <a:gd name="connsiteY15" fmla="*/ 225647 h 242792"/>
                <a:gd name="connsiteX16" fmla="*/ 133540 w 172592"/>
                <a:gd name="connsiteY16" fmla="*/ 233458 h 242792"/>
                <a:gd name="connsiteX17" fmla="*/ 111823 w 172592"/>
                <a:gd name="connsiteY17" fmla="*/ 239554 h 242792"/>
                <a:gd name="connsiteX18" fmla="*/ 91440 w 172592"/>
                <a:gd name="connsiteY18" fmla="*/ 242792 h 242792"/>
                <a:gd name="connsiteX19" fmla="*/ 88773 w 172592"/>
                <a:gd name="connsiteY19" fmla="*/ 228124 h 242792"/>
                <a:gd name="connsiteX20" fmla="*/ 72771 w 172592"/>
                <a:gd name="connsiteY20" fmla="*/ 224885 h 242792"/>
                <a:gd name="connsiteX21" fmla="*/ 58579 w 172592"/>
                <a:gd name="connsiteY21" fmla="*/ 228124 h 242792"/>
                <a:gd name="connsiteX22" fmla="*/ 54102 w 172592"/>
                <a:gd name="connsiteY22" fmla="*/ 200406 h 242792"/>
                <a:gd name="connsiteX23" fmla="*/ 43434 w 172592"/>
                <a:gd name="connsiteY23" fmla="*/ 198787 h 242792"/>
                <a:gd name="connsiteX24" fmla="*/ 20383 w 172592"/>
                <a:gd name="connsiteY24" fmla="*/ 174308 h 242792"/>
                <a:gd name="connsiteX25" fmla="*/ 0 w 172592"/>
                <a:gd name="connsiteY25" fmla="*/ 141637 h 242792"/>
                <a:gd name="connsiteX26" fmla="*/ 8858 w 172592"/>
                <a:gd name="connsiteY26" fmla="*/ 104013 h 242792"/>
                <a:gd name="connsiteX27" fmla="*/ 16859 w 172592"/>
                <a:gd name="connsiteY27" fmla="*/ 81058 h 242792"/>
                <a:gd name="connsiteX28" fmla="*/ 32766 w 172592"/>
                <a:gd name="connsiteY28" fmla="*/ 59531 h 242792"/>
                <a:gd name="connsiteX29" fmla="*/ 38481 w 172592"/>
                <a:gd name="connsiteY29" fmla="*/ 66103 h 242792"/>
                <a:gd name="connsiteX30" fmla="*/ 45244 w 172592"/>
                <a:gd name="connsiteY30" fmla="*/ 70009 h 242792"/>
                <a:gd name="connsiteX31" fmla="*/ 48292 w 172592"/>
                <a:gd name="connsiteY31" fmla="*/ 69628 h 242792"/>
                <a:gd name="connsiteX32" fmla="*/ 59531 w 172592"/>
                <a:gd name="connsiteY32" fmla="*/ 70295 h 242792"/>
                <a:gd name="connsiteX33" fmla="*/ 65627 w 172592"/>
                <a:gd name="connsiteY33" fmla="*/ 57245 h 242792"/>
                <a:gd name="connsiteX34" fmla="*/ 71914 w 172592"/>
                <a:gd name="connsiteY34" fmla="*/ 53245 h 242792"/>
                <a:gd name="connsiteX35" fmla="*/ 76962 w 172592"/>
                <a:gd name="connsiteY35" fmla="*/ 42291 h 242792"/>
                <a:gd name="connsiteX36" fmla="*/ 97250 w 172592"/>
                <a:gd name="connsiteY36" fmla="*/ 30861 h 242792"/>
                <a:gd name="connsiteX37" fmla="*/ 101155 w 172592"/>
                <a:gd name="connsiteY37" fmla="*/ 27432 h 242792"/>
                <a:gd name="connsiteX38" fmla="*/ 105061 w 172592"/>
                <a:gd name="connsiteY38" fmla="*/ 26099 h 242792"/>
                <a:gd name="connsiteX39" fmla="*/ 108775 w 172592"/>
                <a:gd name="connsiteY39" fmla="*/ 21431 h 242792"/>
                <a:gd name="connsiteX40" fmla="*/ 111347 w 172592"/>
                <a:gd name="connsiteY40" fmla="*/ 17240 h 242792"/>
                <a:gd name="connsiteX41" fmla="*/ 113633 w 172592"/>
                <a:gd name="connsiteY41" fmla="*/ 95 h 242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592" h="242792">
                  <a:moveTo>
                    <a:pt x="113538" y="0"/>
                  </a:moveTo>
                  <a:lnTo>
                    <a:pt x="118777" y="6001"/>
                  </a:lnTo>
                  <a:lnTo>
                    <a:pt x="158210" y="30671"/>
                  </a:lnTo>
                  <a:lnTo>
                    <a:pt x="165449" y="37148"/>
                  </a:lnTo>
                  <a:lnTo>
                    <a:pt x="170307" y="47434"/>
                  </a:lnTo>
                  <a:lnTo>
                    <a:pt x="172593" y="64294"/>
                  </a:lnTo>
                  <a:lnTo>
                    <a:pt x="170688" y="104680"/>
                  </a:lnTo>
                  <a:lnTo>
                    <a:pt x="167830" y="126778"/>
                  </a:lnTo>
                  <a:lnTo>
                    <a:pt x="164116" y="142113"/>
                  </a:lnTo>
                  <a:lnTo>
                    <a:pt x="152305" y="153353"/>
                  </a:lnTo>
                  <a:lnTo>
                    <a:pt x="116110" y="170974"/>
                  </a:lnTo>
                  <a:lnTo>
                    <a:pt x="108775" y="181737"/>
                  </a:lnTo>
                  <a:lnTo>
                    <a:pt x="114205" y="194786"/>
                  </a:lnTo>
                  <a:lnTo>
                    <a:pt x="124301" y="200120"/>
                  </a:lnTo>
                  <a:lnTo>
                    <a:pt x="133445" y="207264"/>
                  </a:lnTo>
                  <a:lnTo>
                    <a:pt x="135446" y="225647"/>
                  </a:lnTo>
                  <a:lnTo>
                    <a:pt x="133540" y="233458"/>
                  </a:lnTo>
                  <a:lnTo>
                    <a:pt x="111823" y="239554"/>
                  </a:lnTo>
                  <a:lnTo>
                    <a:pt x="91440" y="242792"/>
                  </a:lnTo>
                  <a:lnTo>
                    <a:pt x="88773" y="228124"/>
                  </a:lnTo>
                  <a:lnTo>
                    <a:pt x="72771" y="224885"/>
                  </a:lnTo>
                  <a:lnTo>
                    <a:pt x="58579" y="228124"/>
                  </a:lnTo>
                  <a:lnTo>
                    <a:pt x="54102" y="200406"/>
                  </a:lnTo>
                  <a:lnTo>
                    <a:pt x="43434" y="198787"/>
                  </a:lnTo>
                  <a:lnTo>
                    <a:pt x="20383" y="174308"/>
                  </a:lnTo>
                  <a:lnTo>
                    <a:pt x="0" y="141637"/>
                  </a:lnTo>
                  <a:lnTo>
                    <a:pt x="8858" y="104013"/>
                  </a:lnTo>
                  <a:lnTo>
                    <a:pt x="16859" y="81058"/>
                  </a:lnTo>
                  <a:lnTo>
                    <a:pt x="32766" y="59531"/>
                  </a:lnTo>
                  <a:lnTo>
                    <a:pt x="38481" y="66103"/>
                  </a:lnTo>
                  <a:lnTo>
                    <a:pt x="45244" y="70009"/>
                  </a:lnTo>
                  <a:lnTo>
                    <a:pt x="48292" y="69628"/>
                  </a:lnTo>
                  <a:lnTo>
                    <a:pt x="59531" y="70295"/>
                  </a:lnTo>
                  <a:lnTo>
                    <a:pt x="65627" y="57245"/>
                  </a:lnTo>
                  <a:lnTo>
                    <a:pt x="71914" y="53245"/>
                  </a:lnTo>
                  <a:lnTo>
                    <a:pt x="76962" y="42291"/>
                  </a:lnTo>
                  <a:lnTo>
                    <a:pt x="97250" y="30861"/>
                  </a:lnTo>
                  <a:lnTo>
                    <a:pt x="101155" y="27432"/>
                  </a:lnTo>
                  <a:lnTo>
                    <a:pt x="105061" y="26099"/>
                  </a:lnTo>
                  <a:lnTo>
                    <a:pt x="108775" y="21431"/>
                  </a:lnTo>
                  <a:lnTo>
                    <a:pt x="111347" y="17240"/>
                  </a:lnTo>
                  <a:lnTo>
                    <a:pt x="113633" y="95"/>
                  </a:lnTo>
                </a:path>
              </a:pathLst>
            </a:custGeom>
            <a:grpFill/>
            <a:ln w="2381" cap="sq">
              <a:noFill/>
              <a:prstDash val="solid"/>
              <a:bevel/>
            </a:ln>
          </p:spPr>
          <p:txBody>
            <a:bodyPr rtlCol="0" anchor="ctr"/>
            <a:lstStyle/>
            <a:p>
              <a:endParaRPr lang="cs-CZ"/>
            </a:p>
          </p:txBody>
        </p:sp>
        <p:sp>
          <p:nvSpPr>
            <p:cNvPr id="178" name="Freeform: Shape 177">
              <a:extLst>
                <a:ext uri="{FF2B5EF4-FFF2-40B4-BE49-F238E27FC236}">
                  <a16:creationId xmlns:a16="http://schemas.microsoft.com/office/drawing/2014/main" id="{7B8D4DB8-8D28-4B73-124C-C4B91F3B39E9}"/>
                </a:ext>
              </a:extLst>
            </p:cNvPr>
            <p:cNvSpPr/>
            <p:nvPr/>
          </p:nvSpPr>
          <p:spPr>
            <a:xfrm>
              <a:off x="14086521" y="7961119"/>
              <a:ext cx="128206" cy="139064"/>
            </a:xfrm>
            <a:custGeom>
              <a:avLst/>
              <a:gdLst>
                <a:gd name="connsiteX0" fmla="*/ 128206 w 128206"/>
                <a:gd name="connsiteY0" fmla="*/ 0 h 139064"/>
                <a:gd name="connsiteX1" fmla="*/ 121920 w 128206"/>
                <a:gd name="connsiteY1" fmla="*/ 15431 h 139064"/>
                <a:gd name="connsiteX2" fmla="*/ 119539 w 128206"/>
                <a:gd name="connsiteY2" fmla="*/ 23336 h 139064"/>
                <a:gd name="connsiteX3" fmla="*/ 118491 w 128206"/>
                <a:gd name="connsiteY3" fmla="*/ 30575 h 139064"/>
                <a:gd name="connsiteX4" fmla="*/ 117634 w 128206"/>
                <a:gd name="connsiteY4" fmla="*/ 44863 h 139064"/>
                <a:gd name="connsiteX5" fmla="*/ 116300 w 128206"/>
                <a:gd name="connsiteY5" fmla="*/ 52959 h 139064"/>
                <a:gd name="connsiteX6" fmla="*/ 90392 w 128206"/>
                <a:gd name="connsiteY6" fmla="*/ 108680 h 139064"/>
                <a:gd name="connsiteX7" fmla="*/ 82487 w 128206"/>
                <a:gd name="connsiteY7" fmla="*/ 133636 h 139064"/>
                <a:gd name="connsiteX8" fmla="*/ 88773 w 128206"/>
                <a:gd name="connsiteY8" fmla="*/ 135350 h 139064"/>
                <a:gd name="connsiteX9" fmla="*/ 85915 w 128206"/>
                <a:gd name="connsiteY9" fmla="*/ 139065 h 139064"/>
                <a:gd name="connsiteX10" fmla="*/ 77248 w 128206"/>
                <a:gd name="connsiteY10" fmla="*/ 133064 h 139064"/>
                <a:gd name="connsiteX11" fmla="*/ 71723 w 128206"/>
                <a:gd name="connsiteY11" fmla="*/ 127730 h 139064"/>
                <a:gd name="connsiteX12" fmla="*/ 64103 w 128206"/>
                <a:gd name="connsiteY12" fmla="*/ 124015 h 139064"/>
                <a:gd name="connsiteX13" fmla="*/ 60388 w 128206"/>
                <a:gd name="connsiteY13" fmla="*/ 119539 h 139064"/>
                <a:gd name="connsiteX14" fmla="*/ 58769 w 128206"/>
                <a:gd name="connsiteY14" fmla="*/ 117062 h 139064"/>
                <a:gd name="connsiteX15" fmla="*/ 56388 w 128206"/>
                <a:gd name="connsiteY15" fmla="*/ 114681 h 139064"/>
                <a:gd name="connsiteX16" fmla="*/ 51721 w 128206"/>
                <a:gd name="connsiteY16" fmla="*/ 117348 h 139064"/>
                <a:gd name="connsiteX17" fmla="*/ 44005 w 128206"/>
                <a:gd name="connsiteY17" fmla="*/ 120206 h 139064"/>
                <a:gd name="connsiteX18" fmla="*/ 39433 w 128206"/>
                <a:gd name="connsiteY18" fmla="*/ 123730 h 139064"/>
                <a:gd name="connsiteX19" fmla="*/ 11621 w 128206"/>
                <a:gd name="connsiteY19" fmla="*/ 127540 h 139064"/>
                <a:gd name="connsiteX20" fmla="*/ 7048 w 128206"/>
                <a:gd name="connsiteY20" fmla="*/ 105251 h 139064"/>
                <a:gd name="connsiteX21" fmla="*/ 0 w 128206"/>
                <a:gd name="connsiteY21" fmla="*/ 92297 h 139064"/>
                <a:gd name="connsiteX22" fmla="*/ 10668 w 128206"/>
                <a:gd name="connsiteY22" fmla="*/ 82582 h 139064"/>
                <a:gd name="connsiteX23" fmla="*/ 30194 w 128206"/>
                <a:gd name="connsiteY23" fmla="*/ 84201 h 139064"/>
                <a:gd name="connsiteX24" fmla="*/ 47054 w 128206"/>
                <a:gd name="connsiteY24" fmla="*/ 69533 h 139064"/>
                <a:gd name="connsiteX25" fmla="*/ 40005 w 128206"/>
                <a:gd name="connsiteY25" fmla="*/ 54864 h 139064"/>
                <a:gd name="connsiteX26" fmla="*/ 76390 w 128206"/>
                <a:gd name="connsiteY26" fmla="*/ 33719 h 139064"/>
                <a:gd name="connsiteX27" fmla="*/ 96774 w 128206"/>
                <a:gd name="connsiteY27" fmla="*/ 30480 h 139064"/>
                <a:gd name="connsiteX28" fmla="*/ 86106 w 128206"/>
                <a:gd name="connsiteY28" fmla="*/ 9335 h 139064"/>
                <a:gd name="connsiteX29" fmla="*/ 106489 w 128206"/>
                <a:gd name="connsiteY29" fmla="*/ 6096 h 139064"/>
                <a:gd name="connsiteX30" fmla="*/ 128206 w 128206"/>
                <a:gd name="connsiteY30" fmla="*/ 0 h 139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8206" h="139064">
                  <a:moveTo>
                    <a:pt x="128206" y="0"/>
                  </a:moveTo>
                  <a:lnTo>
                    <a:pt x="121920" y="15431"/>
                  </a:lnTo>
                  <a:lnTo>
                    <a:pt x="119539" y="23336"/>
                  </a:lnTo>
                  <a:lnTo>
                    <a:pt x="118491" y="30575"/>
                  </a:lnTo>
                  <a:lnTo>
                    <a:pt x="117634" y="44863"/>
                  </a:lnTo>
                  <a:lnTo>
                    <a:pt x="116300" y="52959"/>
                  </a:lnTo>
                  <a:lnTo>
                    <a:pt x="90392" y="108680"/>
                  </a:lnTo>
                  <a:lnTo>
                    <a:pt x="82487" y="133636"/>
                  </a:lnTo>
                  <a:lnTo>
                    <a:pt x="88773" y="135350"/>
                  </a:lnTo>
                  <a:lnTo>
                    <a:pt x="85915" y="139065"/>
                  </a:lnTo>
                  <a:lnTo>
                    <a:pt x="77248" y="133064"/>
                  </a:lnTo>
                  <a:lnTo>
                    <a:pt x="71723" y="127730"/>
                  </a:lnTo>
                  <a:lnTo>
                    <a:pt x="64103" y="124015"/>
                  </a:lnTo>
                  <a:lnTo>
                    <a:pt x="60388" y="119539"/>
                  </a:lnTo>
                  <a:lnTo>
                    <a:pt x="58769" y="117062"/>
                  </a:lnTo>
                  <a:lnTo>
                    <a:pt x="56388" y="114681"/>
                  </a:lnTo>
                  <a:lnTo>
                    <a:pt x="51721" y="117348"/>
                  </a:lnTo>
                  <a:lnTo>
                    <a:pt x="44005" y="120206"/>
                  </a:lnTo>
                  <a:lnTo>
                    <a:pt x="39433" y="123730"/>
                  </a:lnTo>
                  <a:lnTo>
                    <a:pt x="11621" y="127540"/>
                  </a:lnTo>
                  <a:lnTo>
                    <a:pt x="7048" y="105251"/>
                  </a:lnTo>
                  <a:lnTo>
                    <a:pt x="0" y="92297"/>
                  </a:lnTo>
                  <a:lnTo>
                    <a:pt x="10668" y="82582"/>
                  </a:lnTo>
                  <a:lnTo>
                    <a:pt x="30194" y="84201"/>
                  </a:lnTo>
                  <a:lnTo>
                    <a:pt x="47054" y="69533"/>
                  </a:lnTo>
                  <a:lnTo>
                    <a:pt x="40005" y="54864"/>
                  </a:lnTo>
                  <a:lnTo>
                    <a:pt x="76390" y="33719"/>
                  </a:lnTo>
                  <a:lnTo>
                    <a:pt x="96774" y="30480"/>
                  </a:lnTo>
                  <a:lnTo>
                    <a:pt x="86106" y="9335"/>
                  </a:lnTo>
                  <a:lnTo>
                    <a:pt x="106489" y="6096"/>
                  </a:lnTo>
                  <a:lnTo>
                    <a:pt x="128206" y="0"/>
                  </a:lnTo>
                </a:path>
              </a:pathLst>
            </a:custGeom>
            <a:grpFill/>
            <a:ln w="2381" cap="sq">
              <a:noFill/>
              <a:prstDash val="solid"/>
              <a:bevel/>
            </a:ln>
          </p:spPr>
          <p:txBody>
            <a:bodyPr rtlCol="0" anchor="ctr"/>
            <a:lstStyle/>
            <a:p>
              <a:endParaRPr lang="cs-CZ"/>
            </a:p>
          </p:txBody>
        </p:sp>
        <p:sp>
          <p:nvSpPr>
            <p:cNvPr id="179" name="Freeform: Shape 178">
              <a:extLst>
                <a:ext uri="{FF2B5EF4-FFF2-40B4-BE49-F238E27FC236}">
                  <a16:creationId xmlns:a16="http://schemas.microsoft.com/office/drawing/2014/main" id="{68CEEF62-BD52-6FB5-C84E-74EED5EED2B0}"/>
                </a:ext>
              </a:extLst>
            </p:cNvPr>
            <p:cNvSpPr/>
            <p:nvPr/>
          </p:nvSpPr>
          <p:spPr>
            <a:xfrm>
              <a:off x="14056898" y="8075514"/>
              <a:ext cx="225361" cy="178879"/>
            </a:xfrm>
            <a:custGeom>
              <a:avLst/>
              <a:gdLst>
                <a:gd name="connsiteX0" fmla="*/ 118301 w 225361"/>
                <a:gd name="connsiteY0" fmla="*/ 20955 h 178879"/>
                <a:gd name="connsiteX1" fmla="*/ 124873 w 225361"/>
                <a:gd name="connsiteY1" fmla="*/ 22765 h 178879"/>
                <a:gd name="connsiteX2" fmla="*/ 157163 w 225361"/>
                <a:gd name="connsiteY2" fmla="*/ 4572 h 178879"/>
                <a:gd name="connsiteX3" fmla="*/ 173641 w 225361"/>
                <a:gd name="connsiteY3" fmla="*/ 0 h 178879"/>
                <a:gd name="connsiteX4" fmla="*/ 190976 w 225361"/>
                <a:gd name="connsiteY4" fmla="*/ 4953 h 178879"/>
                <a:gd name="connsiteX5" fmla="*/ 199358 w 225361"/>
                <a:gd name="connsiteY5" fmla="*/ 12097 h 178879"/>
                <a:gd name="connsiteX6" fmla="*/ 214694 w 225361"/>
                <a:gd name="connsiteY6" fmla="*/ 29623 h 178879"/>
                <a:gd name="connsiteX7" fmla="*/ 223266 w 225361"/>
                <a:gd name="connsiteY7" fmla="*/ 36481 h 178879"/>
                <a:gd name="connsiteX8" fmla="*/ 225362 w 225361"/>
                <a:gd name="connsiteY8" fmla="*/ 46672 h 178879"/>
                <a:gd name="connsiteX9" fmla="*/ 218027 w 225361"/>
                <a:gd name="connsiteY9" fmla="*/ 62865 h 178879"/>
                <a:gd name="connsiteX10" fmla="*/ 208693 w 225361"/>
                <a:gd name="connsiteY10" fmla="*/ 79629 h 178879"/>
                <a:gd name="connsiteX11" fmla="*/ 204597 w 225361"/>
                <a:gd name="connsiteY11" fmla="*/ 91535 h 178879"/>
                <a:gd name="connsiteX12" fmla="*/ 196120 w 225361"/>
                <a:gd name="connsiteY12" fmla="*/ 91059 h 178879"/>
                <a:gd name="connsiteX13" fmla="*/ 187071 w 225361"/>
                <a:gd name="connsiteY13" fmla="*/ 102108 h 178879"/>
                <a:gd name="connsiteX14" fmla="*/ 187071 w 225361"/>
                <a:gd name="connsiteY14" fmla="*/ 129635 h 178879"/>
                <a:gd name="connsiteX15" fmla="*/ 180023 w 225361"/>
                <a:gd name="connsiteY15" fmla="*/ 146113 h 178879"/>
                <a:gd name="connsiteX16" fmla="*/ 163925 w 225361"/>
                <a:gd name="connsiteY16" fmla="*/ 127730 h 178879"/>
                <a:gd name="connsiteX17" fmla="*/ 118586 w 225361"/>
                <a:gd name="connsiteY17" fmla="*/ 131445 h 178879"/>
                <a:gd name="connsiteX18" fmla="*/ 98393 w 225361"/>
                <a:gd name="connsiteY18" fmla="*/ 153448 h 178879"/>
                <a:gd name="connsiteX19" fmla="*/ 93536 w 225361"/>
                <a:gd name="connsiteY19" fmla="*/ 178879 h 178879"/>
                <a:gd name="connsiteX20" fmla="*/ 82391 w 225361"/>
                <a:gd name="connsiteY20" fmla="*/ 166592 h 178879"/>
                <a:gd name="connsiteX21" fmla="*/ 78486 w 225361"/>
                <a:gd name="connsiteY21" fmla="*/ 160687 h 178879"/>
                <a:gd name="connsiteX22" fmla="*/ 72009 w 225361"/>
                <a:gd name="connsiteY22" fmla="*/ 155924 h 178879"/>
                <a:gd name="connsiteX23" fmla="*/ 67151 w 225361"/>
                <a:gd name="connsiteY23" fmla="*/ 153734 h 178879"/>
                <a:gd name="connsiteX24" fmla="*/ 63056 w 225361"/>
                <a:gd name="connsiteY24" fmla="*/ 153067 h 178879"/>
                <a:gd name="connsiteX25" fmla="*/ 57722 w 225361"/>
                <a:gd name="connsiteY25" fmla="*/ 154781 h 178879"/>
                <a:gd name="connsiteX26" fmla="*/ 53150 w 225361"/>
                <a:gd name="connsiteY26" fmla="*/ 151162 h 178879"/>
                <a:gd name="connsiteX27" fmla="*/ 51435 w 225361"/>
                <a:gd name="connsiteY27" fmla="*/ 147733 h 178879"/>
                <a:gd name="connsiteX28" fmla="*/ 50768 w 225361"/>
                <a:gd name="connsiteY28" fmla="*/ 139922 h 178879"/>
                <a:gd name="connsiteX29" fmla="*/ 54674 w 225361"/>
                <a:gd name="connsiteY29" fmla="*/ 135255 h 178879"/>
                <a:gd name="connsiteX30" fmla="*/ 57055 w 225361"/>
                <a:gd name="connsiteY30" fmla="*/ 126301 h 178879"/>
                <a:gd name="connsiteX31" fmla="*/ 51149 w 225361"/>
                <a:gd name="connsiteY31" fmla="*/ 92678 h 178879"/>
                <a:gd name="connsiteX32" fmla="*/ 45053 w 225361"/>
                <a:gd name="connsiteY32" fmla="*/ 70580 h 178879"/>
                <a:gd name="connsiteX33" fmla="*/ 24860 w 225361"/>
                <a:gd name="connsiteY33" fmla="*/ 61341 h 178879"/>
                <a:gd name="connsiteX34" fmla="*/ 0 w 225361"/>
                <a:gd name="connsiteY34" fmla="*/ 62865 h 178879"/>
                <a:gd name="connsiteX35" fmla="*/ 3143 w 225361"/>
                <a:gd name="connsiteY35" fmla="*/ 61722 h 178879"/>
                <a:gd name="connsiteX36" fmla="*/ 1905 w 225361"/>
                <a:gd name="connsiteY36" fmla="*/ 49435 h 178879"/>
                <a:gd name="connsiteX37" fmla="*/ 3334 w 225361"/>
                <a:gd name="connsiteY37" fmla="*/ 45434 h 178879"/>
                <a:gd name="connsiteX38" fmla="*/ 3334 w 225361"/>
                <a:gd name="connsiteY38" fmla="*/ 39815 h 178879"/>
                <a:gd name="connsiteX39" fmla="*/ 6001 w 225361"/>
                <a:gd name="connsiteY39" fmla="*/ 35147 h 178879"/>
                <a:gd name="connsiteX40" fmla="*/ 8858 w 225361"/>
                <a:gd name="connsiteY40" fmla="*/ 33052 h 178879"/>
                <a:gd name="connsiteX41" fmla="*/ 11240 w 225361"/>
                <a:gd name="connsiteY41" fmla="*/ 33052 h 178879"/>
                <a:gd name="connsiteX42" fmla="*/ 12287 w 225361"/>
                <a:gd name="connsiteY42" fmla="*/ 34861 h 178879"/>
                <a:gd name="connsiteX43" fmla="*/ 14383 w 225361"/>
                <a:gd name="connsiteY43" fmla="*/ 35814 h 178879"/>
                <a:gd name="connsiteX44" fmla="*/ 17050 w 225361"/>
                <a:gd name="connsiteY44" fmla="*/ 35242 h 178879"/>
                <a:gd name="connsiteX45" fmla="*/ 21527 w 225361"/>
                <a:gd name="connsiteY45" fmla="*/ 30480 h 178879"/>
                <a:gd name="connsiteX46" fmla="*/ 20003 w 225361"/>
                <a:gd name="connsiteY46" fmla="*/ 27718 h 178879"/>
                <a:gd name="connsiteX47" fmla="*/ 21908 w 225361"/>
                <a:gd name="connsiteY47" fmla="*/ 24860 h 178879"/>
                <a:gd name="connsiteX48" fmla="*/ 28289 w 225361"/>
                <a:gd name="connsiteY48" fmla="*/ 18193 h 178879"/>
                <a:gd name="connsiteX49" fmla="*/ 34385 w 225361"/>
                <a:gd name="connsiteY49" fmla="*/ 14002 h 178879"/>
                <a:gd name="connsiteX50" fmla="*/ 41720 w 225361"/>
                <a:gd name="connsiteY50" fmla="*/ 12954 h 178879"/>
                <a:gd name="connsiteX51" fmla="*/ 69533 w 225361"/>
                <a:gd name="connsiteY51" fmla="*/ 9144 h 178879"/>
                <a:gd name="connsiteX52" fmla="*/ 74105 w 225361"/>
                <a:gd name="connsiteY52" fmla="*/ 5620 h 178879"/>
                <a:gd name="connsiteX53" fmla="*/ 81820 w 225361"/>
                <a:gd name="connsiteY53" fmla="*/ 2762 h 178879"/>
                <a:gd name="connsiteX54" fmla="*/ 86487 w 225361"/>
                <a:gd name="connsiteY54" fmla="*/ 95 h 178879"/>
                <a:gd name="connsiteX55" fmla="*/ 88868 w 225361"/>
                <a:gd name="connsiteY55" fmla="*/ 2476 h 178879"/>
                <a:gd name="connsiteX56" fmla="*/ 90488 w 225361"/>
                <a:gd name="connsiteY56" fmla="*/ 4953 h 178879"/>
                <a:gd name="connsiteX57" fmla="*/ 94202 w 225361"/>
                <a:gd name="connsiteY57" fmla="*/ 9430 h 178879"/>
                <a:gd name="connsiteX58" fmla="*/ 101822 w 225361"/>
                <a:gd name="connsiteY58" fmla="*/ 13144 h 178879"/>
                <a:gd name="connsiteX59" fmla="*/ 107347 w 225361"/>
                <a:gd name="connsiteY59" fmla="*/ 18478 h 178879"/>
                <a:gd name="connsiteX60" fmla="*/ 116015 w 225361"/>
                <a:gd name="connsiteY60" fmla="*/ 24479 h 178879"/>
                <a:gd name="connsiteX61" fmla="*/ 118872 w 225361"/>
                <a:gd name="connsiteY61" fmla="*/ 20765 h 178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25361" h="178879">
                  <a:moveTo>
                    <a:pt x="118301" y="20955"/>
                  </a:moveTo>
                  <a:lnTo>
                    <a:pt x="124873" y="22765"/>
                  </a:lnTo>
                  <a:lnTo>
                    <a:pt x="157163" y="4572"/>
                  </a:lnTo>
                  <a:lnTo>
                    <a:pt x="173641" y="0"/>
                  </a:lnTo>
                  <a:lnTo>
                    <a:pt x="190976" y="4953"/>
                  </a:lnTo>
                  <a:lnTo>
                    <a:pt x="199358" y="12097"/>
                  </a:lnTo>
                  <a:lnTo>
                    <a:pt x="214694" y="29623"/>
                  </a:lnTo>
                  <a:lnTo>
                    <a:pt x="223266" y="36481"/>
                  </a:lnTo>
                  <a:lnTo>
                    <a:pt x="225362" y="46672"/>
                  </a:lnTo>
                  <a:lnTo>
                    <a:pt x="218027" y="62865"/>
                  </a:lnTo>
                  <a:lnTo>
                    <a:pt x="208693" y="79629"/>
                  </a:lnTo>
                  <a:lnTo>
                    <a:pt x="204597" y="91535"/>
                  </a:lnTo>
                  <a:lnTo>
                    <a:pt x="196120" y="91059"/>
                  </a:lnTo>
                  <a:lnTo>
                    <a:pt x="187071" y="102108"/>
                  </a:lnTo>
                  <a:lnTo>
                    <a:pt x="187071" y="129635"/>
                  </a:lnTo>
                  <a:lnTo>
                    <a:pt x="180023" y="146113"/>
                  </a:lnTo>
                  <a:lnTo>
                    <a:pt x="163925" y="127730"/>
                  </a:lnTo>
                  <a:lnTo>
                    <a:pt x="118586" y="131445"/>
                  </a:lnTo>
                  <a:lnTo>
                    <a:pt x="98393" y="153448"/>
                  </a:lnTo>
                  <a:lnTo>
                    <a:pt x="93536" y="178879"/>
                  </a:lnTo>
                  <a:lnTo>
                    <a:pt x="82391" y="166592"/>
                  </a:lnTo>
                  <a:lnTo>
                    <a:pt x="78486" y="160687"/>
                  </a:lnTo>
                  <a:lnTo>
                    <a:pt x="72009" y="155924"/>
                  </a:lnTo>
                  <a:lnTo>
                    <a:pt x="67151" y="153734"/>
                  </a:lnTo>
                  <a:lnTo>
                    <a:pt x="63056" y="153067"/>
                  </a:lnTo>
                  <a:lnTo>
                    <a:pt x="57722" y="154781"/>
                  </a:lnTo>
                  <a:lnTo>
                    <a:pt x="53150" y="151162"/>
                  </a:lnTo>
                  <a:lnTo>
                    <a:pt x="51435" y="147733"/>
                  </a:lnTo>
                  <a:lnTo>
                    <a:pt x="50768" y="139922"/>
                  </a:lnTo>
                  <a:lnTo>
                    <a:pt x="54674" y="135255"/>
                  </a:lnTo>
                  <a:lnTo>
                    <a:pt x="57055" y="126301"/>
                  </a:lnTo>
                  <a:lnTo>
                    <a:pt x="51149" y="92678"/>
                  </a:lnTo>
                  <a:lnTo>
                    <a:pt x="45053" y="70580"/>
                  </a:lnTo>
                  <a:lnTo>
                    <a:pt x="24860" y="61341"/>
                  </a:lnTo>
                  <a:lnTo>
                    <a:pt x="0" y="62865"/>
                  </a:lnTo>
                  <a:lnTo>
                    <a:pt x="3143" y="61722"/>
                  </a:lnTo>
                  <a:lnTo>
                    <a:pt x="1905" y="49435"/>
                  </a:lnTo>
                  <a:lnTo>
                    <a:pt x="3334" y="45434"/>
                  </a:lnTo>
                  <a:lnTo>
                    <a:pt x="3334" y="39815"/>
                  </a:lnTo>
                  <a:cubicBezTo>
                    <a:pt x="3334" y="39815"/>
                    <a:pt x="6001" y="35147"/>
                    <a:pt x="6001" y="35147"/>
                  </a:cubicBezTo>
                  <a:lnTo>
                    <a:pt x="8858" y="33052"/>
                  </a:lnTo>
                  <a:lnTo>
                    <a:pt x="11240" y="33052"/>
                  </a:lnTo>
                  <a:cubicBezTo>
                    <a:pt x="11240" y="33052"/>
                    <a:pt x="12287" y="34861"/>
                    <a:pt x="12287" y="34861"/>
                  </a:cubicBezTo>
                  <a:lnTo>
                    <a:pt x="14383" y="35814"/>
                  </a:lnTo>
                  <a:lnTo>
                    <a:pt x="17050" y="35242"/>
                  </a:lnTo>
                  <a:lnTo>
                    <a:pt x="21527" y="30480"/>
                  </a:lnTo>
                  <a:lnTo>
                    <a:pt x="20003" y="27718"/>
                  </a:lnTo>
                  <a:lnTo>
                    <a:pt x="21908" y="24860"/>
                  </a:lnTo>
                  <a:lnTo>
                    <a:pt x="28289" y="18193"/>
                  </a:lnTo>
                  <a:lnTo>
                    <a:pt x="34385" y="14002"/>
                  </a:lnTo>
                  <a:lnTo>
                    <a:pt x="41720" y="12954"/>
                  </a:lnTo>
                  <a:lnTo>
                    <a:pt x="69533" y="9144"/>
                  </a:lnTo>
                  <a:lnTo>
                    <a:pt x="74105" y="5620"/>
                  </a:lnTo>
                  <a:lnTo>
                    <a:pt x="81820" y="2762"/>
                  </a:lnTo>
                  <a:lnTo>
                    <a:pt x="86487" y="95"/>
                  </a:lnTo>
                  <a:lnTo>
                    <a:pt x="88868" y="2476"/>
                  </a:lnTo>
                  <a:lnTo>
                    <a:pt x="90488" y="4953"/>
                  </a:lnTo>
                  <a:lnTo>
                    <a:pt x="94202" y="9430"/>
                  </a:lnTo>
                  <a:lnTo>
                    <a:pt x="101822" y="13144"/>
                  </a:lnTo>
                  <a:lnTo>
                    <a:pt x="107347" y="18478"/>
                  </a:lnTo>
                  <a:lnTo>
                    <a:pt x="116015" y="24479"/>
                  </a:lnTo>
                  <a:lnTo>
                    <a:pt x="118872" y="20765"/>
                  </a:lnTo>
                </a:path>
              </a:pathLst>
            </a:custGeom>
            <a:grpFill/>
            <a:ln w="2381" cap="sq">
              <a:noFill/>
              <a:prstDash val="solid"/>
              <a:bevel/>
            </a:ln>
          </p:spPr>
          <p:txBody>
            <a:bodyPr rtlCol="0" anchor="ctr"/>
            <a:lstStyle/>
            <a:p>
              <a:endParaRPr lang="cs-CZ"/>
            </a:p>
          </p:txBody>
        </p:sp>
        <p:sp>
          <p:nvSpPr>
            <p:cNvPr id="180" name="Freeform: Shape 179">
              <a:extLst>
                <a:ext uri="{FF2B5EF4-FFF2-40B4-BE49-F238E27FC236}">
                  <a16:creationId xmlns:a16="http://schemas.microsoft.com/office/drawing/2014/main" id="{780F3AE5-22AE-726C-66CE-C15140E84616}"/>
                </a:ext>
              </a:extLst>
            </p:cNvPr>
            <p:cNvSpPr/>
            <p:nvPr/>
          </p:nvSpPr>
          <p:spPr>
            <a:xfrm>
              <a:off x="14142909" y="8166382"/>
              <a:ext cx="222218" cy="184975"/>
            </a:xfrm>
            <a:custGeom>
              <a:avLst/>
              <a:gdLst>
                <a:gd name="connsiteX0" fmla="*/ 118396 w 222218"/>
                <a:gd name="connsiteY0" fmla="*/ 571 h 184975"/>
                <a:gd name="connsiteX1" fmla="*/ 125063 w 222218"/>
                <a:gd name="connsiteY1" fmla="*/ 12763 h 184975"/>
                <a:gd name="connsiteX2" fmla="*/ 163354 w 222218"/>
                <a:gd name="connsiteY2" fmla="*/ 40005 h 184975"/>
                <a:gd name="connsiteX3" fmla="*/ 167354 w 222218"/>
                <a:gd name="connsiteY3" fmla="*/ 52102 h 184975"/>
                <a:gd name="connsiteX4" fmla="*/ 167640 w 222218"/>
                <a:gd name="connsiteY4" fmla="*/ 83915 h 184975"/>
                <a:gd name="connsiteX5" fmla="*/ 169735 w 222218"/>
                <a:gd name="connsiteY5" fmla="*/ 98869 h 184975"/>
                <a:gd name="connsiteX6" fmla="*/ 174974 w 222218"/>
                <a:gd name="connsiteY6" fmla="*/ 110395 h 184975"/>
                <a:gd name="connsiteX7" fmla="*/ 181832 w 222218"/>
                <a:gd name="connsiteY7" fmla="*/ 118015 h 184975"/>
                <a:gd name="connsiteX8" fmla="*/ 212979 w 222218"/>
                <a:gd name="connsiteY8" fmla="*/ 133255 h 184975"/>
                <a:gd name="connsiteX9" fmla="*/ 219837 w 222218"/>
                <a:gd name="connsiteY9" fmla="*/ 138493 h 184975"/>
                <a:gd name="connsiteX10" fmla="*/ 222218 w 222218"/>
                <a:gd name="connsiteY10" fmla="*/ 146780 h 184975"/>
                <a:gd name="connsiteX11" fmla="*/ 219456 w 222218"/>
                <a:gd name="connsiteY11" fmla="*/ 153067 h 184975"/>
                <a:gd name="connsiteX12" fmla="*/ 209359 w 222218"/>
                <a:gd name="connsiteY12" fmla="*/ 162782 h 184975"/>
                <a:gd name="connsiteX13" fmla="*/ 207073 w 222218"/>
                <a:gd name="connsiteY13" fmla="*/ 171069 h 184975"/>
                <a:gd name="connsiteX14" fmla="*/ 191643 w 222218"/>
                <a:gd name="connsiteY14" fmla="*/ 159448 h 184975"/>
                <a:gd name="connsiteX15" fmla="*/ 166401 w 222218"/>
                <a:gd name="connsiteY15" fmla="*/ 155829 h 184975"/>
                <a:gd name="connsiteX16" fmla="*/ 149257 w 222218"/>
                <a:gd name="connsiteY16" fmla="*/ 170402 h 184975"/>
                <a:gd name="connsiteX17" fmla="*/ 139160 w 222218"/>
                <a:gd name="connsiteY17" fmla="*/ 184975 h 184975"/>
                <a:gd name="connsiteX18" fmla="*/ 126111 w 222218"/>
                <a:gd name="connsiteY18" fmla="*/ 174022 h 184975"/>
                <a:gd name="connsiteX19" fmla="*/ 118015 w 222218"/>
                <a:gd name="connsiteY19" fmla="*/ 152114 h 184975"/>
                <a:gd name="connsiteX20" fmla="*/ 97822 w 222218"/>
                <a:gd name="connsiteY20" fmla="*/ 135636 h 184975"/>
                <a:gd name="connsiteX21" fmla="*/ 83725 w 222218"/>
                <a:gd name="connsiteY21" fmla="*/ 142970 h 184975"/>
                <a:gd name="connsiteX22" fmla="*/ 75724 w 222218"/>
                <a:gd name="connsiteY22" fmla="*/ 157639 h 184975"/>
                <a:gd name="connsiteX23" fmla="*/ 63627 w 222218"/>
                <a:gd name="connsiteY23" fmla="*/ 148495 h 184975"/>
                <a:gd name="connsiteX24" fmla="*/ 50578 w 222218"/>
                <a:gd name="connsiteY24" fmla="*/ 124682 h 184975"/>
                <a:gd name="connsiteX25" fmla="*/ 37433 w 222218"/>
                <a:gd name="connsiteY25" fmla="*/ 124682 h 184975"/>
                <a:gd name="connsiteX26" fmla="*/ 16288 w 222218"/>
                <a:gd name="connsiteY26" fmla="*/ 119158 h 184975"/>
                <a:gd name="connsiteX27" fmla="*/ 0 w 222218"/>
                <a:gd name="connsiteY27" fmla="*/ 118586 h 184975"/>
                <a:gd name="connsiteX28" fmla="*/ 0 w 222218"/>
                <a:gd name="connsiteY28" fmla="*/ 101822 h 184975"/>
                <a:gd name="connsiteX29" fmla="*/ 7429 w 222218"/>
                <a:gd name="connsiteY29" fmla="*/ 87820 h 184975"/>
                <a:gd name="connsiteX30" fmla="*/ 12287 w 222218"/>
                <a:gd name="connsiteY30" fmla="*/ 62389 h 184975"/>
                <a:gd name="connsiteX31" fmla="*/ 32480 w 222218"/>
                <a:gd name="connsiteY31" fmla="*/ 40386 h 184975"/>
                <a:gd name="connsiteX32" fmla="*/ 77819 w 222218"/>
                <a:gd name="connsiteY32" fmla="*/ 36671 h 184975"/>
                <a:gd name="connsiteX33" fmla="*/ 93916 w 222218"/>
                <a:gd name="connsiteY33" fmla="*/ 55054 h 184975"/>
                <a:gd name="connsiteX34" fmla="*/ 100965 w 222218"/>
                <a:gd name="connsiteY34" fmla="*/ 38576 h 184975"/>
                <a:gd name="connsiteX35" fmla="*/ 100965 w 222218"/>
                <a:gd name="connsiteY35" fmla="*/ 11049 h 184975"/>
                <a:gd name="connsiteX36" fmla="*/ 110014 w 222218"/>
                <a:gd name="connsiteY36" fmla="*/ 0 h 184975"/>
                <a:gd name="connsiteX37" fmla="*/ 118491 w 222218"/>
                <a:gd name="connsiteY37" fmla="*/ 476 h 18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22218" h="184975">
                  <a:moveTo>
                    <a:pt x="118396" y="571"/>
                  </a:moveTo>
                  <a:lnTo>
                    <a:pt x="125063" y="12763"/>
                  </a:lnTo>
                  <a:lnTo>
                    <a:pt x="163354" y="40005"/>
                  </a:lnTo>
                  <a:lnTo>
                    <a:pt x="167354" y="52102"/>
                  </a:lnTo>
                  <a:lnTo>
                    <a:pt x="167640" y="83915"/>
                  </a:lnTo>
                  <a:lnTo>
                    <a:pt x="169735" y="98869"/>
                  </a:lnTo>
                  <a:lnTo>
                    <a:pt x="174974" y="110395"/>
                  </a:lnTo>
                  <a:lnTo>
                    <a:pt x="181832" y="118015"/>
                  </a:lnTo>
                  <a:lnTo>
                    <a:pt x="212979" y="133255"/>
                  </a:lnTo>
                  <a:lnTo>
                    <a:pt x="219837" y="138493"/>
                  </a:lnTo>
                  <a:lnTo>
                    <a:pt x="222218" y="146780"/>
                  </a:lnTo>
                  <a:lnTo>
                    <a:pt x="219456" y="153067"/>
                  </a:lnTo>
                  <a:lnTo>
                    <a:pt x="209359" y="162782"/>
                  </a:lnTo>
                  <a:lnTo>
                    <a:pt x="207073" y="171069"/>
                  </a:lnTo>
                  <a:lnTo>
                    <a:pt x="191643" y="159448"/>
                  </a:lnTo>
                  <a:lnTo>
                    <a:pt x="166401" y="155829"/>
                  </a:lnTo>
                  <a:lnTo>
                    <a:pt x="149257" y="170402"/>
                  </a:lnTo>
                  <a:lnTo>
                    <a:pt x="139160" y="184975"/>
                  </a:lnTo>
                  <a:lnTo>
                    <a:pt x="126111" y="174022"/>
                  </a:lnTo>
                  <a:lnTo>
                    <a:pt x="118015" y="152114"/>
                  </a:lnTo>
                  <a:lnTo>
                    <a:pt x="97822" y="135636"/>
                  </a:lnTo>
                  <a:lnTo>
                    <a:pt x="83725" y="142970"/>
                  </a:lnTo>
                  <a:lnTo>
                    <a:pt x="75724" y="157639"/>
                  </a:lnTo>
                  <a:lnTo>
                    <a:pt x="63627" y="148495"/>
                  </a:lnTo>
                  <a:lnTo>
                    <a:pt x="50578" y="124682"/>
                  </a:lnTo>
                  <a:lnTo>
                    <a:pt x="37433" y="124682"/>
                  </a:lnTo>
                  <a:lnTo>
                    <a:pt x="16288" y="119158"/>
                  </a:lnTo>
                  <a:lnTo>
                    <a:pt x="0" y="118586"/>
                  </a:lnTo>
                  <a:lnTo>
                    <a:pt x="0" y="101822"/>
                  </a:lnTo>
                  <a:cubicBezTo>
                    <a:pt x="0" y="101822"/>
                    <a:pt x="7429" y="87820"/>
                    <a:pt x="7429" y="87820"/>
                  </a:cubicBezTo>
                  <a:lnTo>
                    <a:pt x="12287" y="62389"/>
                  </a:lnTo>
                  <a:lnTo>
                    <a:pt x="32480" y="40386"/>
                  </a:lnTo>
                  <a:lnTo>
                    <a:pt x="77819" y="36671"/>
                  </a:lnTo>
                  <a:lnTo>
                    <a:pt x="93916" y="55054"/>
                  </a:lnTo>
                  <a:lnTo>
                    <a:pt x="100965" y="38576"/>
                  </a:lnTo>
                  <a:lnTo>
                    <a:pt x="100965" y="11049"/>
                  </a:lnTo>
                  <a:lnTo>
                    <a:pt x="110014" y="0"/>
                  </a:lnTo>
                  <a:lnTo>
                    <a:pt x="118491" y="476"/>
                  </a:lnTo>
                </a:path>
              </a:pathLst>
            </a:custGeom>
            <a:grpFill/>
            <a:ln w="2381" cap="sq">
              <a:noFill/>
              <a:prstDash val="solid"/>
              <a:bevel/>
            </a:ln>
          </p:spPr>
          <p:txBody>
            <a:bodyPr rtlCol="0" anchor="ctr"/>
            <a:lstStyle/>
            <a:p>
              <a:endParaRPr lang="cs-CZ"/>
            </a:p>
          </p:txBody>
        </p:sp>
        <p:sp>
          <p:nvSpPr>
            <p:cNvPr id="181" name="Freeform: Shape 180">
              <a:extLst>
                <a:ext uri="{FF2B5EF4-FFF2-40B4-BE49-F238E27FC236}">
                  <a16:creationId xmlns:a16="http://schemas.microsoft.com/office/drawing/2014/main" id="{4AAE2BB3-06FA-9F92-FAE8-7429182D96FC}"/>
                </a:ext>
              </a:extLst>
            </p:cNvPr>
            <p:cNvSpPr/>
            <p:nvPr/>
          </p:nvSpPr>
          <p:spPr>
            <a:xfrm>
              <a:off x="14113571" y="8284873"/>
              <a:ext cx="265652" cy="277272"/>
            </a:xfrm>
            <a:custGeom>
              <a:avLst/>
              <a:gdLst>
                <a:gd name="connsiteX0" fmla="*/ 236506 w 265652"/>
                <a:gd name="connsiteY0" fmla="*/ 52673 h 277272"/>
                <a:gd name="connsiteX1" fmla="*/ 237744 w 265652"/>
                <a:gd name="connsiteY1" fmla="*/ 59531 h 277272"/>
                <a:gd name="connsiteX2" fmla="*/ 240887 w 265652"/>
                <a:gd name="connsiteY2" fmla="*/ 65818 h 277272"/>
                <a:gd name="connsiteX3" fmla="*/ 261176 w 265652"/>
                <a:gd name="connsiteY3" fmla="*/ 91821 h 277272"/>
                <a:gd name="connsiteX4" fmla="*/ 264223 w 265652"/>
                <a:gd name="connsiteY4" fmla="*/ 97631 h 277272"/>
                <a:gd name="connsiteX5" fmla="*/ 265652 w 265652"/>
                <a:gd name="connsiteY5" fmla="*/ 105251 h 277272"/>
                <a:gd name="connsiteX6" fmla="*/ 246317 w 265652"/>
                <a:gd name="connsiteY6" fmla="*/ 108585 h 277272"/>
                <a:gd name="connsiteX7" fmla="*/ 227171 w 265652"/>
                <a:gd name="connsiteY7" fmla="*/ 108585 h 277272"/>
                <a:gd name="connsiteX8" fmla="*/ 209074 w 265652"/>
                <a:gd name="connsiteY8" fmla="*/ 97631 h 277272"/>
                <a:gd name="connsiteX9" fmla="*/ 191929 w 265652"/>
                <a:gd name="connsiteY9" fmla="*/ 101251 h 277272"/>
                <a:gd name="connsiteX10" fmla="*/ 196977 w 265652"/>
                <a:gd name="connsiteY10" fmla="*/ 121253 h 277272"/>
                <a:gd name="connsiteX11" fmla="*/ 205073 w 265652"/>
                <a:gd name="connsiteY11" fmla="*/ 135827 h 277272"/>
                <a:gd name="connsiteX12" fmla="*/ 196977 w 265652"/>
                <a:gd name="connsiteY12" fmla="*/ 141256 h 277272"/>
                <a:gd name="connsiteX13" fmla="*/ 182880 w 265652"/>
                <a:gd name="connsiteY13" fmla="*/ 139446 h 277272"/>
                <a:gd name="connsiteX14" fmla="*/ 166783 w 265652"/>
                <a:gd name="connsiteY14" fmla="*/ 155829 h 277272"/>
                <a:gd name="connsiteX15" fmla="*/ 152686 w 265652"/>
                <a:gd name="connsiteY15" fmla="*/ 172212 h 277272"/>
                <a:gd name="connsiteX16" fmla="*/ 138589 w 265652"/>
                <a:gd name="connsiteY16" fmla="*/ 179451 h 277272"/>
                <a:gd name="connsiteX17" fmla="*/ 147638 w 265652"/>
                <a:gd name="connsiteY17" fmla="*/ 204883 h 277272"/>
                <a:gd name="connsiteX18" fmla="*/ 167830 w 265652"/>
                <a:gd name="connsiteY18" fmla="*/ 204883 h 277272"/>
                <a:gd name="connsiteX19" fmla="*/ 173927 w 265652"/>
                <a:gd name="connsiteY19" fmla="*/ 188500 h 277272"/>
                <a:gd name="connsiteX20" fmla="*/ 202121 w 265652"/>
                <a:gd name="connsiteY20" fmla="*/ 172117 h 277272"/>
                <a:gd name="connsiteX21" fmla="*/ 217265 w 265652"/>
                <a:gd name="connsiteY21" fmla="*/ 184880 h 277272"/>
                <a:gd name="connsiteX22" fmla="*/ 237458 w 265652"/>
                <a:gd name="connsiteY22" fmla="*/ 195739 h 277272"/>
                <a:gd name="connsiteX23" fmla="*/ 247555 w 265652"/>
                <a:gd name="connsiteY23" fmla="*/ 212122 h 277272"/>
                <a:gd name="connsiteX24" fmla="*/ 235458 w 265652"/>
                <a:gd name="connsiteY24" fmla="*/ 237554 h 277272"/>
                <a:gd name="connsiteX25" fmla="*/ 227933 w 265652"/>
                <a:gd name="connsiteY25" fmla="*/ 258604 h 277272"/>
                <a:gd name="connsiteX26" fmla="*/ 225838 w 265652"/>
                <a:gd name="connsiteY26" fmla="*/ 262223 h 277272"/>
                <a:gd name="connsiteX27" fmla="*/ 224314 w 265652"/>
                <a:gd name="connsiteY27" fmla="*/ 262033 h 277272"/>
                <a:gd name="connsiteX28" fmla="*/ 222313 w 265652"/>
                <a:gd name="connsiteY28" fmla="*/ 259651 h 277272"/>
                <a:gd name="connsiteX29" fmla="*/ 220980 w 265652"/>
                <a:gd name="connsiteY29" fmla="*/ 256794 h 277272"/>
                <a:gd name="connsiteX30" fmla="*/ 219170 w 265652"/>
                <a:gd name="connsiteY30" fmla="*/ 254508 h 277272"/>
                <a:gd name="connsiteX31" fmla="*/ 215932 w 265652"/>
                <a:gd name="connsiteY31" fmla="*/ 253555 h 277272"/>
                <a:gd name="connsiteX32" fmla="*/ 212693 w 265652"/>
                <a:gd name="connsiteY32" fmla="*/ 254413 h 277272"/>
                <a:gd name="connsiteX33" fmla="*/ 208597 w 265652"/>
                <a:gd name="connsiteY33" fmla="*/ 257842 h 277272"/>
                <a:gd name="connsiteX34" fmla="*/ 200978 w 265652"/>
                <a:gd name="connsiteY34" fmla="*/ 262319 h 277272"/>
                <a:gd name="connsiteX35" fmla="*/ 166592 w 265652"/>
                <a:gd name="connsiteY35" fmla="*/ 276034 h 277272"/>
                <a:gd name="connsiteX36" fmla="*/ 160877 w 265652"/>
                <a:gd name="connsiteY36" fmla="*/ 276320 h 277272"/>
                <a:gd name="connsiteX37" fmla="*/ 156591 w 265652"/>
                <a:gd name="connsiteY37" fmla="*/ 273939 h 277272"/>
                <a:gd name="connsiteX38" fmla="*/ 143065 w 265652"/>
                <a:gd name="connsiteY38" fmla="*/ 277273 h 277272"/>
                <a:gd name="connsiteX39" fmla="*/ 137446 w 265652"/>
                <a:gd name="connsiteY39" fmla="*/ 276987 h 277272"/>
                <a:gd name="connsiteX40" fmla="*/ 131159 w 265652"/>
                <a:gd name="connsiteY40" fmla="*/ 274606 h 277272"/>
                <a:gd name="connsiteX41" fmla="*/ 126682 w 265652"/>
                <a:gd name="connsiteY41" fmla="*/ 267176 h 277272"/>
                <a:gd name="connsiteX42" fmla="*/ 114014 w 265652"/>
                <a:gd name="connsiteY42" fmla="*/ 267653 h 277272"/>
                <a:gd name="connsiteX43" fmla="*/ 100584 w 265652"/>
                <a:gd name="connsiteY43" fmla="*/ 264795 h 277272"/>
                <a:gd name="connsiteX44" fmla="*/ 92202 w 265652"/>
                <a:gd name="connsiteY44" fmla="*/ 259937 h 277272"/>
                <a:gd name="connsiteX45" fmla="*/ 84201 w 265652"/>
                <a:gd name="connsiteY45" fmla="*/ 250984 h 277272"/>
                <a:gd name="connsiteX46" fmla="*/ 78486 w 265652"/>
                <a:gd name="connsiteY46" fmla="*/ 247079 h 277272"/>
                <a:gd name="connsiteX47" fmla="*/ 70866 w 265652"/>
                <a:gd name="connsiteY47" fmla="*/ 236506 h 277272"/>
                <a:gd name="connsiteX48" fmla="*/ 77057 w 265652"/>
                <a:gd name="connsiteY48" fmla="*/ 231553 h 277272"/>
                <a:gd name="connsiteX49" fmla="*/ 80581 w 265652"/>
                <a:gd name="connsiteY49" fmla="*/ 229743 h 277272"/>
                <a:gd name="connsiteX50" fmla="*/ 83629 w 265652"/>
                <a:gd name="connsiteY50" fmla="*/ 226124 h 277272"/>
                <a:gd name="connsiteX51" fmla="*/ 83058 w 265652"/>
                <a:gd name="connsiteY51" fmla="*/ 223933 h 277272"/>
                <a:gd name="connsiteX52" fmla="*/ 81248 w 265652"/>
                <a:gd name="connsiteY52" fmla="*/ 222028 h 277272"/>
                <a:gd name="connsiteX53" fmla="*/ 78391 w 265652"/>
                <a:gd name="connsiteY53" fmla="*/ 220504 h 277272"/>
                <a:gd name="connsiteX54" fmla="*/ 78391 w 265652"/>
                <a:gd name="connsiteY54" fmla="*/ 211074 h 277272"/>
                <a:gd name="connsiteX55" fmla="*/ 89535 w 265652"/>
                <a:gd name="connsiteY55" fmla="*/ 195548 h 277272"/>
                <a:gd name="connsiteX56" fmla="*/ 87821 w 265652"/>
                <a:gd name="connsiteY56" fmla="*/ 186690 h 277272"/>
                <a:gd name="connsiteX57" fmla="*/ 83153 w 265652"/>
                <a:gd name="connsiteY57" fmla="*/ 179070 h 277272"/>
                <a:gd name="connsiteX58" fmla="*/ 79724 w 265652"/>
                <a:gd name="connsiteY58" fmla="*/ 171736 h 277272"/>
                <a:gd name="connsiteX59" fmla="*/ 78677 w 265652"/>
                <a:gd name="connsiteY59" fmla="*/ 161258 h 277272"/>
                <a:gd name="connsiteX60" fmla="*/ 79438 w 265652"/>
                <a:gd name="connsiteY60" fmla="*/ 156020 h 277272"/>
                <a:gd name="connsiteX61" fmla="*/ 79438 w 265652"/>
                <a:gd name="connsiteY61" fmla="*/ 151829 h 277272"/>
                <a:gd name="connsiteX62" fmla="*/ 71914 w 265652"/>
                <a:gd name="connsiteY62" fmla="*/ 143923 h 277272"/>
                <a:gd name="connsiteX63" fmla="*/ 60293 w 265652"/>
                <a:gd name="connsiteY63" fmla="*/ 138970 h 277272"/>
                <a:gd name="connsiteX64" fmla="*/ 53245 w 265652"/>
                <a:gd name="connsiteY64" fmla="*/ 129350 h 277272"/>
                <a:gd name="connsiteX65" fmla="*/ 53816 w 265652"/>
                <a:gd name="connsiteY65" fmla="*/ 123254 h 277272"/>
                <a:gd name="connsiteX66" fmla="*/ 52388 w 265652"/>
                <a:gd name="connsiteY66" fmla="*/ 118967 h 277272"/>
                <a:gd name="connsiteX67" fmla="*/ 52959 w 265652"/>
                <a:gd name="connsiteY67" fmla="*/ 109442 h 277272"/>
                <a:gd name="connsiteX68" fmla="*/ 47530 w 265652"/>
                <a:gd name="connsiteY68" fmla="*/ 109633 h 277272"/>
                <a:gd name="connsiteX69" fmla="*/ 45434 w 265652"/>
                <a:gd name="connsiteY69" fmla="*/ 110966 h 277272"/>
                <a:gd name="connsiteX70" fmla="*/ 43053 w 265652"/>
                <a:gd name="connsiteY70" fmla="*/ 110681 h 277272"/>
                <a:gd name="connsiteX71" fmla="*/ 40957 w 265652"/>
                <a:gd name="connsiteY71" fmla="*/ 108680 h 277272"/>
                <a:gd name="connsiteX72" fmla="*/ 41338 w 265652"/>
                <a:gd name="connsiteY72" fmla="*/ 106871 h 277272"/>
                <a:gd name="connsiteX73" fmla="*/ 40386 w 265652"/>
                <a:gd name="connsiteY73" fmla="*/ 104108 h 277272"/>
                <a:gd name="connsiteX74" fmla="*/ 37243 w 265652"/>
                <a:gd name="connsiteY74" fmla="*/ 100394 h 277272"/>
                <a:gd name="connsiteX75" fmla="*/ 33338 w 265652"/>
                <a:gd name="connsiteY75" fmla="*/ 93917 h 277272"/>
                <a:gd name="connsiteX76" fmla="*/ 28670 w 265652"/>
                <a:gd name="connsiteY76" fmla="*/ 83820 h 277272"/>
                <a:gd name="connsiteX77" fmla="*/ 28670 w 265652"/>
                <a:gd name="connsiteY77" fmla="*/ 78677 h 277272"/>
                <a:gd name="connsiteX78" fmla="*/ 24860 w 265652"/>
                <a:gd name="connsiteY78" fmla="*/ 68771 h 277272"/>
                <a:gd name="connsiteX79" fmla="*/ 8763 w 265652"/>
                <a:gd name="connsiteY79" fmla="*/ 81725 h 277272"/>
                <a:gd name="connsiteX80" fmla="*/ 4001 w 265652"/>
                <a:gd name="connsiteY80" fmla="*/ 69247 h 277272"/>
                <a:gd name="connsiteX81" fmla="*/ 3620 w 265652"/>
                <a:gd name="connsiteY81" fmla="*/ 62103 h 277272"/>
                <a:gd name="connsiteX82" fmla="*/ 381 w 265652"/>
                <a:gd name="connsiteY82" fmla="*/ 54007 h 277272"/>
                <a:gd name="connsiteX83" fmla="*/ 0 w 265652"/>
                <a:gd name="connsiteY83" fmla="*/ 47435 h 277272"/>
                <a:gd name="connsiteX84" fmla="*/ 286 w 265652"/>
                <a:gd name="connsiteY84" fmla="*/ 43148 h 277272"/>
                <a:gd name="connsiteX85" fmla="*/ 3048 w 265652"/>
                <a:gd name="connsiteY85" fmla="*/ 38957 h 277272"/>
                <a:gd name="connsiteX86" fmla="*/ 8192 w 265652"/>
                <a:gd name="connsiteY86" fmla="*/ 33909 h 277272"/>
                <a:gd name="connsiteX87" fmla="*/ 15335 w 265652"/>
                <a:gd name="connsiteY87" fmla="*/ 33052 h 277272"/>
                <a:gd name="connsiteX88" fmla="*/ 20479 w 265652"/>
                <a:gd name="connsiteY88" fmla="*/ 31433 h 277272"/>
                <a:gd name="connsiteX89" fmla="*/ 25432 w 265652"/>
                <a:gd name="connsiteY89" fmla="*/ 28861 h 277272"/>
                <a:gd name="connsiteX90" fmla="*/ 31432 w 265652"/>
                <a:gd name="connsiteY90" fmla="*/ 24194 h 277272"/>
                <a:gd name="connsiteX91" fmla="*/ 34480 w 265652"/>
                <a:gd name="connsiteY91" fmla="*/ 13430 h 277272"/>
                <a:gd name="connsiteX92" fmla="*/ 29337 w 265652"/>
                <a:gd name="connsiteY92" fmla="*/ 0 h 277272"/>
                <a:gd name="connsiteX93" fmla="*/ 45625 w 265652"/>
                <a:gd name="connsiteY93" fmla="*/ 572 h 277272"/>
                <a:gd name="connsiteX94" fmla="*/ 66770 w 265652"/>
                <a:gd name="connsiteY94" fmla="*/ 6096 h 277272"/>
                <a:gd name="connsiteX95" fmla="*/ 79915 w 265652"/>
                <a:gd name="connsiteY95" fmla="*/ 6096 h 277272"/>
                <a:gd name="connsiteX96" fmla="*/ 92964 w 265652"/>
                <a:gd name="connsiteY96" fmla="*/ 29908 h 277272"/>
                <a:gd name="connsiteX97" fmla="*/ 105061 w 265652"/>
                <a:gd name="connsiteY97" fmla="*/ 39052 h 277272"/>
                <a:gd name="connsiteX98" fmla="*/ 113062 w 265652"/>
                <a:gd name="connsiteY98" fmla="*/ 24384 h 277272"/>
                <a:gd name="connsiteX99" fmla="*/ 127159 w 265652"/>
                <a:gd name="connsiteY99" fmla="*/ 17050 h 277272"/>
                <a:gd name="connsiteX100" fmla="*/ 147352 w 265652"/>
                <a:gd name="connsiteY100" fmla="*/ 33528 h 277272"/>
                <a:gd name="connsiteX101" fmla="*/ 155448 w 265652"/>
                <a:gd name="connsiteY101" fmla="*/ 55435 h 277272"/>
                <a:gd name="connsiteX102" fmla="*/ 168497 w 265652"/>
                <a:gd name="connsiteY102" fmla="*/ 66389 h 277272"/>
                <a:gd name="connsiteX103" fmla="*/ 178594 w 265652"/>
                <a:gd name="connsiteY103" fmla="*/ 51816 h 277272"/>
                <a:gd name="connsiteX104" fmla="*/ 195739 w 265652"/>
                <a:gd name="connsiteY104" fmla="*/ 37243 h 277272"/>
                <a:gd name="connsiteX105" fmla="*/ 220980 w 265652"/>
                <a:gd name="connsiteY105" fmla="*/ 40862 h 277272"/>
                <a:gd name="connsiteX106" fmla="*/ 236411 w 265652"/>
                <a:gd name="connsiteY106" fmla="*/ 52483 h 277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265652" h="277272">
                  <a:moveTo>
                    <a:pt x="236506" y="52673"/>
                  </a:moveTo>
                  <a:lnTo>
                    <a:pt x="237744" y="59531"/>
                  </a:lnTo>
                  <a:lnTo>
                    <a:pt x="240887" y="65818"/>
                  </a:lnTo>
                  <a:lnTo>
                    <a:pt x="261176" y="91821"/>
                  </a:lnTo>
                  <a:lnTo>
                    <a:pt x="264223" y="97631"/>
                  </a:lnTo>
                  <a:lnTo>
                    <a:pt x="265652" y="105251"/>
                  </a:lnTo>
                  <a:lnTo>
                    <a:pt x="246317" y="108585"/>
                  </a:lnTo>
                  <a:lnTo>
                    <a:pt x="227171" y="108585"/>
                  </a:lnTo>
                  <a:lnTo>
                    <a:pt x="209074" y="97631"/>
                  </a:lnTo>
                  <a:lnTo>
                    <a:pt x="191929" y="101251"/>
                  </a:lnTo>
                  <a:lnTo>
                    <a:pt x="196977" y="121253"/>
                  </a:lnTo>
                  <a:lnTo>
                    <a:pt x="205073" y="135827"/>
                  </a:lnTo>
                  <a:lnTo>
                    <a:pt x="196977" y="141256"/>
                  </a:lnTo>
                  <a:lnTo>
                    <a:pt x="182880" y="139446"/>
                  </a:lnTo>
                  <a:lnTo>
                    <a:pt x="166783" y="155829"/>
                  </a:lnTo>
                  <a:lnTo>
                    <a:pt x="152686" y="172212"/>
                  </a:lnTo>
                  <a:lnTo>
                    <a:pt x="138589" y="179451"/>
                  </a:lnTo>
                  <a:lnTo>
                    <a:pt x="147638" y="204883"/>
                  </a:lnTo>
                  <a:lnTo>
                    <a:pt x="167830" y="204883"/>
                  </a:lnTo>
                  <a:lnTo>
                    <a:pt x="173927" y="188500"/>
                  </a:lnTo>
                  <a:lnTo>
                    <a:pt x="202121" y="172117"/>
                  </a:lnTo>
                  <a:lnTo>
                    <a:pt x="217265" y="184880"/>
                  </a:lnTo>
                  <a:lnTo>
                    <a:pt x="237458" y="195739"/>
                  </a:lnTo>
                  <a:lnTo>
                    <a:pt x="247555" y="212122"/>
                  </a:lnTo>
                  <a:lnTo>
                    <a:pt x="235458" y="237554"/>
                  </a:lnTo>
                  <a:lnTo>
                    <a:pt x="227933" y="258604"/>
                  </a:lnTo>
                  <a:lnTo>
                    <a:pt x="225838" y="262223"/>
                  </a:lnTo>
                  <a:lnTo>
                    <a:pt x="224314" y="262033"/>
                  </a:lnTo>
                  <a:lnTo>
                    <a:pt x="222313" y="259651"/>
                  </a:lnTo>
                  <a:lnTo>
                    <a:pt x="220980" y="256794"/>
                  </a:lnTo>
                  <a:lnTo>
                    <a:pt x="219170" y="254508"/>
                  </a:lnTo>
                  <a:lnTo>
                    <a:pt x="215932" y="253555"/>
                  </a:lnTo>
                  <a:lnTo>
                    <a:pt x="212693" y="254413"/>
                  </a:lnTo>
                  <a:lnTo>
                    <a:pt x="208597" y="257842"/>
                  </a:lnTo>
                  <a:lnTo>
                    <a:pt x="200978" y="262319"/>
                  </a:lnTo>
                  <a:lnTo>
                    <a:pt x="166592" y="276034"/>
                  </a:lnTo>
                  <a:lnTo>
                    <a:pt x="160877" y="276320"/>
                  </a:lnTo>
                  <a:lnTo>
                    <a:pt x="156591" y="273939"/>
                  </a:lnTo>
                  <a:lnTo>
                    <a:pt x="143065" y="277273"/>
                  </a:lnTo>
                  <a:lnTo>
                    <a:pt x="137446" y="276987"/>
                  </a:lnTo>
                  <a:lnTo>
                    <a:pt x="131159" y="274606"/>
                  </a:lnTo>
                  <a:lnTo>
                    <a:pt x="126682" y="267176"/>
                  </a:lnTo>
                  <a:lnTo>
                    <a:pt x="114014" y="267653"/>
                  </a:lnTo>
                  <a:lnTo>
                    <a:pt x="100584" y="264795"/>
                  </a:lnTo>
                  <a:lnTo>
                    <a:pt x="92202" y="259937"/>
                  </a:lnTo>
                  <a:lnTo>
                    <a:pt x="84201" y="250984"/>
                  </a:lnTo>
                  <a:lnTo>
                    <a:pt x="78486" y="247079"/>
                  </a:lnTo>
                  <a:lnTo>
                    <a:pt x="70866" y="236506"/>
                  </a:lnTo>
                  <a:lnTo>
                    <a:pt x="77057" y="231553"/>
                  </a:lnTo>
                  <a:lnTo>
                    <a:pt x="80581" y="229743"/>
                  </a:lnTo>
                  <a:lnTo>
                    <a:pt x="83629" y="226124"/>
                  </a:lnTo>
                  <a:lnTo>
                    <a:pt x="83058" y="223933"/>
                  </a:lnTo>
                  <a:lnTo>
                    <a:pt x="81248" y="222028"/>
                  </a:lnTo>
                  <a:lnTo>
                    <a:pt x="78391" y="220504"/>
                  </a:lnTo>
                  <a:lnTo>
                    <a:pt x="78391" y="211074"/>
                  </a:lnTo>
                  <a:lnTo>
                    <a:pt x="89535" y="195548"/>
                  </a:lnTo>
                  <a:lnTo>
                    <a:pt x="87821" y="186690"/>
                  </a:lnTo>
                  <a:lnTo>
                    <a:pt x="83153" y="179070"/>
                  </a:lnTo>
                  <a:lnTo>
                    <a:pt x="79724" y="171736"/>
                  </a:lnTo>
                  <a:lnTo>
                    <a:pt x="78677" y="161258"/>
                  </a:lnTo>
                  <a:lnTo>
                    <a:pt x="79438" y="156020"/>
                  </a:lnTo>
                  <a:lnTo>
                    <a:pt x="79438" y="151829"/>
                  </a:lnTo>
                  <a:cubicBezTo>
                    <a:pt x="79438" y="151829"/>
                    <a:pt x="71914" y="143923"/>
                    <a:pt x="71914" y="143923"/>
                  </a:cubicBezTo>
                  <a:lnTo>
                    <a:pt x="60293" y="138970"/>
                  </a:lnTo>
                  <a:lnTo>
                    <a:pt x="53245" y="129350"/>
                  </a:lnTo>
                  <a:lnTo>
                    <a:pt x="53816" y="123254"/>
                  </a:lnTo>
                  <a:lnTo>
                    <a:pt x="52388" y="118967"/>
                  </a:lnTo>
                  <a:lnTo>
                    <a:pt x="52959" y="109442"/>
                  </a:lnTo>
                  <a:lnTo>
                    <a:pt x="47530" y="109633"/>
                  </a:lnTo>
                  <a:lnTo>
                    <a:pt x="45434" y="110966"/>
                  </a:lnTo>
                  <a:lnTo>
                    <a:pt x="43053" y="110681"/>
                  </a:lnTo>
                  <a:lnTo>
                    <a:pt x="40957" y="108680"/>
                  </a:lnTo>
                  <a:lnTo>
                    <a:pt x="41338" y="106871"/>
                  </a:lnTo>
                  <a:lnTo>
                    <a:pt x="40386" y="104108"/>
                  </a:lnTo>
                  <a:lnTo>
                    <a:pt x="37243" y="100394"/>
                  </a:lnTo>
                  <a:lnTo>
                    <a:pt x="33338" y="93917"/>
                  </a:lnTo>
                  <a:lnTo>
                    <a:pt x="28670" y="83820"/>
                  </a:lnTo>
                  <a:lnTo>
                    <a:pt x="28670" y="78677"/>
                  </a:lnTo>
                  <a:cubicBezTo>
                    <a:pt x="28670" y="78677"/>
                    <a:pt x="24860" y="68771"/>
                    <a:pt x="24860" y="68771"/>
                  </a:cubicBezTo>
                  <a:lnTo>
                    <a:pt x="8763" y="81725"/>
                  </a:lnTo>
                  <a:lnTo>
                    <a:pt x="4001" y="69247"/>
                  </a:lnTo>
                  <a:lnTo>
                    <a:pt x="3620" y="62103"/>
                  </a:lnTo>
                  <a:lnTo>
                    <a:pt x="381" y="54007"/>
                  </a:lnTo>
                  <a:lnTo>
                    <a:pt x="0" y="47435"/>
                  </a:lnTo>
                  <a:lnTo>
                    <a:pt x="286" y="43148"/>
                  </a:lnTo>
                  <a:lnTo>
                    <a:pt x="3048" y="38957"/>
                  </a:lnTo>
                  <a:lnTo>
                    <a:pt x="8192" y="33909"/>
                  </a:lnTo>
                  <a:lnTo>
                    <a:pt x="15335" y="33052"/>
                  </a:lnTo>
                  <a:lnTo>
                    <a:pt x="20479" y="31433"/>
                  </a:lnTo>
                  <a:lnTo>
                    <a:pt x="25432" y="28861"/>
                  </a:lnTo>
                  <a:lnTo>
                    <a:pt x="31432" y="24194"/>
                  </a:lnTo>
                  <a:lnTo>
                    <a:pt x="34480" y="13430"/>
                  </a:lnTo>
                  <a:lnTo>
                    <a:pt x="29337" y="0"/>
                  </a:lnTo>
                  <a:lnTo>
                    <a:pt x="45625" y="572"/>
                  </a:lnTo>
                  <a:lnTo>
                    <a:pt x="66770" y="6096"/>
                  </a:lnTo>
                  <a:lnTo>
                    <a:pt x="79915" y="6096"/>
                  </a:lnTo>
                  <a:lnTo>
                    <a:pt x="92964" y="29908"/>
                  </a:lnTo>
                  <a:lnTo>
                    <a:pt x="105061" y="39052"/>
                  </a:lnTo>
                  <a:lnTo>
                    <a:pt x="113062" y="24384"/>
                  </a:lnTo>
                  <a:lnTo>
                    <a:pt x="127159" y="17050"/>
                  </a:lnTo>
                  <a:lnTo>
                    <a:pt x="147352" y="33528"/>
                  </a:lnTo>
                  <a:lnTo>
                    <a:pt x="155448" y="55435"/>
                  </a:lnTo>
                  <a:lnTo>
                    <a:pt x="168497" y="66389"/>
                  </a:lnTo>
                  <a:lnTo>
                    <a:pt x="178594" y="51816"/>
                  </a:lnTo>
                  <a:lnTo>
                    <a:pt x="195739" y="37243"/>
                  </a:lnTo>
                  <a:lnTo>
                    <a:pt x="220980" y="40862"/>
                  </a:lnTo>
                  <a:lnTo>
                    <a:pt x="236411" y="52483"/>
                  </a:lnTo>
                </a:path>
              </a:pathLst>
            </a:custGeom>
            <a:grpFill/>
            <a:ln w="2381" cap="sq">
              <a:noFill/>
              <a:prstDash val="solid"/>
              <a:bevel/>
            </a:ln>
          </p:spPr>
          <p:txBody>
            <a:bodyPr rtlCol="0" anchor="ctr"/>
            <a:lstStyle/>
            <a:p>
              <a:endParaRPr lang="cs-CZ"/>
            </a:p>
          </p:txBody>
        </p:sp>
        <p:sp>
          <p:nvSpPr>
            <p:cNvPr id="182" name="Freeform: Shape 181">
              <a:extLst>
                <a:ext uri="{FF2B5EF4-FFF2-40B4-BE49-F238E27FC236}">
                  <a16:creationId xmlns:a16="http://schemas.microsoft.com/office/drawing/2014/main" id="{27C5EFEC-DE0D-3D1B-6D6A-5ABA97515587}"/>
                </a:ext>
              </a:extLst>
            </p:cNvPr>
            <p:cNvSpPr/>
            <p:nvPr/>
          </p:nvSpPr>
          <p:spPr>
            <a:xfrm>
              <a:off x="14251684" y="8382600"/>
              <a:ext cx="146684" cy="208406"/>
            </a:xfrm>
            <a:custGeom>
              <a:avLst/>
              <a:gdLst>
                <a:gd name="connsiteX0" fmla="*/ 127445 w 146684"/>
                <a:gd name="connsiteY0" fmla="*/ 7429 h 208406"/>
                <a:gd name="connsiteX1" fmla="*/ 126016 w 146684"/>
                <a:gd name="connsiteY1" fmla="*/ 31623 h 208406"/>
                <a:gd name="connsiteX2" fmla="*/ 127159 w 146684"/>
                <a:gd name="connsiteY2" fmla="*/ 47720 h 208406"/>
                <a:gd name="connsiteX3" fmla="*/ 130016 w 146684"/>
                <a:gd name="connsiteY3" fmla="*/ 61912 h 208406"/>
                <a:gd name="connsiteX4" fmla="*/ 145732 w 146684"/>
                <a:gd name="connsiteY4" fmla="*/ 109823 h 208406"/>
                <a:gd name="connsiteX5" fmla="*/ 146685 w 146684"/>
                <a:gd name="connsiteY5" fmla="*/ 117253 h 208406"/>
                <a:gd name="connsiteX6" fmla="*/ 145923 w 146684"/>
                <a:gd name="connsiteY6" fmla="*/ 127540 h 208406"/>
                <a:gd name="connsiteX7" fmla="*/ 143637 w 146684"/>
                <a:gd name="connsiteY7" fmla="*/ 133064 h 208406"/>
                <a:gd name="connsiteX8" fmla="*/ 140494 w 146684"/>
                <a:gd name="connsiteY8" fmla="*/ 137636 h 208406"/>
                <a:gd name="connsiteX9" fmla="*/ 137255 w 146684"/>
                <a:gd name="connsiteY9" fmla="*/ 145066 h 208406"/>
                <a:gd name="connsiteX10" fmla="*/ 133826 w 146684"/>
                <a:gd name="connsiteY10" fmla="*/ 161544 h 208406"/>
                <a:gd name="connsiteX11" fmla="*/ 131540 w 146684"/>
                <a:gd name="connsiteY11" fmla="*/ 178118 h 208406"/>
                <a:gd name="connsiteX12" fmla="*/ 127826 w 146684"/>
                <a:gd name="connsiteY12" fmla="*/ 193643 h 208406"/>
                <a:gd name="connsiteX13" fmla="*/ 119920 w 146684"/>
                <a:gd name="connsiteY13" fmla="*/ 207169 h 208406"/>
                <a:gd name="connsiteX14" fmla="*/ 105156 w 146684"/>
                <a:gd name="connsiteY14" fmla="*/ 197072 h 208406"/>
                <a:gd name="connsiteX15" fmla="*/ 88487 w 146684"/>
                <a:gd name="connsiteY15" fmla="*/ 203549 h 208406"/>
                <a:gd name="connsiteX16" fmla="*/ 81820 w 146684"/>
                <a:gd name="connsiteY16" fmla="*/ 208407 h 208406"/>
                <a:gd name="connsiteX17" fmla="*/ 81820 w 146684"/>
                <a:gd name="connsiteY17" fmla="*/ 208121 h 208406"/>
                <a:gd name="connsiteX18" fmla="*/ 80296 w 146684"/>
                <a:gd name="connsiteY18" fmla="*/ 201263 h 208406"/>
                <a:gd name="connsiteX19" fmla="*/ 78962 w 146684"/>
                <a:gd name="connsiteY19" fmla="*/ 196310 h 208406"/>
                <a:gd name="connsiteX20" fmla="*/ 86296 w 146684"/>
                <a:gd name="connsiteY20" fmla="*/ 179451 h 208406"/>
                <a:gd name="connsiteX21" fmla="*/ 92107 w 146684"/>
                <a:gd name="connsiteY21" fmla="*/ 169259 h 208406"/>
                <a:gd name="connsiteX22" fmla="*/ 89345 w 146684"/>
                <a:gd name="connsiteY22" fmla="*/ 160973 h 208406"/>
                <a:gd name="connsiteX23" fmla="*/ 96869 w 146684"/>
                <a:gd name="connsiteY23" fmla="*/ 139922 h 208406"/>
                <a:gd name="connsiteX24" fmla="*/ 108966 w 146684"/>
                <a:gd name="connsiteY24" fmla="*/ 114490 h 208406"/>
                <a:gd name="connsiteX25" fmla="*/ 98870 w 146684"/>
                <a:gd name="connsiteY25" fmla="*/ 98107 h 208406"/>
                <a:gd name="connsiteX26" fmla="*/ 78677 w 146684"/>
                <a:gd name="connsiteY26" fmla="*/ 87249 h 208406"/>
                <a:gd name="connsiteX27" fmla="*/ 63532 w 146684"/>
                <a:gd name="connsiteY27" fmla="*/ 74486 h 208406"/>
                <a:gd name="connsiteX28" fmla="*/ 35338 w 146684"/>
                <a:gd name="connsiteY28" fmla="*/ 90869 h 208406"/>
                <a:gd name="connsiteX29" fmla="*/ 29242 w 146684"/>
                <a:gd name="connsiteY29" fmla="*/ 107252 h 208406"/>
                <a:gd name="connsiteX30" fmla="*/ 9049 w 146684"/>
                <a:gd name="connsiteY30" fmla="*/ 107252 h 208406"/>
                <a:gd name="connsiteX31" fmla="*/ 0 w 146684"/>
                <a:gd name="connsiteY31" fmla="*/ 81820 h 208406"/>
                <a:gd name="connsiteX32" fmla="*/ 14097 w 146684"/>
                <a:gd name="connsiteY32" fmla="*/ 74581 h 208406"/>
                <a:gd name="connsiteX33" fmla="*/ 28194 w 146684"/>
                <a:gd name="connsiteY33" fmla="*/ 58198 h 208406"/>
                <a:gd name="connsiteX34" fmla="*/ 44291 w 146684"/>
                <a:gd name="connsiteY34" fmla="*/ 41815 h 208406"/>
                <a:gd name="connsiteX35" fmla="*/ 58388 w 146684"/>
                <a:gd name="connsiteY35" fmla="*/ 43624 h 208406"/>
                <a:gd name="connsiteX36" fmla="*/ 66485 w 146684"/>
                <a:gd name="connsiteY36" fmla="*/ 38195 h 208406"/>
                <a:gd name="connsiteX37" fmla="*/ 58388 w 146684"/>
                <a:gd name="connsiteY37" fmla="*/ 23622 h 208406"/>
                <a:gd name="connsiteX38" fmla="*/ 53340 w 146684"/>
                <a:gd name="connsiteY38" fmla="*/ 3619 h 208406"/>
                <a:gd name="connsiteX39" fmla="*/ 70485 w 146684"/>
                <a:gd name="connsiteY39" fmla="*/ 0 h 208406"/>
                <a:gd name="connsiteX40" fmla="*/ 88582 w 146684"/>
                <a:gd name="connsiteY40" fmla="*/ 10954 h 208406"/>
                <a:gd name="connsiteX41" fmla="*/ 107728 w 146684"/>
                <a:gd name="connsiteY41" fmla="*/ 10954 h 208406"/>
                <a:gd name="connsiteX42" fmla="*/ 127063 w 146684"/>
                <a:gd name="connsiteY42" fmla="*/ 7620 h 208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46684" h="208406">
                  <a:moveTo>
                    <a:pt x="127445" y="7429"/>
                  </a:moveTo>
                  <a:lnTo>
                    <a:pt x="126016" y="31623"/>
                  </a:lnTo>
                  <a:lnTo>
                    <a:pt x="127159" y="47720"/>
                  </a:lnTo>
                  <a:lnTo>
                    <a:pt x="130016" y="61912"/>
                  </a:lnTo>
                  <a:lnTo>
                    <a:pt x="145732" y="109823"/>
                  </a:lnTo>
                  <a:lnTo>
                    <a:pt x="146685" y="117253"/>
                  </a:lnTo>
                  <a:lnTo>
                    <a:pt x="145923" y="127540"/>
                  </a:lnTo>
                  <a:lnTo>
                    <a:pt x="143637" y="133064"/>
                  </a:lnTo>
                  <a:lnTo>
                    <a:pt x="140494" y="137636"/>
                  </a:lnTo>
                  <a:lnTo>
                    <a:pt x="137255" y="145066"/>
                  </a:lnTo>
                  <a:lnTo>
                    <a:pt x="133826" y="161544"/>
                  </a:lnTo>
                  <a:lnTo>
                    <a:pt x="131540" y="178118"/>
                  </a:lnTo>
                  <a:lnTo>
                    <a:pt x="127826" y="193643"/>
                  </a:lnTo>
                  <a:lnTo>
                    <a:pt x="119920" y="207169"/>
                  </a:lnTo>
                  <a:lnTo>
                    <a:pt x="105156" y="197072"/>
                  </a:lnTo>
                  <a:lnTo>
                    <a:pt x="88487" y="203549"/>
                  </a:lnTo>
                  <a:lnTo>
                    <a:pt x="81820" y="208407"/>
                  </a:lnTo>
                  <a:lnTo>
                    <a:pt x="81820" y="208121"/>
                  </a:lnTo>
                  <a:cubicBezTo>
                    <a:pt x="81820" y="208121"/>
                    <a:pt x="80296" y="201263"/>
                    <a:pt x="80296" y="201263"/>
                  </a:cubicBezTo>
                  <a:lnTo>
                    <a:pt x="78962" y="196310"/>
                  </a:lnTo>
                  <a:lnTo>
                    <a:pt x="86296" y="179451"/>
                  </a:lnTo>
                  <a:lnTo>
                    <a:pt x="92107" y="169259"/>
                  </a:lnTo>
                  <a:lnTo>
                    <a:pt x="89345" y="160973"/>
                  </a:lnTo>
                  <a:lnTo>
                    <a:pt x="96869" y="139922"/>
                  </a:lnTo>
                  <a:lnTo>
                    <a:pt x="108966" y="114490"/>
                  </a:lnTo>
                  <a:lnTo>
                    <a:pt x="98870" y="98107"/>
                  </a:lnTo>
                  <a:lnTo>
                    <a:pt x="78677" y="87249"/>
                  </a:lnTo>
                  <a:lnTo>
                    <a:pt x="63532" y="74486"/>
                  </a:lnTo>
                  <a:lnTo>
                    <a:pt x="35338" y="90869"/>
                  </a:lnTo>
                  <a:lnTo>
                    <a:pt x="29242" y="107252"/>
                  </a:lnTo>
                  <a:lnTo>
                    <a:pt x="9049" y="107252"/>
                  </a:lnTo>
                  <a:lnTo>
                    <a:pt x="0" y="81820"/>
                  </a:lnTo>
                  <a:lnTo>
                    <a:pt x="14097" y="74581"/>
                  </a:lnTo>
                  <a:lnTo>
                    <a:pt x="28194" y="58198"/>
                  </a:lnTo>
                  <a:lnTo>
                    <a:pt x="44291" y="41815"/>
                  </a:lnTo>
                  <a:lnTo>
                    <a:pt x="58388" y="43624"/>
                  </a:lnTo>
                  <a:lnTo>
                    <a:pt x="66485" y="38195"/>
                  </a:lnTo>
                  <a:lnTo>
                    <a:pt x="58388" y="23622"/>
                  </a:lnTo>
                  <a:lnTo>
                    <a:pt x="53340" y="3619"/>
                  </a:lnTo>
                  <a:lnTo>
                    <a:pt x="70485" y="0"/>
                  </a:lnTo>
                  <a:lnTo>
                    <a:pt x="88582" y="10954"/>
                  </a:lnTo>
                  <a:lnTo>
                    <a:pt x="107728" y="10954"/>
                  </a:lnTo>
                  <a:lnTo>
                    <a:pt x="127063" y="7620"/>
                  </a:lnTo>
                </a:path>
              </a:pathLst>
            </a:custGeom>
            <a:grpFill/>
            <a:ln w="2381" cap="sq">
              <a:noFill/>
              <a:prstDash val="solid"/>
              <a:bevel/>
            </a:ln>
          </p:spPr>
          <p:txBody>
            <a:bodyPr rtlCol="0" anchor="ctr"/>
            <a:lstStyle/>
            <a:p>
              <a:endParaRPr lang="cs-CZ"/>
            </a:p>
          </p:txBody>
        </p:sp>
        <p:sp>
          <p:nvSpPr>
            <p:cNvPr id="183" name="Freeform: Shape 182">
              <a:extLst>
                <a:ext uri="{FF2B5EF4-FFF2-40B4-BE49-F238E27FC236}">
                  <a16:creationId xmlns:a16="http://schemas.microsoft.com/office/drawing/2014/main" id="{C51AAE0C-A06E-F4DC-2A5D-F8AD2ADF5F98}"/>
                </a:ext>
              </a:extLst>
            </p:cNvPr>
            <p:cNvSpPr/>
            <p:nvPr/>
          </p:nvSpPr>
          <p:spPr>
            <a:xfrm>
              <a:off x="13095158" y="8341642"/>
              <a:ext cx="209264" cy="236124"/>
            </a:xfrm>
            <a:custGeom>
              <a:avLst/>
              <a:gdLst>
                <a:gd name="connsiteX0" fmla="*/ 186309 w 209264"/>
                <a:gd name="connsiteY0" fmla="*/ 235934 h 236124"/>
                <a:gd name="connsiteX1" fmla="*/ 92869 w 209264"/>
                <a:gd name="connsiteY1" fmla="*/ 219742 h 236124"/>
                <a:gd name="connsiteX2" fmla="*/ 78772 w 209264"/>
                <a:gd name="connsiteY2" fmla="*/ 209455 h 236124"/>
                <a:gd name="connsiteX3" fmla="*/ 67437 w 209264"/>
                <a:gd name="connsiteY3" fmla="*/ 188309 h 236124"/>
                <a:gd name="connsiteX4" fmla="*/ 60484 w 209264"/>
                <a:gd name="connsiteY4" fmla="*/ 165735 h 236124"/>
                <a:gd name="connsiteX5" fmla="*/ 56674 w 209264"/>
                <a:gd name="connsiteY5" fmla="*/ 158877 h 236124"/>
                <a:gd name="connsiteX6" fmla="*/ 43720 w 209264"/>
                <a:gd name="connsiteY6" fmla="*/ 144399 h 236124"/>
                <a:gd name="connsiteX7" fmla="*/ 39815 w 209264"/>
                <a:gd name="connsiteY7" fmla="*/ 137160 h 236124"/>
                <a:gd name="connsiteX8" fmla="*/ 35528 w 209264"/>
                <a:gd name="connsiteY8" fmla="*/ 124111 h 236124"/>
                <a:gd name="connsiteX9" fmla="*/ 25432 w 209264"/>
                <a:gd name="connsiteY9" fmla="*/ 81534 h 236124"/>
                <a:gd name="connsiteX10" fmla="*/ 15240 w 209264"/>
                <a:gd name="connsiteY10" fmla="*/ 52006 h 236124"/>
                <a:gd name="connsiteX11" fmla="*/ 8287 w 209264"/>
                <a:gd name="connsiteY11" fmla="*/ 40196 h 236124"/>
                <a:gd name="connsiteX12" fmla="*/ 0 w 209264"/>
                <a:gd name="connsiteY12" fmla="*/ 37433 h 236124"/>
                <a:gd name="connsiteX13" fmla="*/ 2572 w 209264"/>
                <a:gd name="connsiteY13" fmla="*/ 29051 h 236124"/>
                <a:gd name="connsiteX14" fmla="*/ 11621 w 209264"/>
                <a:gd name="connsiteY14" fmla="*/ 25241 h 236124"/>
                <a:gd name="connsiteX15" fmla="*/ 15812 w 209264"/>
                <a:gd name="connsiteY15" fmla="*/ 16383 h 236124"/>
                <a:gd name="connsiteX16" fmla="*/ 19336 w 209264"/>
                <a:gd name="connsiteY16" fmla="*/ 6287 h 236124"/>
                <a:gd name="connsiteX17" fmla="*/ 55531 w 209264"/>
                <a:gd name="connsiteY17" fmla="*/ 0 h 236124"/>
                <a:gd name="connsiteX18" fmla="*/ 61055 w 209264"/>
                <a:gd name="connsiteY18" fmla="*/ 25241 h 236124"/>
                <a:gd name="connsiteX19" fmla="*/ 70104 w 209264"/>
                <a:gd name="connsiteY19" fmla="*/ 22765 h 236124"/>
                <a:gd name="connsiteX20" fmla="*/ 79153 w 209264"/>
                <a:gd name="connsiteY20" fmla="*/ 65532 h 236124"/>
                <a:gd name="connsiteX21" fmla="*/ 102108 w 209264"/>
                <a:gd name="connsiteY21" fmla="*/ 58007 h 236124"/>
                <a:gd name="connsiteX22" fmla="*/ 164497 w 209264"/>
                <a:gd name="connsiteY22" fmla="*/ 61913 h 236124"/>
                <a:gd name="connsiteX23" fmla="*/ 166307 w 209264"/>
                <a:gd name="connsiteY23" fmla="*/ 83630 h 236124"/>
                <a:gd name="connsiteX24" fmla="*/ 166307 w 209264"/>
                <a:gd name="connsiteY24" fmla="*/ 91726 h 236124"/>
                <a:gd name="connsiteX25" fmla="*/ 167830 w 209264"/>
                <a:gd name="connsiteY25" fmla="*/ 103061 h 236124"/>
                <a:gd name="connsiteX26" fmla="*/ 166307 w 209264"/>
                <a:gd name="connsiteY26" fmla="*/ 107918 h 236124"/>
                <a:gd name="connsiteX27" fmla="*/ 165545 w 209264"/>
                <a:gd name="connsiteY27" fmla="*/ 111823 h 236124"/>
                <a:gd name="connsiteX28" fmla="*/ 166688 w 209264"/>
                <a:gd name="connsiteY28" fmla="*/ 113824 h 236124"/>
                <a:gd name="connsiteX29" fmla="*/ 169069 w 209264"/>
                <a:gd name="connsiteY29" fmla="*/ 116300 h 236124"/>
                <a:gd name="connsiteX30" fmla="*/ 190881 w 209264"/>
                <a:gd name="connsiteY30" fmla="*/ 113443 h 236124"/>
                <a:gd name="connsiteX31" fmla="*/ 194310 w 209264"/>
                <a:gd name="connsiteY31" fmla="*/ 118681 h 236124"/>
                <a:gd name="connsiteX32" fmla="*/ 191453 w 209264"/>
                <a:gd name="connsiteY32" fmla="*/ 121920 h 236124"/>
                <a:gd name="connsiteX33" fmla="*/ 183356 w 209264"/>
                <a:gd name="connsiteY33" fmla="*/ 125921 h 236124"/>
                <a:gd name="connsiteX34" fmla="*/ 176498 w 209264"/>
                <a:gd name="connsiteY34" fmla="*/ 131350 h 236124"/>
                <a:gd name="connsiteX35" fmla="*/ 171259 w 209264"/>
                <a:gd name="connsiteY35" fmla="*/ 139446 h 236124"/>
                <a:gd name="connsiteX36" fmla="*/ 171069 w 209264"/>
                <a:gd name="connsiteY36" fmla="*/ 146780 h 236124"/>
                <a:gd name="connsiteX37" fmla="*/ 181642 w 209264"/>
                <a:gd name="connsiteY37" fmla="*/ 154781 h 236124"/>
                <a:gd name="connsiteX38" fmla="*/ 188976 w 209264"/>
                <a:gd name="connsiteY38" fmla="*/ 164782 h 236124"/>
                <a:gd name="connsiteX39" fmla="*/ 195167 w 209264"/>
                <a:gd name="connsiteY39" fmla="*/ 168878 h 236124"/>
                <a:gd name="connsiteX40" fmla="*/ 207264 w 209264"/>
                <a:gd name="connsiteY40" fmla="*/ 185833 h 236124"/>
                <a:gd name="connsiteX41" fmla="*/ 204216 w 209264"/>
                <a:gd name="connsiteY41" fmla="*/ 206502 h 236124"/>
                <a:gd name="connsiteX42" fmla="*/ 209074 w 209264"/>
                <a:gd name="connsiteY42" fmla="*/ 220218 h 236124"/>
                <a:gd name="connsiteX43" fmla="*/ 209264 w 209264"/>
                <a:gd name="connsiteY43" fmla="*/ 222980 h 236124"/>
                <a:gd name="connsiteX44" fmla="*/ 207359 w 209264"/>
                <a:gd name="connsiteY44" fmla="*/ 225171 h 236124"/>
                <a:gd name="connsiteX45" fmla="*/ 194882 w 209264"/>
                <a:gd name="connsiteY45" fmla="*/ 226123 h 236124"/>
                <a:gd name="connsiteX46" fmla="*/ 190119 w 209264"/>
                <a:gd name="connsiteY46" fmla="*/ 230219 h 236124"/>
                <a:gd name="connsiteX47" fmla="*/ 186214 w 209264"/>
                <a:gd name="connsiteY47" fmla="*/ 235839 h 236124"/>
                <a:gd name="connsiteX48" fmla="*/ 186023 w 209264"/>
                <a:gd name="connsiteY48" fmla="*/ 236125 h 23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09264" h="236124">
                  <a:moveTo>
                    <a:pt x="186309" y="235934"/>
                  </a:moveTo>
                  <a:lnTo>
                    <a:pt x="92869" y="219742"/>
                  </a:lnTo>
                  <a:lnTo>
                    <a:pt x="78772" y="209455"/>
                  </a:lnTo>
                  <a:lnTo>
                    <a:pt x="67437" y="188309"/>
                  </a:lnTo>
                  <a:lnTo>
                    <a:pt x="60484" y="165735"/>
                  </a:lnTo>
                  <a:lnTo>
                    <a:pt x="56674" y="158877"/>
                  </a:lnTo>
                  <a:lnTo>
                    <a:pt x="43720" y="144399"/>
                  </a:lnTo>
                  <a:lnTo>
                    <a:pt x="39815" y="137160"/>
                  </a:lnTo>
                  <a:lnTo>
                    <a:pt x="35528" y="124111"/>
                  </a:lnTo>
                  <a:lnTo>
                    <a:pt x="25432" y="81534"/>
                  </a:lnTo>
                  <a:lnTo>
                    <a:pt x="15240" y="52006"/>
                  </a:lnTo>
                  <a:lnTo>
                    <a:pt x="8287" y="40196"/>
                  </a:lnTo>
                  <a:lnTo>
                    <a:pt x="0" y="37433"/>
                  </a:lnTo>
                  <a:lnTo>
                    <a:pt x="2572" y="29051"/>
                  </a:lnTo>
                  <a:lnTo>
                    <a:pt x="11621" y="25241"/>
                  </a:lnTo>
                  <a:lnTo>
                    <a:pt x="15812" y="16383"/>
                  </a:lnTo>
                  <a:lnTo>
                    <a:pt x="19336" y="6287"/>
                  </a:lnTo>
                  <a:lnTo>
                    <a:pt x="55531" y="0"/>
                  </a:lnTo>
                  <a:lnTo>
                    <a:pt x="61055" y="25241"/>
                  </a:lnTo>
                  <a:lnTo>
                    <a:pt x="70104" y="22765"/>
                  </a:lnTo>
                  <a:lnTo>
                    <a:pt x="79153" y="65532"/>
                  </a:lnTo>
                  <a:lnTo>
                    <a:pt x="102108" y="58007"/>
                  </a:lnTo>
                  <a:lnTo>
                    <a:pt x="164497" y="61913"/>
                  </a:lnTo>
                  <a:lnTo>
                    <a:pt x="166307" y="83630"/>
                  </a:lnTo>
                  <a:lnTo>
                    <a:pt x="166307" y="91726"/>
                  </a:lnTo>
                  <a:cubicBezTo>
                    <a:pt x="166307" y="91726"/>
                    <a:pt x="167830" y="103061"/>
                    <a:pt x="167830" y="103061"/>
                  </a:cubicBezTo>
                  <a:lnTo>
                    <a:pt x="166307" y="107918"/>
                  </a:lnTo>
                  <a:lnTo>
                    <a:pt x="165545" y="111823"/>
                  </a:lnTo>
                  <a:lnTo>
                    <a:pt x="166688" y="113824"/>
                  </a:lnTo>
                  <a:lnTo>
                    <a:pt x="169069" y="116300"/>
                  </a:lnTo>
                  <a:lnTo>
                    <a:pt x="190881" y="113443"/>
                  </a:lnTo>
                  <a:lnTo>
                    <a:pt x="194310" y="118681"/>
                  </a:lnTo>
                  <a:lnTo>
                    <a:pt x="191453" y="121920"/>
                  </a:lnTo>
                  <a:lnTo>
                    <a:pt x="183356" y="125921"/>
                  </a:lnTo>
                  <a:lnTo>
                    <a:pt x="176498" y="131350"/>
                  </a:lnTo>
                  <a:lnTo>
                    <a:pt x="171259" y="139446"/>
                  </a:lnTo>
                  <a:lnTo>
                    <a:pt x="171069" y="146780"/>
                  </a:lnTo>
                  <a:lnTo>
                    <a:pt x="181642" y="154781"/>
                  </a:lnTo>
                  <a:lnTo>
                    <a:pt x="188976" y="164782"/>
                  </a:lnTo>
                  <a:lnTo>
                    <a:pt x="195167" y="168878"/>
                  </a:lnTo>
                  <a:lnTo>
                    <a:pt x="207264" y="185833"/>
                  </a:lnTo>
                  <a:lnTo>
                    <a:pt x="204216" y="206502"/>
                  </a:lnTo>
                  <a:lnTo>
                    <a:pt x="209074" y="220218"/>
                  </a:lnTo>
                  <a:lnTo>
                    <a:pt x="209264" y="222980"/>
                  </a:lnTo>
                  <a:lnTo>
                    <a:pt x="207359" y="225171"/>
                  </a:lnTo>
                  <a:lnTo>
                    <a:pt x="194882" y="226123"/>
                  </a:lnTo>
                  <a:lnTo>
                    <a:pt x="190119" y="230219"/>
                  </a:lnTo>
                  <a:lnTo>
                    <a:pt x="186214" y="235839"/>
                  </a:lnTo>
                  <a:lnTo>
                    <a:pt x="186023" y="236125"/>
                  </a:lnTo>
                </a:path>
              </a:pathLst>
            </a:custGeom>
            <a:grpFill/>
            <a:ln w="2381" cap="sq">
              <a:noFill/>
              <a:prstDash val="solid"/>
              <a:bevel/>
            </a:ln>
          </p:spPr>
          <p:txBody>
            <a:bodyPr rtlCol="0" anchor="ctr"/>
            <a:lstStyle/>
            <a:p>
              <a:endParaRPr lang="cs-CZ"/>
            </a:p>
          </p:txBody>
        </p:sp>
        <p:sp>
          <p:nvSpPr>
            <p:cNvPr id="184" name="Freeform: Shape 183">
              <a:extLst>
                <a:ext uri="{FF2B5EF4-FFF2-40B4-BE49-F238E27FC236}">
                  <a16:creationId xmlns:a16="http://schemas.microsoft.com/office/drawing/2014/main" id="{F5A649B3-BBDF-8023-FDFD-C25894896E8E}"/>
                </a:ext>
              </a:extLst>
            </p:cNvPr>
            <p:cNvSpPr/>
            <p:nvPr/>
          </p:nvSpPr>
          <p:spPr>
            <a:xfrm>
              <a:off x="13260036" y="8361550"/>
              <a:ext cx="172212" cy="228790"/>
            </a:xfrm>
            <a:custGeom>
              <a:avLst/>
              <a:gdLst>
                <a:gd name="connsiteX0" fmla="*/ 62675 w 172212"/>
                <a:gd name="connsiteY0" fmla="*/ 223171 h 228790"/>
                <a:gd name="connsiteX1" fmla="*/ 21527 w 172212"/>
                <a:gd name="connsiteY1" fmla="*/ 216027 h 228790"/>
                <a:gd name="connsiteX2" fmla="*/ 21717 w 172212"/>
                <a:gd name="connsiteY2" fmla="*/ 215741 h 228790"/>
                <a:gd name="connsiteX3" fmla="*/ 25622 w 172212"/>
                <a:gd name="connsiteY3" fmla="*/ 210121 h 228790"/>
                <a:gd name="connsiteX4" fmla="*/ 30385 w 172212"/>
                <a:gd name="connsiteY4" fmla="*/ 206026 h 228790"/>
                <a:gd name="connsiteX5" fmla="*/ 42863 w 172212"/>
                <a:gd name="connsiteY5" fmla="*/ 205073 h 228790"/>
                <a:gd name="connsiteX6" fmla="*/ 44767 w 172212"/>
                <a:gd name="connsiteY6" fmla="*/ 202883 h 228790"/>
                <a:gd name="connsiteX7" fmla="*/ 44577 w 172212"/>
                <a:gd name="connsiteY7" fmla="*/ 200120 h 228790"/>
                <a:gd name="connsiteX8" fmla="*/ 39719 w 172212"/>
                <a:gd name="connsiteY8" fmla="*/ 186404 h 228790"/>
                <a:gd name="connsiteX9" fmla="*/ 42767 w 172212"/>
                <a:gd name="connsiteY9" fmla="*/ 165735 h 228790"/>
                <a:gd name="connsiteX10" fmla="*/ 30671 w 172212"/>
                <a:gd name="connsiteY10" fmla="*/ 148780 h 228790"/>
                <a:gd name="connsiteX11" fmla="*/ 24479 w 172212"/>
                <a:gd name="connsiteY11" fmla="*/ 144685 h 228790"/>
                <a:gd name="connsiteX12" fmla="*/ 17145 w 172212"/>
                <a:gd name="connsiteY12" fmla="*/ 134684 h 228790"/>
                <a:gd name="connsiteX13" fmla="*/ 6572 w 172212"/>
                <a:gd name="connsiteY13" fmla="*/ 126683 h 228790"/>
                <a:gd name="connsiteX14" fmla="*/ 6763 w 172212"/>
                <a:gd name="connsiteY14" fmla="*/ 119348 h 228790"/>
                <a:gd name="connsiteX15" fmla="*/ 12002 w 172212"/>
                <a:gd name="connsiteY15" fmla="*/ 111252 h 228790"/>
                <a:gd name="connsiteX16" fmla="*/ 18859 w 172212"/>
                <a:gd name="connsiteY16" fmla="*/ 105823 h 228790"/>
                <a:gd name="connsiteX17" fmla="*/ 26956 w 172212"/>
                <a:gd name="connsiteY17" fmla="*/ 101822 h 228790"/>
                <a:gd name="connsiteX18" fmla="*/ 29813 w 172212"/>
                <a:gd name="connsiteY18" fmla="*/ 98584 h 228790"/>
                <a:gd name="connsiteX19" fmla="*/ 26384 w 172212"/>
                <a:gd name="connsiteY19" fmla="*/ 93345 h 228790"/>
                <a:gd name="connsiteX20" fmla="*/ 4572 w 172212"/>
                <a:gd name="connsiteY20" fmla="*/ 96203 h 228790"/>
                <a:gd name="connsiteX21" fmla="*/ 2191 w 172212"/>
                <a:gd name="connsiteY21" fmla="*/ 93726 h 228790"/>
                <a:gd name="connsiteX22" fmla="*/ 1048 w 172212"/>
                <a:gd name="connsiteY22" fmla="*/ 91726 h 228790"/>
                <a:gd name="connsiteX23" fmla="*/ 1810 w 172212"/>
                <a:gd name="connsiteY23" fmla="*/ 87821 h 228790"/>
                <a:gd name="connsiteX24" fmla="*/ 3334 w 172212"/>
                <a:gd name="connsiteY24" fmla="*/ 82963 h 228790"/>
                <a:gd name="connsiteX25" fmla="*/ 1905 w 172212"/>
                <a:gd name="connsiteY25" fmla="*/ 71628 h 228790"/>
                <a:gd name="connsiteX26" fmla="*/ 1905 w 172212"/>
                <a:gd name="connsiteY26" fmla="*/ 63532 h 228790"/>
                <a:gd name="connsiteX27" fmla="*/ 0 w 172212"/>
                <a:gd name="connsiteY27" fmla="*/ 41815 h 228790"/>
                <a:gd name="connsiteX28" fmla="*/ 1048 w 172212"/>
                <a:gd name="connsiteY28" fmla="*/ 32766 h 228790"/>
                <a:gd name="connsiteX29" fmla="*/ 14669 w 172212"/>
                <a:gd name="connsiteY29" fmla="*/ 32480 h 228790"/>
                <a:gd name="connsiteX30" fmla="*/ 38862 w 172212"/>
                <a:gd name="connsiteY30" fmla="*/ 39719 h 228790"/>
                <a:gd name="connsiteX31" fmla="*/ 63056 w 172212"/>
                <a:gd name="connsiteY31" fmla="*/ 38005 h 228790"/>
                <a:gd name="connsiteX32" fmla="*/ 71057 w 172212"/>
                <a:gd name="connsiteY32" fmla="*/ 34100 h 228790"/>
                <a:gd name="connsiteX33" fmla="*/ 82391 w 172212"/>
                <a:gd name="connsiteY33" fmla="*/ 21717 h 228790"/>
                <a:gd name="connsiteX34" fmla="*/ 89440 w 172212"/>
                <a:gd name="connsiteY34" fmla="*/ 15811 h 228790"/>
                <a:gd name="connsiteX35" fmla="*/ 98870 w 172212"/>
                <a:gd name="connsiteY35" fmla="*/ 15811 h 228790"/>
                <a:gd name="connsiteX36" fmla="*/ 106299 w 172212"/>
                <a:gd name="connsiteY36" fmla="*/ 13811 h 228790"/>
                <a:gd name="connsiteX37" fmla="*/ 109061 w 172212"/>
                <a:gd name="connsiteY37" fmla="*/ 10096 h 228790"/>
                <a:gd name="connsiteX38" fmla="*/ 112776 w 172212"/>
                <a:gd name="connsiteY38" fmla="*/ 6096 h 228790"/>
                <a:gd name="connsiteX39" fmla="*/ 115633 w 172212"/>
                <a:gd name="connsiteY39" fmla="*/ 4477 h 228790"/>
                <a:gd name="connsiteX40" fmla="*/ 117158 w 172212"/>
                <a:gd name="connsiteY40" fmla="*/ 0 h 228790"/>
                <a:gd name="connsiteX41" fmla="*/ 125444 w 172212"/>
                <a:gd name="connsiteY41" fmla="*/ 14383 h 228790"/>
                <a:gd name="connsiteX42" fmla="*/ 123730 w 172212"/>
                <a:gd name="connsiteY42" fmla="*/ 25336 h 228790"/>
                <a:gd name="connsiteX43" fmla="*/ 133255 w 172212"/>
                <a:gd name="connsiteY43" fmla="*/ 41053 h 228790"/>
                <a:gd name="connsiteX44" fmla="*/ 141923 w 172212"/>
                <a:gd name="connsiteY44" fmla="*/ 52006 h 228790"/>
                <a:gd name="connsiteX45" fmla="*/ 148876 w 172212"/>
                <a:gd name="connsiteY45" fmla="*/ 70771 h 228790"/>
                <a:gd name="connsiteX46" fmla="*/ 168783 w 172212"/>
                <a:gd name="connsiteY46" fmla="*/ 69247 h 228790"/>
                <a:gd name="connsiteX47" fmla="*/ 171355 w 172212"/>
                <a:gd name="connsiteY47" fmla="*/ 81725 h 228790"/>
                <a:gd name="connsiteX48" fmla="*/ 172212 w 172212"/>
                <a:gd name="connsiteY48" fmla="*/ 97346 h 228790"/>
                <a:gd name="connsiteX49" fmla="*/ 171355 w 172212"/>
                <a:gd name="connsiteY49" fmla="*/ 117634 h 228790"/>
                <a:gd name="connsiteX50" fmla="*/ 150590 w 172212"/>
                <a:gd name="connsiteY50" fmla="*/ 122301 h 228790"/>
                <a:gd name="connsiteX51" fmla="*/ 155734 w 172212"/>
                <a:gd name="connsiteY51" fmla="*/ 167545 h 228790"/>
                <a:gd name="connsiteX52" fmla="*/ 155734 w 172212"/>
                <a:gd name="connsiteY52" fmla="*/ 181546 h 228790"/>
                <a:gd name="connsiteX53" fmla="*/ 147923 w 172212"/>
                <a:gd name="connsiteY53" fmla="*/ 198692 h 228790"/>
                <a:gd name="connsiteX54" fmla="*/ 138494 w 172212"/>
                <a:gd name="connsiteY54" fmla="*/ 226885 h 228790"/>
                <a:gd name="connsiteX55" fmla="*/ 115253 w 172212"/>
                <a:gd name="connsiteY55" fmla="*/ 228791 h 228790"/>
                <a:gd name="connsiteX56" fmla="*/ 108585 w 172212"/>
                <a:gd name="connsiteY56" fmla="*/ 227457 h 228790"/>
                <a:gd name="connsiteX57" fmla="*/ 89059 w 172212"/>
                <a:gd name="connsiteY57" fmla="*/ 218027 h 228790"/>
                <a:gd name="connsiteX58" fmla="*/ 62579 w 172212"/>
                <a:gd name="connsiteY58" fmla="*/ 222885 h 228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72212" h="228790">
                  <a:moveTo>
                    <a:pt x="62675" y="223171"/>
                  </a:moveTo>
                  <a:lnTo>
                    <a:pt x="21527" y="216027"/>
                  </a:lnTo>
                  <a:lnTo>
                    <a:pt x="21717" y="215741"/>
                  </a:lnTo>
                  <a:lnTo>
                    <a:pt x="25622" y="210121"/>
                  </a:lnTo>
                  <a:lnTo>
                    <a:pt x="30385" y="206026"/>
                  </a:lnTo>
                  <a:lnTo>
                    <a:pt x="42863" y="205073"/>
                  </a:lnTo>
                  <a:lnTo>
                    <a:pt x="44767" y="202883"/>
                  </a:lnTo>
                  <a:lnTo>
                    <a:pt x="44577" y="200120"/>
                  </a:lnTo>
                  <a:lnTo>
                    <a:pt x="39719" y="186404"/>
                  </a:lnTo>
                  <a:lnTo>
                    <a:pt x="42767" y="165735"/>
                  </a:lnTo>
                  <a:lnTo>
                    <a:pt x="30671" y="148780"/>
                  </a:lnTo>
                  <a:lnTo>
                    <a:pt x="24479" y="144685"/>
                  </a:lnTo>
                  <a:lnTo>
                    <a:pt x="17145" y="134684"/>
                  </a:lnTo>
                  <a:lnTo>
                    <a:pt x="6572" y="126683"/>
                  </a:lnTo>
                  <a:lnTo>
                    <a:pt x="6763" y="119348"/>
                  </a:lnTo>
                  <a:lnTo>
                    <a:pt x="12002" y="111252"/>
                  </a:lnTo>
                  <a:lnTo>
                    <a:pt x="18859" y="105823"/>
                  </a:lnTo>
                  <a:lnTo>
                    <a:pt x="26956" y="101822"/>
                  </a:lnTo>
                  <a:lnTo>
                    <a:pt x="29813" y="98584"/>
                  </a:lnTo>
                  <a:lnTo>
                    <a:pt x="26384" y="93345"/>
                  </a:lnTo>
                  <a:lnTo>
                    <a:pt x="4572" y="96203"/>
                  </a:lnTo>
                  <a:lnTo>
                    <a:pt x="2191" y="93726"/>
                  </a:lnTo>
                  <a:lnTo>
                    <a:pt x="1048" y="91726"/>
                  </a:lnTo>
                  <a:lnTo>
                    <a:pt x="1810" y="87821"/>
                  </a:lnTo>
                  <a:lnTo>
                    <a:pt x="3334" y="82963"/>
                  </a:lnTo>
                  <a:lnTo>
                    <a:pt x="1905" y="71628"/>
                  </a:lnTo>
                  <a:lnTo>
                    <a:pt x="1905" y="63532"/>
                  </a:lnTo>
                  <a:cubicBezTo>
                    <a:pt x="1905" y="63532"/>
                    <a:pt x="0" y="41815"/>
                    <a:pt x="0" y="41815"/>
                  </a:cubicBezTo>
                  <a:lnTo>
                    <a:pt x="1048" y="32766"/>
                  </a:lnTo>
                  <a:lnTo>
                    <a:pt x="14669" y="32480"/>
                  </a:lnTo>
                  <a:lnTo>
                    <a:pt x="38862" y="39719"/>
                  </a:lnTo>
                  <a:lnTo>
                    <a:pt x="63056" y="38005"/>
                  </a:lnTo>
                  <a:lnTo>
                    <a:pt x="71057" y="34100"/>
                  </a:lnTo>
                  <a:lnTo>
                    <a:pt x="82391" y="21717"/>
                  </a:lnTo>
                  <a:lnTo>
                    <a:pt x="89440" y="15811"/>
                  </a:lnTo>
                  <a:lnTo>
                    <a:pt x="98870" y="15811"/>
                  </a:lnTo>
                  <a:cubicBezTo>
                    <a:pt x="98870" y="15811"/>
                    <a:pt x="106299" y="13811"/>
                    <a:pt x="106299" y="13811"/>
                  </a:cubicBezTo>
                  <a:lnTo>
                    <a:pt x="109061" y="10096"/>
                  </a:lnTo>
                  <a:lnTo>
                    <a:pt x="112776" y="6096"/>
                  </a:lnTo>
                  <a:lnTo>
                    <a:pt x="115633" y="4477"/>
                  </a:lnTo>
                  <a:lnTo>
                    <a:pt x="117158" y="0"/>
                  </a:lnTo>
                  <a:lnTo>
                    <a:pt x="125444" y="14383"/>
                  </a:lnTo>
                  <a:lnTo>
                    <a:pt x="123730" y="25336"/>
                  </a:lnTo>
                  <a:lnTo>
                    <a:pt x="133255" y="41053"/>
                  </a:lnTo>
                  <a:lnTo>
                    <a:pt x="141923" y="52006"/>
                  </a:lnTo>
                  <a:lnTo>
                    <a:pt x="148876" y="70771"/>
                  </a:lnTo>
                  <a:lnTo>
                    <a:pt x="168783" y="69247"/>
                  </a:lnTo>
                  <a:lnTo>
                    <a:pt x="171355" y="81725"/>
                  </a:lnTo>
                  <a:lnTo>
                    <a:pt x="172212" y="97346"/>
                  </a:lnTo>
                  <a:lnTo>
                    <a:pt x="171355" y="117634"/>
                  </a:lnTo>
                  <a:lnTo>
                    <a:pt x="150590" y="122301"/>
                  </a:lnTo>
                  <a:lnTo>
                    <a:pt x="155734" y="167545"/>
                  </a:lnTo>
                  <a:lnTo>
                    <a:pt x="155734" y="181546"/>
                  </a:lnTo>
                  <a:lnTo>
                    <a:pt x="147923" y="198692"/>
                  </a:lnTo>
                  <a:lnTo>
                    <a:pt x="138494" y="226885"/>
                  </a:lnTo>
                  <a:lnTo>
                    <a:pt x="115253" y="228791"/>
                  </a:lnTo>
                  <a:lnTo>
                    <a:pt x="108585" y="227457"/>
                  </a:lnTo>
                  <a:lnTo>
                    <a:pt x="89059" y="218027"/>
                  </a:lnTo>
                  <a:lnTo>
                    <a:pt x="62579" y="222885"/>
                  </a:lnTo>
                </a:path>
              </a:pathLst>
            </a:custGeom>
            <a:grpFill/>
            <a:ln w="2381" cap="sq">
              <a:noFill/>
              <a:prstDash val="solid"/>
              <a:bevel/>
            </a:ln>
          </p:spPr>
          <p:txBody>
            <a:bodyPr rtlCol="0" anchor="ctr"/>
            <a:lstStyle/>
            <a:p>
              <a:endParaRPr lang="cs-CZ"/>
            </a:p>
          </p:txBody>
        </p:sp>
        <p:sp>
          <p:nvSpPr>
            <p:cNvPr id="185" name="Freeform: Shape 184">
              <a:extLst>
                <a:ext uri="{FF2B5EF4-FFF2-40B4-BE49-F238E27FC236}">
                  <a16:creationId xmlns:a16="http://schemas.microsoft.com/office/drawing/2014/main" id="{A3C86547-7347-CCA3-2839-69036EAC5095}"/>
                </a:ext>
              </a:extLst>
            </p:cNvPr>
            <p:cNvSpPr/>
            <p:nvPr/>
          </p:nvSpPr>
          <p:spPr>
            <a:xfrm>
              <a:off x="12876655" y="8187814"/>
              <a:ext cx="274320" cy="284892"/>
            </a:xfrm>
            <a:custGeom>
              <a:avLst/>
              <a:gdLst>
                <a:gd name="connsiteX0" fmla="*/ 218694 w 274320"/>
                <a:gd name="connsiteY0" fmla="*/ 191357 h 284892"/>
                <a:gd name="connsiteX1" fmla="*/ 213265 w 274320"/>
                <a:gd name="connsiteY1" fmla="*/ 196501 h 284892"/>
                <a:gd name="connsiteX2" fmla="*/ 211836 w 274320"/>
                <a:gd name="connsiteY2" fmla="*/ 204025 h 284892"/>
                <a:gd name="connsiteX3" fmla="*/ 211360 w 274320"/>
                <a:gd name="connsiteY3" fmla="*/ 211836 h 284892"/>
                <a:gd name="connsiteX4" fmla="*/ 208883 w 274320"/>
                <a:gd name="connsiteY4" fmla="*/ 218027 h 284892"/>
                <a:gd name="connsiteX5" fmla="*/ 205740 w 274320"/>
                <a:gd name="connsiteY5" fmla="*/ 218694 h 284892"/>
                <a:gd name="connsiteX6" fmla="*/ 197167 w 274320"/>
                <a:gd name="connsiteY6" fmla="*/ 215265 h 284892"/>
                <a:gd name="connsiteX7" fmla="*/ 193262 w 274320"/>
                <a:gd name="connsiteY7" fmla="*/ 215455 h 284892"/>
                <a:gd name="connsiteX8" fmla="*/ 158020 w 274320"/>
                <a:gd name="connsiteY8" fmla="*/ 231172 h 284892"/>
                <a:gd name="connsiteX9" fmla="*/ 143828 w 274320"/>
                <a:gd name="connsiteY9" fmla="*/ 237458 h 284892"/>
                <a:gd name="connsiteX10" fmla="*/ 128492 w 274320"/>
                <a:gd name="connsiteY10" fmla="*/ 249650 h 284892"/>
                <a:gd name="connsiteX11" fmla="*/ 102679 w 274320"/>
                <a:gd name="connsiteY11" fmla="*/ 284893 h 284892"/>
                <a:gd name="connsiteX12" fmla="*/ 85630 w 274320"/>
                <a:gd name="connsiteY12" fmla="*/ 276130 h 284892"/>
                <a:gd name="connsiteX13" fmla="*/ 66866 w 274320"/>
                <a:gd name="connsiteY13" fmla="*/ 284893 h 284892"/>
                <a:gd name="connsiteX14" fmla="*/ 62008 w 274320"/>
                <a:gd name="connsiteY14" fmla="*/ 269843 h 284892"/>
                <a:gd name="connsiteX15" fmla="*/ 71057 w 274320"/>
                <a:gd name="connsiteY15" fmla="*/ 261080 h 284892"/>
                <a:gd name="connsiteX16" fmla="*/ 76581 w 274320"/>
                <a:gd name="connsiteY16" fmla="*/ 248507 h 284892"/>
                <a:gd name="connsiteX17" fmla="*/ 55721 w 274320"/>
                <a:gd name="connsiteY17" fmla="*/ 244697 h 284892"/>
                <a:gd name="connsiteX18" fmla="*/ 53626 w 274320"/>
                <a:gd name="connsiteY18" fmla="*/ 234601 h 284892"/>
                <a:gd name="connsiteX19" fmla="*/ 80105 w 274320"/>
                <a:gd name="connsiteY19" fmla="*/ 223266 h 284892"/>
                <a:gd name="connsiteX20" fmla="*/ 86392 w 274320"/>
                <a:gd name="connsiteY20" fmla="*/ 214503 h 284892"/>
                <a:gd name="connsiteX21" fmla="*/ 79438 w 274320"/>
                <a:gd name="connsiteY21" fmla="*/ 183070 h 284892"/>
                <a:gd name="connsiteX22" fmla="*/ 64103 w 274320"/>
                <a:gd name="connsiteY22" fmla="*/ 162877 h 284892"/>
                <a:gd name="connsiteX23" fmla="*/ 50197 w 274320"/>
                <a:gd name="connsiteY23" fmla="*/ 169164 h 284892"/>
                <a:gd name="connsiteX24" fmla="*/ 46006 w 274320"/>
                <a:gd name="connsiteY24" fmla="*/ 155257 h 284892"/>
                <a:gd name="connsiteX25" fmla="*/ 35528 w 274320"/>
                <a:gd name="connsiteY25" fmla="*/ 143923 h 284892"/>
                <a:gd name="connsiteX26" fmla="*/ 27908 w 274320"/>
                <a:gd name="connsiteY26" fmla="*/ 130016 h 284892"/>
                <a:gd name="connsiteX27" fmla="*/ 30671 w 274320"/>
                <a:gd name="connsiteY27" fmla="*/ 113633 h 284892"/>
                <a:gd name="connsiteX28" fmla="*/ 15335 w 274320"/>
                <a:gd name="connsiteY28" fmla="*/ 104775 h 284892"/>
                <a:gd name="connsiteX29" fmla="*/ 4858 w 274320"/>
                <a:gd name="connsiteY29" fmla="*/ 106013 h 284892"/>
                <a:gd name="connsiteX30" fmla="*/ 0 w 274320"/>
                <a:gd name="connsiteY30" fmla="*/ 71914 h 284892"/>
                <a:gd name="connsiteX31" fmla="*/ 22955 w 274320"/>
                <a:gd name="connsiteY31" fmla="*/ 66865 h 284892"/>
                <a:gd name="connsiteX32" fmla="*/ 18002 w 274320"/>
                <a:gd name="connsiteY32" fmla="*/ 36766 h 284892"/>
                <a:gd name="connsiteX33" fmla="*/ 25241 w 274320"/>
                <a:gd name="connsiteY33" fmla="*/ 38195 h 284892"/>
                <a:gd name="connsiteX34" fmla="*/ 24860 w 274320"/>
                <a:gd name="connsiteY34" fmla="*/ 33433 h 284892"/>
                <a:gd name="connsiteX35" fmla="*/ 26099 w 274320"/>
                <a:gd name="connsiteY35" fmla="*/ 31909 h 284892"/>
                <a:gd name="connsiteX36" fmla="*/ 29051 w 274320"/>
                <a:gd name="connsiteY36" fmla="*/ 30194 h 284892"/>
                <a:gd name="connsiteX37" fmla="*/ 41243 w 274320"/>
                <a:gd name="connsiteY37" fmla="*/ 27813 h 284892"/>
                <a:gd name="connsiteX38" fmla="*/ 46292 w 274320"/>
                <a:gd name="connsiteY38" fmla="*/ 25432 h 284892"/>
                <a:gd name="connsiteX39" fmla="*/ 52292 w 274320"/>
                <a:gd name="connsiteY39" fmla="*/ 20765 h 284892"/>
                <a:gd name="connsiteX40" fmla="*/ 67437 w 274320"/>
                <a:gd name="connsiteY40" fmla="*/ 6286 h 284892"/>
                <a:gd name="connsiteX41" fmla="*/ 82867 w 274320"/>
                <a:gd name="connsiteY41" fmla="*/ 0 h 284892"/>
                <a:gd name="connsiteX42" fmla="*/ 96203 w 274320"/>
                <a:gd name="connsiteY42" fmla="*/ 4763 h 284892"/>
                <a:gd name="connsiteX43" fmla="*/ 113633 w 274320"/>
                <a:gd name="connsiteY43" fmla="*/ 4763 h 284892"/>
                <a:gd name="connsiteX44" fmla="*/ 126587 w 274320"/>
                <a:gd name="connsiteY44" fmla="*/ 26098 h 284892"/>
                <a:gd name="connsiteX45" fmla="*/ 109347 w 274320"/>
                <a:gd name="connsiteY45" fmla="*/ 37338 h 284892"/>
                <a:gd name="connsiteX46" fmla="*/ 110585 w 274320"/>
                <a:gd name="connsiteY46" fmla="*/ 50101 h 284892"/>
                <a:gd name="connsiteX47" fmla="*/ 113252 w 274320"/>
                <a:gd name="connsiteY47" fmla="*/ 65913 h 284892"/>
                <a:gd name="connsiteX48" fmla="*/ 120110 w 274320"/>
                <a:gd name="connsiteY48" fmla="*/ 75438 h 284892"/>
                <a:gd name="connsiteX49" fmla="*/ 125063 w 274320"/>
                <a:gd name="connsiteY49" fmla="*/ 79438 h 284892"/>
                <a:gd name="connsiteX50" fmla="*/ 135541 w 274320"/>
                <a:gd name="connsiteY50" fmla="*/ 80581 h 284892"/>
                <a:gd name="connsiteX51" fmla="*/ 137732 w 274320"/>
                <a:gd name="connsiteY51" fmla="*/ 82677 h 284892"/>
                <a:gd name="connsiteX52" fmla="*/ 137922 w 274320"/>
                <a:gd name="connsiteY52" fmla="*/ 84677 h 284892"/>
                <a:gd name="connsiteX53" fmla="*/ 136874 w 274320"/>
                <a:gd name="connsiteY53" fmla="*/ 87154 h 284892"/>
                <a:gd name="connsiteX54" fmla="*/ 137255 w 274320"/>
                <a:gd name="connsiteY54" fmla="*/ 88678 h 284892"/>
                <a:gd name="connsiteX55" fmla="*/ 139065 w 274320"/>
                <a:gd name="connsiteY55" fmla="*/ 89535 h 284892"/>
                <a:gd name="connsiteX56" fmla="*/ 142018 w 274320"/>
                <a:gd name="connsiteY56" fmla="*/ 90011 h 284892"/>
                <a:gd name="connsiteX57" fmla="*/ 148876 w 274320"/>
                <a:gd name="connsiteY57" fmla="*/ 93440 h 284892"/>
                <a:gd name="connsiteX58" fmla="*/ 151162 w 274320"/>
                <a:gd name="connsiteY58" fmla="*/ 95440 h 284892"/>
                <a:gd name="connsiteX59" fmla="*/ 151162 w 274320"/>
                <a:gd name="connsiteY59" fmla="*/ 97345 h 284892"/>
                <a:gd name="connsiteX60" fmla="*/ 145066 w 274320"/>
                <a:gd name="connsiteY60" fmla="*/ 100774 h 284892"/>
                <a:gd name="connsiteX61" fmla="*/ 141161 w 274320"/>
                <a:gd name="connsiteY61" fmla="*/ 104013 h 284892"/>
                <a:gd name="connsiteX62" fmla="*/ 138398 w 274320"/>
                <a:gd name="connsiteY62" fmla="*/ 111061 h 284892"/>
                <a:gd name="connsiteX63" fmla="*/ 135541 w 274320"/>
                <a:gd name="connsiteY63" fmla="*/ 120396 h 284892"/>
                <a:gd name="connsiteX64" fmla="*/ 164878 w 274320"/>
                <a:gd name="connsiteY64" fmla="*/ 119920 h 284892"/>
                <a:gd name="connsiteX65" fmla="*/ 249555 w 274320"/>
                <a:gd name="connsiteY65" fmla="*/ 95631 h 284892"/>
                <a:gd name="connsiteX66" fmla="*/ 252032 w 274320"/>
                <a:gd name="connsiteY66" fmla="*/ 115062 h 284892"/>
                <a:gd name="connsiteX67" fmla="*/ 267367 w 274320"/>
                <a:gd name="connsiteY67" fmla="*/ 115062 h 284892"/>
                <a:gd name="connsiteX68" fmla="*/ 274320 w 274320"/>
                <a:gd name="connsiteY68" fmla="*/ 154210 h 284892"/>
                <a:gd name="connsiteX69" fmla="*/ 238125 w 274320"/>
                <a:gd name="connsiteY69" fmla="*/ 160496 h 284892"/>
                <a:gd name="connsiteX70" fmla="*/ 234601 w 274320"/>
                <a:gd name="connsiteY70" fmla="*/ 170593 h 284892"/>
                <a:gd name="connsiteX71" fmla="*/ 230410 w 274320"/>
                <a:gd name="connsiteY71" fmla="*/ 179451 h 284892"/>
                <a:gd name="connsiteX72" fmla="*/ 221361 w 274320"/>
                <a:gd name="connsiteY72" fmla="*/ 183261 h 284892"/>
                <a:gd name="connsiteX73" fmla="*/ 218789 w 274320"/>
                <a:gd name="connsiteY73" fmla="*/ 191643 h 28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74320" h="284892">
                  <a:moveTo>
                    <a:pt x="218694" y="191357"/>
                  </a:moveTo>
                  <a:lnTo>
                    <a:pt x="213265" y="196501"/>
                  </a:lnTo>
                  <a:lnTo>
                    <a:pt x="211836" y="204025"/>
                  </a:lnTo>
                  <a:lnTo>
                    <a:pt x="211360" y="211836"/>
                  </a:lnTo>
                  <a:lnTo>
                    <a:pt x="208883" y="218027"/>
                  </a:lnTo>
                  <a:lnTo>
                    <a:pt x="205740" y="218694"/>
                  </a:lnTo>
                  <a:lnTo>
                    <a:pt x="197167" y="215265"/>
                  </a:lnTo>
                  <a:lnTo>
                    <a:pt x="193262" y="215455"/>
                  </a:lnTo>
                  <a:lnTo>
                    <a:pt x="158020" y="231172"/>
                  </a:lnTo>
                  <a:lnTo>
                    <a:pt x="143828" y="237458"/>
                  </a:lnTo>
                  <a:lnTo>
                    <a:pt x="128492" y="249650"/>
                  </a:lnTo>
                  <a:lnTo>
                    <a:pt x="102679" y="284893"/>
                  </a:lnTo>
                  <a:lnTo>
                    <a:pt x="85630" y="276130"/>
                  </a:lnTo>
                  <a:lnTo>
                    <a:pt x="66866" y="284893"/>
                  </a:lnTo>
                  <a:lnTo>
                    <a:pt x="62008" y="269843"/>
                  </a:lnTo>
                  <a:lnTo>
                    <a:pt x="71057" y="261080"/>
                  </a:lnTo>
                  <a:lnTo>
                    <a:pt x="76581" y="248507"/>
                  </a:lnTo>
                  <a:lnTo>
                    <a:pt x="55721" y="244697"/>
                  </a:lnTo>
                  <a:lnTo>
                    <a:pt x="53626" y="234601"/>
                  </a:lnTo>
                  <a:lnTo>
                    <a:pt x="80105" y="223266"/>
                  </a:lnTo>
                  <a:lnTo>
                    <a:pt x="86392" y="214503"/>
                  </a:lnTo>
                  <a:lnTo>
                    <a:pt x="79438" y="183070"/>
                  </a:lnTo>
                  <a:lnTo>
                    <a:pt x="64103" y="162877"/>
                  </a:lnTo>
                  <a:lnTo>
                    <a:pt x="50197" y="169164"/>
                  </a:lnTo>
                  <a:lnTo>
                    <a:pt x="46006" y="155257"/>
                  </a:lnTo>
                  <a:lnTo>
                    <a:pt x="35528" y="143923"/>
                  </a:lnTo>
                  <a:lnTo>
                    <a:pt x="27908" y="130016"/>
                  </a:lnTo>
                  <a:lnTo>
                    <a:pt x="30671" y="113633"/>
                  </a:lnTo>
                  <a:lnTo>
                    <a:pt x="15335" y="104775"/>
                  </a:lnTo>
                  <a:lnTo>
                    <a:pt x="4858" y="106013"/>
                  </a:lnTo>
                  <a:lnTo>
                    <a:pt x="0" y="71914"/>
                  </a:lnTo>
                  <a:lnTo>
                    <a:pt x="22955" y="66865"/>
                  </a:lnTo>
                  <a:lnTo>
                    <a:pt x="18002" y="36766"/>
                  </a:lnTo>
                  <a:lnTo>
                    <a:pt x="25241" y="38195"/>
                  </a:lnTo>
                  <a:lnTo>
                    <a:pt x="24860" y="33433"/>
                  </a:lnTo>
                  <a:lnTo>
                    <a:pt x="26099" y="31909"/>
                  </a:lnTo>
                  <a:lnTo>
                    <a:pt x="29051" y="30194"/>
                  </a:lnTo>
                  <a:lnTo>
                    <a:pt x="41243" y="27813"/>
                  </a:lnTo>
                  <a:lnTo>
                    <a:pt x="46292" y="25432"/>
                  </a:lnTo>
                  <a:lnTo>
                    <a:pt x="52292" y="20765"/>
                  </a:lnTo>
                  <a:lnTo>
                    <a:pt x="67437" y="6286"/>
                  </a:lnTo>
                  <a:lnTo>
                    <a:pt x="82867" y="0"/>
                  </a:lnTo>
                  <a:lnTo>
                    <a:pt x="96203" y="4763"/>
                  </a:lnTo>
                  <a:lnTo>
                    <a:pt x="113633" y="4763"/>
                  </a:lnTo>
                  <a:cubicBezTo>
                    <a:pt x="113633" y="4763"/>
                    <a:pt x="126587" y="26098"/>
                    <a:pt x="126587" y="26098"/>
                  </a:cubicBezTo>
                  <a:lnTo>
                    <a:pt x="109347" y="37338"/>
                  </a:lnTo>
                  <a:lnTo>
                    <a:pt x="110585" y="50101"/>
                  </a:lnTo>
                  <a:lnTo>
                    <a:pt x="113252" y="65913"/>
                  </a:lnTo>
                  <a:lnTo>
                    <a:pt x="120110" y="75438"/>
                  </a:lnTo>
                  <a:lnTo>
                    <a:pt x="125063" y="79438"/>
                  </a:lnTo>
                  <a:lnTo>
                    <a:pt x="135541" y="80581"/>
                  </a:lnTo>
                  <a:lnTo>
                    <a:pt x="137732" y="82677"/>
                  </a:lnTo>
                  <a:lnTo>
                    <a:pt x="137922" y="84677"/>
                  </a:lnTo>
                  <a:lnTo>
                    <a:pt x="136874" y="87154"/>
                  </a:lnTo>
                  <a:lnTo>
                    <a:pt x="137255" y="88678"/>
                  </a:lnTo>
                  <a:lnTo>
                    <a:pt x="139065" y="89535"/>
                  </a:lnTo>
                  <a:lnTo>
                    <a:pt x="142018" y="90011"/>
                  </a:lnTo>
                  <a:lnTo>
                    <a:pt x="148876" y="93440"/>
                  </a:lnTo>
                  <a:lnTo>
                    <a:pt x="151162" y="95440"/>
                  </a:lnTo>
                  <a:lnTo>
                    <a:pt x="151162" y="97345"/>
                  </a:lnTo>
                  <a:cubicBezTo>
                    <a:pt x="151162" y="97345"/>
                    <a:pt x="145066" y="100774"/>
                    <a:pt x="145066" y="100774"/>
                  </a:cubicBezTo>
                  <a:lnTo>
                    <a:pt x="141161" y="104013"/>
                  </a:lnTo>
                  <a:lnTo>
                    <a:pt x="138398" y="111061"/>
                  </a:lnTo>
                  <a:lnTo>
                    <a:pt x="135541" y="120396"/>
                  </a:lnTo>
                  <a:lnTo>
                    <a:pt x="164878" y="119920"/>
                  </a:lnTo>
                  <a:lnTo>
                    <a:pt x="249555" y="95631"/>
                  </a:lnTo>
                  <a:lnTo>
                    <a:pt x="252032" y="115062"/>
                  </a:lnTo>
                  <a:lnTo>
                    <a:pt x="267367" y="115062"/>
                  </a:lnTo>
                  <a:lnTo>
                    <a:pt x="274320" y="154210"/>
                  </a:lnTo>
                  <a:lnTo>
                    <a:pt x="238125" y="160496"/>
                  </a:lnTo>
                  <a:lnTo>
                    <a:pt x="234601" y="170593"/>
                  </a:lnTo>
                  <a:lnTo>
                    <a:pt x="230410" y="179451"/>
                  </a:lnTo>
                  <a:lnTo>
                    <a:pt x="221361" y="183261"/>
                  </a:lnTo>
                  <a:lnTo>
                    <a:pt x="218789" y="191643"/>
                  </a:lnTo>
                </a:path>
              </a:pathLst>
            </a:custGeom>
            <a:grpFill/>
            <a:ln w="2381" cap="sq">
              <a:noFill/>
              <a:prstDash val="solid"/>
              <a:bevel/>
            </a:ln>
          </p:spPr>
          <p:txBody>
            <a:bodyPr rtlCol="0" anchor="ctr"/>
            <a:lstStyle/>
            <a:p>
              <a:endParaRPr lang="cs-CZ"/>
            </a:p>
          </p:txBody>
        </p:sp>
        <p:sp>
          <p:nvSpPr>
            <p:cNvPr id="186" name="Freeform: Shape 185">
              <a:extLst>
                <a:ext uri="{FF2B5EF4-FFF2-40B4-BE49-F238E27FC236}">
                  <a16:creationId xmlns:a16="http://schemas.microsoft.com/office/drawing/2014/main" id="{4E2B6BB3-4C0A-4DB9-421B-C7973A752ED6}"/>
                </a:ext>
              </a:extLst>
            </p:cNvPr>
            <p:cNvSpPr/>
            <p:nvPr/>
          </p:nvSpPr>
          <p:spPr>
            <a:xfrm>
              <a:off x="11956159" y="8040557"/>
              <a:ext cx="356330" cy="404336"/>
            </a:xfrm>
            <a:custGeom>
              <a:avLst/>
              <a:gdLst>
                <a:gd name="connsiteX0" fmla="*/ 104870 w 356330"/>
                <a:gd name="connsiteY0" fmla="*/ 375380 h 404336"/>
                <a:gd name="connsiteX1" fmla="*/ 97250 w 356330"/>
                <a:gd name="connsiteY1" fmla="*/ 372237 h 404336"/>
                <a:gd name="connsiteX2" fmla="*/ 82772 w 356330"/>
                <a:gd name="connsiteY2" fmla="*/ 361379 h 404336"/>
                <a:gd name="connsiteX3" fmla="*/ 75343 w 356330"/>
                <a:gd name="connsiteY3" fmla="*/ 357569 h 404336"/>
                <a:gd name="connsiteX4" fmla="*/ 57817 w 356330"/>
                <a:gd name="connsiteY4" fmla="*/ 356330 h 404336"/>
                <a:gd name="connsiteX5" fmla="*/ 14668 w 356330"/>
                <a:gd name="connsiteY5" fmla="*/ 376809 h 404336"/>
                <a:gd name="connsiteX6" fmla="*/ 14478 w 356330"/>
                <a:gd name="connsiteY6" fmla="*/ 376523 h 404336"/>
                <a:gd name="connsiteX7" fmla="*/ 13716 w 356330"/>
                <a:gd name="connsiteY7" fmla="*/ 375380 h 404336"/>
                <a:gd name="connsiteX8" fmla="*/ 0 w 356330"/>
                <a:gd name="connsiteY8" fmla="*/ 356807 h 404336"/>
                <a:gd name="connsiteX9" fmla="*/ 2286 w 356330"/>
                <a:gd name="connsiteY9" fmla="*/ 353663 h 404336"/>
                <a:gd name="connsiteX10" fmla="*/ 6286 w 356330"/>
                <a:gd name="connsiteY10" fmla="*/ 350044 h 404336"/>
                <a:gd name="connsiteX11" fmla="*/ 12287 w 356330"/>
                <a:gd name="connsiteY11" fmla="*/ 348044 h 404336"/>
                <a:gd name="connsiteX12" fmla="*/ 16478 w 356330"/>
                <a:gd name="connsiteY12" fmla="*/ 345662 h 404336"/>
                <a:gd name="connsiteX13" fmla="*/ 19431 w 356330"/>
                <a:gd name="connsiteY13" fmla="*/ 340900 h 404336"/>
                <a:gd name="connsiteX14" fmla="*/ 17145 w 356330"/>
                <a:gd name="connsiteY14" fmla="*/ 336137 h 404336"/>
                <a:gd name="connsiteX15" fmla="*/ 3524 w 356330"/>
                <a:gd name="connsiteY15" fmla="*/ 318897 h 404336"/>
                <a:gd name="connsiteX16" fmla="*/ 4667 w 356330"/>
                <a:gd name="connsiteY16" fmla="*/ 311658 h 404336"/>
                <a:gd name="connsiteX17" fmla="*/ 3239 w 356330"/>
                <a:gd name="connsiteY17" fmla="*/ 306705 h 404336"/>
                <a:gd name="connsiteX18" fmla="*/ 4191 w 356330"/>
                <a:gd name="connsiteY18" fmla="*/ 302609 h 404336"/>
                <a:gd name="connsiteX19" fmla="*/ 8191 w 356330"/>
                <a:gd name="connsiteY19" fmla="*/ 293465 h 404336"/>
                <a:gd name="connsiteX20" fmla="*/ 20288 w 356330"/>
                <a:gd name="connsiteY20" fmla="*/ 293942 h 404336"/>
                <a:gd name="connsiteX21" fmla="*/ 24860 w 356330"/>
                <a:gd name="connsiteY21" fmla="*/ 292513 h 404336"/>
                <a:gd name="connsiteX22" fmla="*/ 30575 w 356330"/>
                <a:gd name="connsiteY22" fmla="*/ 292894 h 404336"/>
                <a:gd name="connsiteX23" fmla="*/ 35719 w 356330"/>
                <a:gd name="connsiteY23" fmla="*/ 295275 h 404336"/>
                <a:gd name="connsiteX24" fmla="*/ 42958 w 356330"/>
                <a:gd name="connsiteY24" fmla="*/ 291751 h 404336"/>
                <a:gd name="connsiteX25" fmla="*/ 43529 w 356330"/>
                <a:gd name="connsiteY25" fmla="*/ 281750 h 404336"/>
                <a:gd name="connsiteX26" fmla="*/ 40291 w 356330"/>
                <a:gd name="connsiteY26" fmla="*/ 277654 h 404336"/>
                <a:gd name="connsiteX27" fmla="*/ 28289 w 356330"/>
                <a:gd name="connsiteY27" fmla="*/ 268129 h 404336"/>
                <a:gd name="connsiteX28" fmla="*/ 25717 w 356330"/>
                <a:gd name="connsiteY28" fmla="*/ 264700 h 404336"/>
                <a:gd name="connsiteX29" fmla="*/ 25717 w 356330"/>
                <a:gd name="connsiteY29" fmla="*/ 259366 h 404336"/>
                <a:gd name="connsiteX30" fmla="*/ 44767 w 356330"/>
                <a:gd name="connsiteY30" fmla="*/ 252698 h 404336"/>
                <a:gd name="connsiteX31" fmla="*/ 60103 w 356330"/>
                <a:gd name="connsiteY31" fmla="*/ 249841 h 404336"/>
                <a:gd name="connsiteX32" fmla="*/ 68390 w 356330"/>
                <a:gd name="connsiteY32" fmla="*/ 244316 h 404336"/>
                <a:gd name="connsiteX33" fmla="*/ 70294 w 356330"/>
                <a:gd name="connsiteY33" fmla="*/ 240125 h 404336"/>
                <a:gd name="connsiteX34" fmla="*/ 69247 w 356330"/>
                <a:gd name="connsiteY34" fmla="*/ 236315 h 404336"/>
                <a:gd name="connsiteX35" fmla="*/ 67342 w 356330"/>
                <a:gd name="connsiteY35" fmla="*/ 232982 h 404336"/>
                <a:gd name="connsiteX36" fmla="*/ 66103 w 356330"/>
                <a:gd name="connsiteY36" fmla="*/ 224885 h 404336"/>
                <a:gd name="connsiteX37" fmla="*/ 64960 w 356330"/>
                <a:gd name="connsiteY37" fmla="*/ 220885 h 404336"/>
                <a:gd name="connsiteX38" fmla="*/ 63722 w 356330"/>
                <a:gd name="connsiteY38" fmla="*/ 218027 h 404336"/>
                <a:gd name="connsiteX39" fmla="*/ 64770 w 356330"/>
                <a:gd name="connsiteY39" fmla="*/ 209455 h 404336"/>
                <a:gd name="connsiteX40" fmla="*/ 64579 w 356330"/>
                <a:gd name="connsiteY40" fmla="*/ 194596 h 404336"/>
                <a:gd name="connsiteX41" fmla="*/ 61531 w 356330"/>
                <a:gd name="connsiteY41" fmla="*/ 176022 h 404336"/>
                <a:gd name="connsiteX42" fmla="*/ 64865 w 356330"/>
                <a:gd name="connsiteY42" fmla="*/ 168878 h 404336"/>
                <a:gd name="connsiteX43" fmla="*/ 70009 w 356330"/>
                <a:gd name="connsiteY43" fmla="*/ 163735 h 404336"/>
                <a:gd name="connsiteX44" fmla="*/ 81915 w 356330"/>
                <a:gd name="connsiteY44" fmla="*/ 156496 h 404336"/>
                <a:gd name="connsiteX45" fmla="*/ 86201 w 356330"/>
                <a:gd name="connsiteY45" fmla="*/ 150876 h 404336"/>
                <a:gd name="connsiteX46" fmla="*/ 88964 w 356330"/>
                <a:gd name="connsiteY46" fmla="*/ 145352 h 404336"/>
                <a:gd name="connsiteX47" fmla="*/ 91726 w 356330"/>
                <a:gd name="connsiteY47" fmla="*/ 136398 h 404336"/>
                <a:gd name="connsiteX48" fmla="*/ 94774 w 356330"/>
                <a:gd name="connsiteY48" fmla="*/ 131350 h 404336"/>
                <a:gd name="connsiteX49" fmla="*/ 94774 w 356330"/>
                <a:gd name="connsiteY49" fmla="*/ 127064 h 404336"/>
                <a:gd name="connsiteX50" fmla="*/ 93631 w 356330"/>
                <a:gd name="connsiteY50" fmla="*/ 122492 h 404336"/>
                <a:gd name="connsiteX51" fmla="*/ 89154 w 356330"/>
                <a:gd name="connsiteY51" fmla="*/ 109919 h 404336"/>
                <a:gd name="connsiteX52" fmla="*/ 84582 w 356330"/>
                <a:gd name="connsiteY52" fmla="*/ 89154 h 404336"/>
                <a:gd name="connsiteX53" fmla="*/ 101060 w 356330"/>
                <a:gd name="connsiteY53" fmla="*/ 89154 h 404336"/>
                <a:gd name="connsiteX54" fmla="*/ 110966 w 356330"/>
                <a:gd name="connsiteY54" fmla="*/ 79153 h 404336"/>
                <a:gd name="connsiteX55" fmla="*/ 119063 w 356330"/>
                <a:gd name="connsiteY55" fmla="*/ 69152 h 404336"/>
                <a:gd name="connsiteX56" fmla="*/ 126301 w 356330"/>
                <a:gd name="connsiteY56" fmla="*/ 64484 h 404336"/>
                <a:gd name="connsiteX57" fmla="*/ 140303 w 356330"/>
                <a:gd name="connsiteY57" fmla="*/ 58103 h 404336"/>
                <a:gd name="connsiteX58" fmla="*/ 144494 w 356330"/>
                <a:gd name="connsiteY58" fmla="*/ 54483 h 404336"/>
                <a:gd name="connsiteX59" fmla="*/ 154115 w 356330"/>
                <a:gd name="connsiteY59" fmla="*/ 51721 h 404336"/>
                <a:gd name="connsiteX60" fmla="*/ 154400 w 356330"/>
                <a:gd name="connsiteY60" fmla="*/ 39815 h 404336"/>
                <a:gd name="connsiteX61" fmla="*/ 149542 w 356330"/>
                <a:gd name="connsiteY61" fmla="*/ 32290 h 404336"/>
                <a:gd name="connsiteX62" fmla="*/ 146018 w 356330"/>
                <a:gd name="connsiteY62" fmla="*/ 28289 h 404336"/>
                <a:gd name="connsiteX63" fmla="*/ 142208 w 356330"/>
                <a:gd name="connsiteY63" fmla="*/ 25908 h 404336"/>
                <a:gd name="connsiteX64" fmla="*/ 139637 w 356330"/>
                <a:gd name="connsiteY64" fmla="*/ 25337 h 404336"/>
                <a:gd name="connsiteX65" fmla="*/ 136398 w 356330"/>
                <a:gd name="connsiteY65" fmla="*/ 26194 h 404336"/>
                <a:gd name="connsiteX66" fmla="*/ 133445 w 356330"/>
                <a:gd name="connsiteY66" fmla="*/ 26194 h 404336"/>
                <a:gd name="connsiteX67" fmla="*/ 126397 w 356330"/>
                <a:gd name="connsiteY67" fmla="*/ 22765 h 404336"/>
                <a:gd name="connsiteX68" fmla="*/ 124206 w 356330"/>
                <a:gd name="connsiteY68" fmla="*/ 18574 h 404336"/>
                <a:gd name="connsiteX69" fmla="*/ 125540 w 356330"/>
                <a:gd name="connsiteY69" fmla="*/ 15335 h 404336"/>
                <a:gd name="connsiteX70" fmla="*/ 133541 w 356330"/>
                <a:gd name="connsiteY70" fmla="*/ 10192 h 404336"/>
                <a:gd name="connsiteX71" fmla="*/ 134493 w 356330"/>
                <a:gd name="connsiteY71" fmla="*/ 7144 h 404336"/>
                <a:gd name="connsiteX72" fmla="*/ 140017 w 356330"/>
                <a:gd name="connsiteY72" fmla="*/ 286 h 404336"/>
                <a:gd name="connsiteX73" fmla="*/ 149352 w 356330"/>
                <a:gd name="connsiteY73" fmla="*/ 2381 h 404336"/>
                <a:gd name="connsiteX74" fmla="*/ 152210 w 356330"/>
                <a:gd name="connsiteY74" fmla="*/ 5144 h 404336"/>
                <a:gd name="connsiteX75" fmla="*/ 153352 w 356330"/>
                <a:gd name="connsiteY75" fmla="*/ 8668 h 404336"/>
                <a:gd name="connsiteX76" fmla="*/ 153352 w 356330"/>
                <a:gd name="connsiteY76" fmla="*/ 11525 h 404336"/>
                <a:gd name="connsiteX77" fmla="*/ 157353 w 356330"/>
                <a:gd name="connsiteY77" fmla="*/ 16955 h 404336"/>
                <a:gd name="connsiteX78" fmla="*/ 174308 w 356330"/>
                <a:gd name="connsiteY78" fmla="*/ 24479 h 404336"/>
                <a:gd name="connsiteX79" fmla="*/ 184214 w 356330"/>
                <a:gd name="connsiteY79" fmla="*/ 22003 h 404336"/>
                <a:gd name="connsiteX80" fmla="*/ 189928 w 356330"/>
                <a:gd name="connsiteY80" fmla="*/ 15431 h 404336"/>
                <a:gd name="connsiteX81" fmla="*/ 194215 w 356330"/>
                <a:gd name="connsiteY81" fmla="*/ 11811 h 404336"/>
                <a:gd name="connsiteX82" fmla="*/ 198691 w 356330"/>
                <a:gd name="connsiteY82" fmla="*/ 2191 h 404336"/>
                <a:gd name="connsiteX83" fmla="*/ 213265 w 356330"/>
                <a:gd name="connsiteY83" fmla="*/ 0 h 404336"/>
                <a:gd name="connsiteX84" fmla="*/ 220885 w 356330"/>
                <a:gd name="connsiteY84" fmla="*/ 1905 h 404336"/>
                <a:gd name="connsiteX85" fmla="*/ 226600 w 356330"/>
                <a:gd name="connsiteY85" fmla="*/ 5048 h 404336"/>
                <a:gd name="connsiteX86" fmla="*/ 227647 w 356330"/>
                <a:gd name="connsiteY86" fmla="*/ 8001 h 404336"/>
                <a:gd name="connsiteX87" fmla="*/ 225742 w 356330"/>
                <a:gd name="connsiteY87" fmla="*/ 10668 h 404336"/>
                <a:gd name="connsiteX88" fmla="*/ 224409 w 356330"/>
                <a:gd name="connsiteY88" fmla="*/ 14097 h 404336"/>
                <a:gd name="connsiteX89" fmla="*/ 224409 w 356330"/>
                <a:gd name="connsiteY89" fmla="*/ 25241 h 404336"/>
                <a:gd name="connsiteX90" fmla="*/ 223647 w 356330"/>
                <a:gd name="connsiteY90" fmla="*/ 30766 h 404336"/>
                <a:gd name="connsiteX91" fmla="*/ 221933 w 356330"/>
                <a:gd name="connsiteY91" fmla="*/ 34195 h 404336"/>
                <a:gd name="connsiteX92" fmla="*/ 218789 w 356330"/>
                <a:gd name="connsiteY92" fmla="*/ 37433 h 404336"/>
                <a:gd name="connsiteX93" fmla="*/ 216408 w 356330"/>
                <a:gd name="connsiteY93" fmla="*/ 40672 h 404336"/>
                <a:gd name="connsiteX94" fmla="*/ 212693 w 356330"/>
                <a:gd name="connsiteY94" fmla="*/ 48863 h 404336"/>
                <a:gd name="connsiteX95" fmla="*/ 201740 w 356330"/>
                <a:gd name="connsiteY95" fmla="*/ 81629 h 404336"/>
                <a:gd name="connsiteX96" fmla="*/ 193739 w 356330"/>
                <a:gd name="connsiteY96" fmla="*/ 106013 h 404336"/>
                <a:gd name="connsiteX97" fmla="*/ 200882 w 356330"/>
                <a:gd name="connsiteY97" fmla="*/ 130397 h 404336"/>
                <a:gd name="connsiteX98" fmla="*/ 211550 w 356330"/>
                <a:gd name="connsiteY98" fmla="*/ 140113 h 404336"/>
                <a:gd name="connsiteX99" fmla="*/ 215074 w 356330"/>
                <a:gd name="connsiteY99" fmla="*/ 167640 h 404336"/>
                <a:gd name="connsiteX100" fmla="*/ 216884 w 356330"/>
                <a:gd name="connsiteY100" fmla="*/ 200025 h 404336"/>
                <a:gd name="connsiteX101" fmla="*/ 230219 w 356330"/>
                <a:gd name="connsiteY101" fmla="*/ 212979 h 404336"/>
                <a:gd name="connsiteX102" fmla="*/ 235553 w 356330"/>
                <a:gd name="connsiteY102" fmla="*/ 242126 h 404336"/>
                <a:gd name="connsiteX103" fmla="*/ 245364 w 356330"/>
                <a:gd name="connsiteY103" fmla="*/ 250222 h 404336"/>
                <a:gd name="connsiteX104" fmla="*/ 256985 w 356330"/>
                <a:gd name="connsiteY104" fmla="*/ 227552 h 404336"/>
                <a:gd name="connsiteX105" fmla="*/ 276606 w 356330"/>
                <a:gd name="connsiteY105" fmla="*/ 224314 h 404336"/>
                <a:gd name="connsiteX106" fmla="*/ 291751 w 356330"/>
                <a:gd name="connsiteY106" fmla="*/ 235649 h 404336"/>
                <a:gd name="connsiteX107" fmla="*/ 298895 w 356330"/>
                <a:gd name="connsiteY107" fmla="*/ 251841 h 404336"/>
                <a:gd name="connsiteX108" fmla="*/ 294799 w 356330"/>
                <a:gd name="connsiteY108" fmla="*/ 302705 h 404336"/>
                <a:gd name="connsiteX109" fmla="*/ 310324 w 356330"/>
                <a:gd name="connsiteY109" fmla="*/ 315278 h 404336"/>
                <a:gd name="connsiteX110" fmla="*/ 311753 w 356330"/>
                <a:gd name="connsiteY110" fmla="*/ 320421 h 404336"/>
                <a:gd name="connsiteX111" fmla="*/ 312991 w 356330"/>
                <a:gd name="connsiteY111" fmla="*/ 329184 h 404336"/>
                <a:gd name="connsiteX112" fmla="*/ 310896 w 356330"/>
                <a:gd name="connsiteY112" fmla="*/ 333756 h 404336"/>
                <a:gd name="connsiteX113" fmla="*/ 308420 w 356330"/>
                <a:gd name="connsiteY113" fmla="*/ 337661 h 404336"/>
                <a:gd name="connsiteX114" fmla="*/ 304514 w 356330"/>
                <a:gd name="connsiteY114" fmla="*/ 351282 h 404336"/>
                <a:gd name="connsiteX115" fmla="*/ 320516 w 356330"/>
                <a:gd name="connsiteY115" fmla="*/ 353187 h 404336"/>
                <a:gd name="connsiteX116" fmla="*/ 327660 w 356330"/>
                <a:gd name="connsiteY116" fmla="*/ 355568 h 404336"/>
                <a:gd name="connsiteX117" fmla="*/ 341662 w 356330"/>
                <a:gd name="connsiteY117" fmla="*/ 366617 h 404336"/>
                <a:gd name="connsiteX118" fmla="*/ 355949 w 356330"/>
                <a:gd name="connsiteY118" fmla="*/ 370523 h 404336"/>
                <a:gd name="connsiteX119" fmla="*/ 356330 w 356330"/>
                <a:gd name="connsiteY119" fmla="*/ 370523 h 404336"/>
                <a:gd name="connsiteX120" fmla="*/ 342043 w 356330"/>
                <a:gd name="connsiteY120" fmla="*/ 380619 h 404336"/>
                <a:gd name="connsiteX121" fmla="*/ 286988 w 356330"/>
                <a:gd name="connsiteY121" fmla="*/ 403479 h 404336"/>
                <a:gd name="connsiteX122" fmla="*/ 281083 w 356330"/>
                <a:gd name="connsiteY122" fmla="*/ 404336 h 404336"/>
                <a:gd name="connsiteX123" fmla="*/ 274320 w 356330"/>
                <a:gd name="connsiteY123" fmla="*/ 401479 h 404336"/>
                <a:gd name="connsiteX124" fmla="*/ 257080 w 356330"/>
                <a:gd name="connsiteY124" fmla="*/ 383191 h 404336"/>
                <a:gd name="connsiteX125" fmla="*/ 246793 w 356330"/>
                <a:gd name="connsiteY125" fmla="*/ 377571 h 404336"/>
                <a:gd name="connsiteX126" fmla="*/ 245840 w 356330"/>
                <a:gd name="connsiteY126" fmla="*/ 377095 h 404336"/>
                <a:gd name="connsiteX127" fmla="*/ 220885 w 356330"/>
                <a:gd name="connsiteY127" fmla="*/ 371285 h 404336"/>
                <a:gd name="connsiteX128" fmla="*/ 105346 w 356330"/>
                <a:gd name="connsiteY128" fmla="*/ 375190 h 40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356330" h="404336">
                  <a:moveTo>
                    <a:pt x="104870" y="375380"/>
                  </a:moveTo>
                  <a:lnTo>
                    <a:pt x="97250" y="372237"/>
                  </a:lnTo>
                  <a:lnTo>
                    <a:pt x="82772" y="361379"/>
                  </a:lnTo>
                  <a:lnTo>
                    <a:pt x="75343" y="357569"/>
                  </a:lnTo>
                  <a:lnTo>
                    <a:pt x="57817" y="356330"/>
                  </a:lnTo>
                  <a:lnTo>
                    <a:pt x="14668" y="376809"/>
                  </a:lnTo>
                  <a:lnTo>
                    <a:pt x="14478" y="376523"/>
                  </a:lnTo>
                  <a:lnTo>
                    <a:pt x="13716" y="375380"/>
                  </a:lnTo>
                  <a:lnTo>
                    <a:pt x="0" y="356807"/>
                  </a:lnTo>
                  <a:lnTo>
                    <a:pt x="2286" y="353663"/>
                  </a:lnTo>
                  <a:lnTo>
                    <a:pt x="6286" y="350044"/>
                  </a:lnTo>
                  <a:lnTo>
                    <a:pt x="12287" y="348044"/>
                  </a:lnTo>
                  <a:lnTo>
                    <a:pt x="16478" y="345662"/>
                  </a:lnTo>
                  <a:lnTo>
                    <a:pt x="19431" y="340900"/>
                  </a:lnTo>
                  <a:lnTo>
                    <a:pt x="17145" y="336137"/>
                  </a:lnTo>
                  <a:lnTo>
                    <a:pt x="3524" y="318897"/>
                  </a:lnTo>
                  <a:lnTo>
                    <a:pt x="4667" y="311658"/>
                  </a:lnTo>
                  <a:lnTo>
                    <a:pt x="3239" y="306705"/>
                  </a:lnTo>
                  <a:lnTo>
                    <a:pt x="4191" y="302609"/>
                  </a:lnTo>
                  <a:lnTo>
                    <a:pt x="8191" y="293465"/>
                  </a:lnTo>
                  <a:lnTo>
                    <a:pt x="20288" y="293942"/>
                  </a:lnTo>
                  <a:lnTo>
                    <a:pt x="24860" y="292513"/>
                  </a:lnTo>
                  <a:lnTo>
                    <a:pt x="30575" y="292894"/>
                  </a:lnTo>
                  <a:lnTo>
                    <a:pt x="35719" y="295275"/>
                  </a:lnTo>
                  <a:lnTo>
                    <a:pt x="42958" y="291751"/>
                  </a:lnTo>
                  <a:lnTo>
                    <a:pt x="43529" y="281750"/>
                  </a:lnTo>
                  <a:lnTo>
                    <a:pt x="40291" y="277654"/>
                  </a:lnTo>
                  <a:lnTo>
                    <a:pt x="28289" y="268129"/>
                  </a:lnTo>
                  <a:lnTo>
                    <a:pt x="25717" y="264700"/>
                  </a:lnTo>
                  <a:lnTo>
                    <a:pt x="25717" y="259366"/>
                  </a:lnTo>
                  <a:cubicBezTo>
                    <a:pt x="25717" y="259366"/>
                    <a:pt x="44767" y="252698"/>
                    <a:pt x="44767" y="252698"/>
                  </a:cubicBezTo>
                  <a:lnTo>
                    <a:pt x="60103" y="249841"/>
                  </a:lnTo>
                  <a:lnTo>
                    <a:pt x="68390" y="244316"/>
                  </a:lnTo>
                  <a:lnTo>
                    <a:pt x="70294" y="240125"/>
                  </a:lnTo>
                  <a:lnTo>
                    <a:pt x="69247" y="236315"/>
                  </a:lnTo>
                  <a:lnTo>
                    <a:pt x="67342" y="232982"/>
                  </a:lnTo>
                  <a:lnTo>
                    <a:pt x="66103" y="224885"/>
                  </a:lnTo>
                  <a:lnTo>
                    <a:pt x="64960" y="220885"/>
                  </a:lnTo>
                  <a:lnTo>
                    <a:pt x="63722" y="218027"/>
                  </a:lnTo>
                  <a:lnTo>
                    <a:pt x="64770" y="209455"/>
                  </a:lnTo>
                  <a:lnTo>
                    <a:pt x="64579" y="194596"/>
                  </a:lnTo>
                  <a:lnTo>
                    <a:pt x="61531" y="176022"/>
                  </a:lnTo>
                  <a:lnTo>
                    <a:pt x="64865" y="168878"/>
                  </a:lnTo>
                  <a:lnTo>
                    <a:pt x="70009" y="163735"/>
                  </a:lnTo>
                  <a:lnTo>
                    <a:pt x="81915" y="156496"/>
                  </a:lnTo>
                  <a:lnTo>
                    <a:pt x="86201" y="150876"/>
                  </a:lnTo>
                  <a:lnTo>
                    <a:pt x="88964" y="145352"/>
                  </a:lnTo>
                  <a:lnTo>
                    <a:pt x="91726" y="136398"/>
                  </a:lnTo>
                  <a:lnTo>
                    <a:pt x="94774" y="131350"/>
                  </a:lnTo>
                  <a:lnTo>
                    <a:pt x="94774" y="127064"/>
                  </a:lnTo>
                  <a:cubicBezTo>
                    <a:pt x="94774" y="127064"/>
                    <a:pt x="93631" y="122492"/>
                    <a:pt x="93631" y="122492"/>
                  </a:cubicBezTo>
                  <a:lnTo>
                    <a:pt x="89154" y="109919"/>
                  </a:lnTo>
                  <a:lnTo>
                    <a:pt x="84582" y="89154"/>
                  </a:lnTo>
                  <a:lnTo>
                    <a:pt x="101060" y="89154"/>
                  </a:lnTo>
                  <a:cubicBezTo>
                    <a:pt x="101060" y="89154"/>
                    <a:pt x="110966" y="79153"/>
                    <a:pt x="110966" y="79153"/>
                  </a:cubicBezTo>
                  <a:lnTo>
                    <a:pt x="119063" y="69152"/>
                  </a:lnTo>
                  <a:lnTo>
                    <a:pt x="126301" y="64484"/>
                  </a:lnTo>
                  <a:lnTo>
                    <a:pt x="140303" y="58103"/>
                  </a:lnTo>
                  <a:lnTo>
                    <a:pt x="144494" y="54483"/>
                  </a:lnTo>
                  <a:lnTo>
                    <a:pt x="154115" y="51721"/>
                  </a:lnTo>
                  <a:lnTo>
                    <a:pt x="154400" y="39815"/>
                  </a:lnTo>
                  <a:lnTo>
                    <a:pt x="149542" y="32290"/>
                  </a:lnTo>
                  <a:lnTo>
                    <a:pt x="146018" y="28289"/>
                  </a:lnTo>
                  <a:lnTo>
                    <a:pt x="142208" y="25908"/>
                  </a:lnTo>
                  <a:lnTo>
                    <a:pt x="139637" y="25337"/>
                  </a:lnTo>
                  <a:lnTo>
                    <a:pt x="136398" y="26194"/>
                  </a:lnTo>
                  <a:lnTo>
                    <a:pt x="133445" y="26194"/>
                  </a:lnTo>
                  <a:cubicBezTo>
                    <a:pt x="133445" y="26194"/>
                    <a:pt x="126397" y="22765"/>
                    <a:pt x="126397" y="22765"/>
                  </a:cubicBezTo>
                  <a:lnTo>
                    <a:pt x="124206" y="18574"/>
                  </a:lnTo>
                  <a:lnTo>
                    <a:pt x="125540" y="15335"/>
                  </a:lnTo>
                  <a:lnTo>
                    <a:pt x="133541" y="10192"/>
                  </a:lnTo>
                  <a:lnTo>
                    <a:pt x="134493" y="7144"/>
                  </a:lnTo>
                  <a:lnTo>
                    <a:pt x="140017" y="286"/>
                  </a:lnTo>
                  <a:lnTo>
                    <a:pt x="149352" y="2381"/>
                  </a:lnTo>
                  <a:lnTo>
                    <a:pt x="152210" y="5144"/>
                  </a:lnTo>
                  <a:lnTo>
                    <a:pt x="153352" y="8668"/>
                  </a:lnTo>
                  <a:lnTo>
                    <a:pt x="153352" y="11525"/>
                  </a:lnTo>
                  <a:cubicBezTo>
                    <a:pt x="153352" y="11525"/>
                    <a:pt x="157353" y="16955"/>
                    <a:pt x="157353" y="16955"/>
                  </a:cubicBezTo>
                  <a:lnTo>
                    <a:pt x="174308" y="24479"/>
                  </a:lnTo>
                  <a:lnTo>
                    <a:pt x="184214" y="22003"/>
                  </a:lnTo>
                  <a:lnTo>
                    <a:pt x="189928" y="15431"/>
                  </a:lnTo>
                  <a:lnTo>
                    <a:pt x="194215" y="11811"/>
                  </a:lnTo>
                  <a:lnTo>
                    <a:pt x="198691" y="2191"/>
                  </a:lnTo>
                  <a:lnTo>
                    <a:pt x="213265" y="0"/>
                  </a:lnTo>
                  <a:lnTo>
                    <a:pt x="220885" y="1905"/>
                  </a:lnTo>
                  <a:lnTo>
                    <a:pt x="226600" y="5048"/>
                  </a:lnTo>
                  <a:lnTo>
                    <a:pt x="227647" y="8001"/>
                  </a:lnTo>
                  <a:lnTo>
                    <a:pt x="225742" y="10668"/>
                  </a:lnTo>
                  <a:lnTo>
                    <a:pt x="224409" y="14097"/>
                  </a:lnTo>
                  <a:lnTo>
                    <a:pt x="224409" y="25241"/>
                  </a:lnTo>
                  <a:cubicBezTo>
                    <a:pt x="224409" y="25241"/>
                    <a:pt x="223647" y="30766"/>
                    <a:pt x="223647" y="30766"/>
                  </a:cubicBezTo>
                  <a:lnTo>
                    <a:pt x="221933" y="34195"/>
                  </a:lnTo>
                  <a:lnTo>
                    <a:pt x="218789" y="37433"/>
                  </a:lnTo>
                  <a:lnTo>
                    <a:pt x="216408" y="40672"/>
                  </a:lnTo>
                  <a:lnTo>
                    <a:pt x="212693" y="48863"/>
                  </a:lnTo>
                  <a:lnTo>
                    <a:pt x="201740" y="81629"/>
                  </a:lnTo>
                  <a:lnTo>
                    <a:pt x="193739" y="106013"/>
                  </a:lnTo>
                  <a:lnTo>
                    <a:pt x="200882" y="130397"/>
                  </a:lnTo>
                  <a:lnTo>
                    <a:pt x="211550" y="140113"/>
                  </a:lnTo>
                  <a:lnTo>
                    <a:pt x="215074" y="167640"/>
                  </a:lnTo>
                  <a:lnTo>
                    <a:pt x="216884" y="200025"/>
                  </a:lnTo>
                  <a:lnTo>
                    <a:pt x="230219" y="212979"/>
                  </a:lnTo>
                  <a:lnTo>
                    <a:pt x="235553" y="242126"/>
                  </a:lnTo>
                  <a:lnTo>
                    <a:pt x="245364" y="250222"/>
                  </a:lnTo>
                  <a:lnTo>
                    <a:pt x="256985" y="227552"/>
                  </a:lnTo>
                  <a:lnTo>
                    <a:pt x="276606" y="224314"/>
                  </a:lnTo>
                  <a:lnTo>
                    <a:pt x="291751" y="235649"/>
                  </a:lnTo>
                  <a:lnTo>
                    <a:pt x="298895" y="251841"/>
                  </a:lnTo>
                  <a:lnTo>
                    <a:pt x="294799" y="302705"/>
                  </a:lnTo>
                  <a:lnTo>
                    <a:pt x="310324" y="315278"/>
                  </a:lnTo>
                  <a:lnTo>
                    <a:pt x="311753" y="320421"/>
                  </a:lnTo>
                  <a:lnTo>
                    <a:pt x="312991" y="329184"/>
                  </a:lnTo>
                  <a:lnTo>
                    <a:pt x="310896" y="333756"/>
                  </a:lnTo>
                  <a:lnTo>
                    <a:pt x="308420" y="337661"/>
                  </a:lnTo>
                  <a:lnTo>
                    <a:pt x="304514" y="351282"/>
                  </a:lnTo>
                  <a:lnTo>
                    <a:pt x="320516" y="353187"/>
                  </a:lnTo>
                  <a:lnTo>
                    <a:pt x="327660" y="355568"/>
                  </a:lnTo>
                  <a:lnTo>
                    <a:pt x="341662" y="366617"/>
                  </a:lnTo>
                  <a:lnTo>
                    <a:pt x="355949" y="370523"/>
                  </a:lnTo>
                  <a:lnTo>
                    <a:pt x="356330" y="370523"/>
                  </a:lnTo>
                  <a:cubicBezTo>
                    <a:pt x="356330" y="370523"/>
                    <a:pt x="342043" y="380619"/>
                    <a:pt x="342043" y="380619"/>
                  </a:cubicBezTo>
                  <a:lnTo>
                    <a:pt x="286988" y="403479"/>
                  </a:lnTo>
                  <a:lnTo>
                    <a:pt x="281083" y="404336"/>
                  </a:lnTo>
                  <a:lnTo>
                    <a:pt x="274320" y="401479"/>
                  </a:lnTo>
                  <a:lnTo>
                    <a:pt x="257080" y="383191"/>
                  </a:lnTo>
                  <a:lnTo>
                    <a:pt x="246793" y="377571"/>
                  </a:lnTo>
                  <a:lnTo>
                    <a:pt x="245840" y="377095"/>
                  </a:lnTo>
                  <a:lnTo>
                    <a:pt x="220885" y="371285"/>
                  </a:lnTo>
                  <a:lnTo>
                    <a:pt x="105346" y="375190"/>
                  </a:lnTo>
                </a:path>
              </a:pathLst>
            </a:custGeom>
            <a:grpFill/>
            <a:ln w="2381" cap="sq">
              <a:noFill/>
              <a:prstDash val="solid"/>
              <a:bevel/>
            </a:ln>
          </p:spPr>
          <p:txBody>
            <a:bodyPr rtlCol="0" anchor="ctr"/>
            <a:lstStyle/>
            <a:p>
              <a:endParaRPr lang="cs-CZ"/>
            </a:p>
          </p:txBody>
        </p:sp>
        <p:sp>
          <p:nvSpPr>
            <p:cNvPr id="187" name="Freeform: Shape 186">
              <a:extLst>
                <a:ext uri="{FF2B5EF4-FFF2-40B4-BE49-F238E27FC236}">
                  <a16:creationId xmlns:a16="http://schemas.microsoft.com/office/drawing/2014/main" id="{848396E3-D013-1486-D81C-DE687562BBBA}"/>
                </a:ext>
              </a:extLst>
            </p:cNvPr>
            <p:cNvSpPr/>
            <p:nvPr/>
          </p:nvSpPr>
          <p:spPr>
            <a:xfrm>
              <a:off x="11576111" y="8440036"/>
              <a:ext cx="201072" cy="198405"/>
            </a:xfrm>
            <a:custGeom>
              <a:avLst/>
              <a:gdLst>
                <a:gd name="connsiteX0" fmla="*/ 200978 w 201072"/>
                <a:gd name="connsiteY0" fmla="*/ 63341 h 198405"/>
                <a:gd name="connsiteX1" fmla="*/ 175165 w 201072"/>
                <a:gd name="connsiteY1" fmla="*/ 83248 h 198405"/>
                <a:gd name="connsiteX2" fmla="*/ 169069 w 201072"/>
                <a:gd name="connsiteY2" fmla="*/ 85249 h 198405"/>
                <a:gd name="connsiteX3" fmla="*/ 151448 w 201072"/>
                <a:gd name="connsiteY3" fmla="*/ 86106 h 198405"/>
                <a:gd name="connsiteX4" fmla="*/ 139541 w 201072"/>
                <a:gd name="connsiteY4" fmla="*/ 92297 h 198405"/>
                <a:gd name="connsiteX5" fmla="*/ 125063 w 201072"/>
                <a:gd name="connsiteY5" fmla="*/ 104489 h 198405"/>
                <a:gd name="connsiteX6" fmla="*/ 111252 w 201072"/>
                <a:gd name="connsiteY6" fmla="*/ 119729 h 198405"/>
                <a:gd name="connsiteX7" fmla="*/ 101441 w 201072"/>
                <a:gd name="connsiteY7" fmla="*/ 135160 h 198405"/>
                <a:gd name="connsiteX8" fmla="*/ 94774 w 201072"/>
                <a:gd name="connsiteY8" fmla="*/ 157639 h 198405"/>
                <a:gd name="connsiteX9" fmla="*/ 91916 w 201072"/>
                <a:gd name="connsiteY9" fmla="*/ 176879 h 198405"/>
                <a:gd name="connsiteX10" fmla="*/ 86106 w 201072"/>
                <a:gd name="connsiteY10" fmla="*/ 190119 h 198405"/>
                <a:gd name="connsiteX11" fmla="*/ 70485 w 201072"/>
                <a:gd name="connsiteY11" fmla="*/ 194500 h 198405"/>
                <a:gd name="connsiteX12" fmla="*/ 47625 w 201072"/>
                <a:gd name="connsiteY12" fmla="*/ 194691 h 198405"/>
                <a:gd name="connsiteX13" fmla="*/ 32861 w 201072"/>
                <a:gd name="connsiteY13" fmla="*/ 198406 h 198405"/>
                <a:gd name="connsiteX14" fmla="*/ 32861 w 201072"/>
                <a:gd name="connsiteY14" fmla="*/ 198215 h 198405"/>
                <a:gd name="connsiteX15" fmla="*/ 32576 w 201072"/>
                <a:gd name="connsiteY15" fmla="*/ 194977 h 198405"/>
                <a:gd name="connsiteX16" fmla="*/ 28766 w 201072"/>
                <a:gd name="connsiteY16" fmla="*/ 169164 h 198405"/>
                <a:gd name="connsiteX17" fmla="*/ 23336 w 201072"/>
                <a:gd name="connsiteY17" fmla="*/ 146209 h 198405"/>
                <a:gd name="connsiteX18" fmla="*/ 5906 w 201072"/>
                <a:gd name="connsiteY18" fmla="*/ 102108 h 198405"/>
                <a:gd name="connsiteX19" fmla="*/ 1715 w 201072"/>
                <a:gd name="connsiteY19" fmla="*/ 86963 h 198405"/>
                <a:gd name="connsiteX20" fmla="*/ 0 w 201072"/>
                <a:gd name="connsiteY20" fmla="*/ 71914 h 198405"/>
                <a:gd name="connsiteX21" fmla="*/ 762 w 201072"/>
                <a:gd name="connsiteY21" fmla="*/ 67532 h 198405"/>
                <a:gd name="connsiteX22" fmla="*/ 25432 w 201072"/>
                <a:gd name="connsiteY22" fmla="*/ 62865 h 198405"/>
                <a:gd name="connsiteX23" fmla="*/ 33719 w 201072"/>
                <a:gd name="connsiteY23" fmla="*/ 131540 h 198405"/>
                <a:gd name="connsiteX24" fmla="*/ 44482 w 201072"/>
                <a:gd name="connsiteY24" fmla="*/ 133064 h 198405"/>
                <a:gd name="connsiteX25" fmla="*/ 44482 w 201072"/>
                <a:gd name="connsiteY25" fmla="*/ 115157 h 198405"/>
                <a:gd name="connsiteX26" fmla="*/ 45339 w 201072"/>
                <a:gd name="connsiteY26" fmla="*/ 89725 h 198405"/>
                <a:gd name="connsiteX27" fmla="*/ 54483 w 201072"/>
                <a:gd name="connsiteY27" fmla="*/ 95726 h 198405"/>
                <a:gd name="connsiteX28" fmla="*/ 76105 w 201072"/>
                <a:gd name="connsiteY28" fmla="*/ 64389 h 198405"/>
                <a:gd name="connsiteX29" fmla="*/ 81915 w 201072"/>
                <a:gd name="connsiteY29" fmla="*/ 47911 h 198405"/>
                <a:gd name="connsiteX30" fmla="*/ 83534 w 201072"/>
                <a:gd name="connsiteY30" fmla="*/ 22479 h 198405"/>
                <a:gd name="connsiteX31" fmla="*/ 81915 w 201072"/>
                <a:gd name="connsiteY31" fmla="*/ 0 h 198405"/>
                <a:gd name="connsiteX32" fmla="*/ 100203 w 201072"/>
                <a:gd name="connsiteY32" fmla="*/ 2953 h 198405"/>
                <a:gd name="connsiteX33" fmla="*/ 114300 w 201072"/>
                <a:gd name="connsiteY33" fmla="*/ 20955 h 198405"/>
                <a:gd name="connsiteX34" fmla="*/ 159925 w 201072"/>
                <a:gd name="connsiteY34" fmla="*/ 19431 h 198405"/>
                <a:gd name="connsiteX35" fmla="*/ 188119 w 201072"/>
                <a:gd name="connsiteY35" fmla="*/ 37433 h 198405"/>
                <a:gd name="connsiteX36" fmla="*/ 201073 w 201072"/>
                <a:gd name="connsiteY36" fmla="*/ 63246 h 198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01072" h="198405">
                  <a:moveTo>
                    <a:pt x="200978" y="63341"/>
                  </a:moveTo>
                  <a:lnTo>
                    <a:pt x="175165" y="83248"/>
                  </a:lnTo>
                  <a:lnTo>
                    <a:pt x="169069" y="85249"/>
                  </a:lnTo>
                  <a:lnTo>
                    <a:pt x="151448" y="86106"/>
                  </a:lnTo>
                  <a:lnTo>
                    <a:pt x="139541" y="92297"/>
                  </a:lnTo>
                  <a:lnTo>
                    <a:pt x="125063" y="104489"/>
                  </a:lnTo>
                  <a:lnTo>
                    <a:pt x="111252" y="119729"/>
                  </a:lnTo>
                  <a:lnTo>
                    <a:pt x="101441" y="135160"/>
                  </a:lnTo>
                  <a:lnTo>
                    <a:pt x="94774" y="157639"/>
                  </a:lnTo>
                  <a:lnTo>
                    <a:pt x="91916" y="176879"/>
                  </a:lnTo>
                  <a:lnTo>
                    <a:pt x="86106" y="190119"/>
                  </a:lnTo>
                  <a:lnTo>
                    <a:pt x="70485" y="194500"/>
                  </a:lnTo>
                  <a:lnTo>
                    <a:pt x="47625" y="194691"/>
                  </a:lnTo>
                  <a:lnTo>
                    <a:pt x="32861" y="198406"/>
                  </a:lnTo>
                  <a:lnTo>
                    <a:pt x="32861" y="198215"/>
                  </a:lnTo>
                  <a:lnTo>
                    <a:pt x="32576" y="194977"/>
                  </a:lnTo>
                  <a:lnTo>
                    <a:pt x="28766" y="169164"/>
                  </a:lnTo>
                  <a:lnTo>
                    <a:pt x="23336" y="146209"/>
                  </a:lnTo>
                  <a:lnTo>
                    <a:pt x="5906" y="102108"/>
                  </a:lnTo>
                  <a:lnTo>
                    <a:pt x="1715" y="86963"/>
                  </a:lnTo>
                  <a:lnTo>
                    <a:pt x="0" y="71914"/>
                  </a:lnTo>
                  <a:lnTo>
                    <a:pt x="762" y="67532"/>
                  </a:lnTo>
                  <a:lnTo>
                    <a:pt x="25432" y="62865"/>
                  </a:lnTo>
                  <a:lnTo>
                    <a:pt x="33719" y="131540"/>
                  </a:lnTo>
                  <a:lnTo>
                    <a:pt x="44482" y="133064"/>
                  </a:lnTo>
                  <a:lnTo>
                    <a:pt x="44482" y="115157"/>
                  </a:lnTo>
                  <a:lnTo>
                    <a:pt x="45339" y="89725"/>
                  </a:lnTo>
                  <a:lnTo>
                    <a:pt x="54483" y="95726"/>
                  </a:lnTo>
                  <a:lnTo>
                    <a:pt x="76105" y="64389"/>
                  </a:lnTo>
                  <a:lnTo>
                    <a:pt x="81915" y="47911"/>
                  </a:lnTo>
                  <a:lnTo>
                    <a:pt x="83534" y="22479"/>
                  </a:lnTo>
                  <a:lnTo>
                    <a:pt x="81915" y="0"/>
                  </a:lnTo>
                  <a:lnTo>
                    <a:pt x="100203" y="2953"/>
                  </a:lnTo>
                  <a:lnTo>
                    <a:pt x="114300" y="20955"/>
                  </a:lnTo>
                  <a:lnTo>
                    <a:pt x="159925" y="19431"/>
                  </a:lnTo>
                  <a:lnTo>
                    <a:pt x="188119" y="37433"/>
                  </a:lnTo>
                  <a:lnTo>
                    <a:pt x="201073" y="63246"/>
                  </a:lnTo>
                </a:path>
              </a:pathLst>
            </a:custGeom>
            <a:grpFill/>
            <a:ln w="2381" cap="sq">
              <a:noFill/>
              <a:prstDash val="solid"/>
              <a:bevel/>
            </a:ln>
          </p:spPr>
          <p:txBody>
            <a:bodyPr rtlCol="0" anchor="ctr"/>
            <a:lstStyle/>
            <a:p>
              <a:endParaRPr lang="cs-CZ"/>
            </a:p>
          </p:txBody>
        </p:sp>
        <p:sp>
          <p:nvSpPr>
            <p:cNvPr id="188" name="Freeform: Shape 187">
              <a:extLst>
                <a:ext uri="{FF2B5EF4-FFF2-40B4-BE49-F238E27FC236}">
                  <a16:creationId xmlns:a16="http://schemas.microsoft.com/office/drawing/2014/main" id="{EBE3CD23-AD28-10E1-FDD5-EFAFFB4C7AB5}"/>
                </a:ext>
              </a:extLst>
            </p:cNvPr>
            <p:cNvSpPr/>
            <p:nvPr/>
          </p:nvSpPr>
          <p:spPr>
            <a:xfrm>
              <a:off x="11725845" y="8288207"/>
              <a:ext cx="154400" cy="215169"/>
            </a:xfrm>
            <a:custGeom>
              <a:avLst/>
              <a:gdLst>
                <a:gd name="connsiteX0" fmla="*/ 148971 w 154400"/>
                <a:gd name="connsiteY0" fmla="*/ 174498 h 215169"/>
                <a:gd name="connsiteX1" fmla="*/ 128683 w 154400"/>
                <a:gd name="connsiteY1" fmla="*/ 184118 h 215169"/>
                <a:gd name="connsiteX2" fmla="*/ 94202 w 154400"/>
                <a:gd name="connsiteY2" fmla="*/ 185642 h 215169"/>
                <a:gd name="connsiteX3" fmla="*/ 79724 w 154400"/>
                <a:gd name="connsiteY3" fmla="*/ 193072 h 215169"/>
                <a:gd name="connsiteX4" fmla="*/ 51149 w 154400"/>
                <a:gd name="connsiteY4" fmla="*/ 215170 h 215169"/>
                <a:gd name="connsiteX5" fmla="*/ 38195 w 154400"/>
                <a:gd name="connsiteY5" fmla="*/ 189357 h 215169"/>
                <a:gd name="connsiteX6" fmla="*/ 10001 w 154400"/>
                <a:gd name="connsiteY6" fmla="*/ 171355 h 215169"/>
                <a:gd name="connsiteX7" fmla="*/ 24098 w 154400"/>
                <a:gd name="connsiteY7" fmla="*/ 153352 h 215169"/>
                <a:gd name="connsiteX8" fmla="*/ 32385 w 154400"/>
                <a:gd name="connsiteY8" fmla="*/ 115824 h 215169"/>
                <a:gd name="connsiteX9" fmla="*/ 12478 w 154400"/>
                <a:gd name="connsiteY9" fmla="*/ 75343 h 215169"/>
                <a:gd name="connsiteX10" fmla="*/ 11621 w 154400"/>
                <a:gd name="connsiteY10" fmla="*/ 57245 h 215169"/>
                <a:gd name="connsiteX11" fmla="*/ 0 w 154400"/>
                <a:gd name="connsiteY11" fmla="*/ 48197 h 215169"/>
                <a:gd name="connsiteX12" fmla="*/ 20764 w 154400"/>
                <a:gd name="connsiteY12" fmla="*/ 36195 h 215169"/>
                <a:gd name="connsiteX13" fmla="*/ 17431 w 154400"/>
                <a:gd name="connsiteY13" fmla="*/ 9049 h 215169"/>
                <a:gd name="connsiteX14" fmla="*/ 30671 w 154400"/>
                <a:gd name="connsiteY14" fmla="*/ 18098 h 215169"/>
                <a:gd name="connsiteX15" fmla="*/ 46482 w 154400"/>
                <a:gd name="connsiteY15" fmla="*/ 36195 h 215169"/>
                <a:gd name="connsiteX16" fmla="*/ 49816 w 154400"/>
                <a:gd name="connsiteY16" fmla="*/ 42196 h 215169"/>
                <a:gd name="connsiteX17" fmla="*/ 68104 w 154400"/>
                <a:gd name="connsiteY17" fmla="*/ 40672 h 215169"/>
                <a:gd name="connsiteX18" fmla="*/ 56483 w 154400"/>
                <a:gd name="connsiteY18" fmla="*/ 13621 h 215169"/>
                <a:gd name="connsiteX19" fmla="*/ 68104 w 154400"/>
                <a:gd name="connsiteY19" fmla="*/ 0 h 215169"/>
                <a:gd name="connsiteX20" fmla="*/ 84677 w 154400"/>
                <a:gd name="connsiteY20" fmla="*/ 7525 h 215169"/>
                <a:gd name="connsiteX21" fmla="*/ 89630 w 154400"/>
                <a:gd name="connsiteY21" fmla="*/ 15050 h 215169"/>
                <a:gd name="connsiteX22" fmla="*/ 119539 w 154400"/>
                <a:gd name="connsiteY22" fmla="*/ 7525 h 215169"/>
                <a:gd name="connsiteX23" fmla="*/ 139446 w 154400"/>
                <a:gd name="connsiteY23" fmla="*/ 15050 h 215169"/>
                <a:gd name="connsiteX24" fmla="*/ 137827 w 154400"/>
                <a:gd name="connsiteY24" fmla="*/ 46673 h 215169"/>
                <a:gd name="connsiteX25" fmla="*/ 147828 w 154400"/>
                <a:gd name="connsiteY25" fmla="*/ 51149 h 215169"/>
                <a:gd name="connsiteX26" fmla="*/ 147828 w 154400"/>
                <a:gd name="connsiteY26" fmla="*/ 69152 h 215169"/>
                <a:gd name="connsiteX27" fmla="*/ 127063 w 154400"/>
                <a:gd name="connsiteY27" fmla="*/ 75152 h 215169"/>
                <a:gd name="connsiteX28" fmla="*/ 128683 w 154400"/>
                <a:gd name="connsiteY28" fmla="*/ 97631 h 215169"/>
                <a:gd name="connsiteX29" fmla="*/ 121253 w 154400"/>
                <a:gd name="connsiteY29" fmla="*/ 108109 h 215169"/>
                <a:gd name="connsiteX30" fmla="*/ 135350 w 154400"/>
                <a:gd name="connsiteY30" fmla="*/ 123158 h 215169"/>
                <a:gd name="connsiteX31" fmla="*/ 143637 w 154400"/>
                <a:gd name="connsiteY31" fmla="*/ 133636 h 215169"/>
                <a:gd name="connsiteX32" fmla="*/ 154400 w 154400"/>
                <a:gd name="connsiteY32" fmla="*/ 133636 h 215169"/>
                <a:gd name="connsiteX33" fmla="*/ 154400 w 154400"/>
                <a:gd name="connsiteY33" fmla="*/ 142685 h 215169"/>
                <a:gd name="connsiteX34" fmla="*/ 144399 w 154400"/>
                <a:gd name="connsiteY34" fmla="*/ 151638 h 215169"/>
                <a:gd name="connsiteX35" fmla="*/ 148781 w 154400"/>
                <a:gd name="connsiteY35" fmla="*/ 174308 h 2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4400" h="215169">
                  <a:moveTo>
                    <a:pt x="148971" y="174498"/>
                  </a:moveTo>
                  <a:lnTo>
                    <a:pt x="128683" y="184118"/>
                  </a:lnTo>
                  <a:lnTo>
                    <a:pt x="94202" y="185642"/>
                  </a:lnTo>
                  <a:lnTo>
                    <a:pt x="79724" y="193072"/>
                  </a:lnTo>
                  <a:lnTo>
                    <a:pt x="51149" y="215170"/>
                  </a:lnTo>
                  <a:lnTo>
                    <a:pt x="38195" y="189357"/>
                  </a:lnTo>
                  <a:lnTo>
                    <a:pt x="10001" y="171355"/>
                  </a:lnTo>
                  <a:lnTo>
                    <a:pt x="24098" y="153352"/>
                  </a:lnTo>
                  <a:lnTo>
                    <a:pt x="32385" y="115824"/>
                  </a:lnTo>
                  <a:lnTo>
                    <a:pt x="12478" y="75343"/>
                  </a:lnTo>
                  <a:lnTo>
                    <a:pt x="11621" y="57245"/>
                  </a:lnTo>
                  <a:lnTo>
                    <a:pt x="0" y="48197"/>
                  </a:lnTo>
                  <a:lnTo>
                    <a:pt x="20764" y="36195"/>
                  </a:lnTo>
                  <a:lnTo>
                    <a:pt x="17431" y="9049"/>
                  </a:lnTo>
                  <a:lnTo>
                    <a:pt x="30671" y="18098"/>
                  </a:lnTo>
                  <a:lnTo>
                    <a:pt x="46482" y="36195"/>
                  </a:lnTo>
                  <a:lnTo>
                    <a:pt x="49816" y="42196"/>
                  </a:lnTo>
                  <a:lnTo>
                    <a:pt x="68104" y="40672"/>
                  </a:lnTo>
                  <a:lnTo>
                    <a:pt x="56483" y="13621"/>
                  </a:lnTo>
                  <a:lnTo>
                    <a:pt x="68104" y="0"/>
                  </a:lnTo>
                  <a:lnTo>
                    <a:pt x="84677" y="7525"/>
                  </a:lnTo>
                  <a:lnTo>
                    <a:pt x="89630" y="15050"/>
                  </a:lnTo>
                  <a:lnTo>
                    <a:pt x="119539" y="7525"/>
                  </a:lnTo>
                  <a:lnTo>
                    <a:pt x="139446" y="15050"/>
                  </a:lnTo>
                  <a:lnTo>
                    <a:pt x="137827" y="46673"/>
                  </a:lnTo>
                  <a:lnTo>
                    <a:pt x="147828" y="51149"/>
                  </a:lnTo>
                  <a:lnTo>
                    <a:pt x="147828" y="69152"/>
                  </a:lnTo>
                  <a:lnTo>
                    <a:pt x="127063" y="75152"/>
                  </a:lnTo>
                  <a:lnTo>
                    <a:pt x="128683" y="97631"/>
                  </a:lnTo>
                  <a:lnTo>
                    <a:pt x="121253" y="108109"/>
                  </a:lnTo>
                  <a:lnTo>
                    <a:pt x="135350" y="123158"/>
                  </a:lnTo>
                  <a:lnTo>
                    <a:pt x="143637" y="133636"/>
                  </a:lnTo>
                  <a:lnTo>
                    <a:pt x="154400" y="133636"/>
                  </a:lnTo>
                  <a:lnTo>
                    <a:pt x="154400" y="142685"/>
                  </a:lnTo>
                  <a:lnTo>
                    <a:pt x="144399" y="151638"/>
                  </a:lnTo>
                  <a:lnTo>
                    <a:pt x="148781" y="174308"/>
                  </a:lnTo>
                </a:path>
              </a:pathLst>
            </a:custGeom>
            <a:grpFill/>
            <a:ln w="2381" cap="sq">
              <a:noFill/>
              <a:prstDash val="solid"/>
              <a:bevel/>
            </a:ln>
          </p:spPr>
          <p:txBody>
            <a:bodyPr rtlCol="0" anchor="ctr"/>
            <a:lstStyle/>
            <a:p>
              <a:endParaRPr lang="cs-CZ"/>
            </a:p>
          </p:txBody>
        </p:sp>
        <p:sp>
          <p:nvSpPr>
            <p:cNvPr id="189" name="Freeform: Shape 188">
              <a:extLst>
                <a:ext uri="{FF2B5EF4-FFF2-40B4-BE49-F238E27FC236}">
                  <a16:creationId xmlns:a16="http://schemas.microsoft.com/office/drawing/2014/main" id="{EF530A8E-A7F1-B88C-DBCB-47F982D2DA0C}"/>
                </a:ext>
              </a:extLst>
            </p:cNvPr>
            <p:cNvSpPr/>
            <p:nvPr/>
          </p:nvSpPr>
          <p:spPr>
            <a:xfrm>
              <a:off x="11847288" y="8286873"/>
              <a:ext cx="128492" cy="175831"/>
            </a:xfrm>
            <a:custGeom>
              <a:avLst/>
              <a:gdLst>
                <a:gd name="connsiteX0" fmla="*/ 116586 w 128492"/>
                <a:gd name="connsiteY0" fmla="*/ 133731 h 175831"/>
                <a:gd name="connsiteX1" fmla="*/ 27527 w 128492"/>
                <a:gd name="connsiteY1" fmla="*/ 175831 h 175831"/>
                <a:gd name="connsiteX2" fmla="*/ 23146 w 128492"/>
                <a:gd name="connsiteY2" fmla="*/ 153162 h 175831"/>
                <a:gd name="connsiteX3" fmla="*/ 33147 w 128492"/>
                <a:gd name="connsiteY3" fmla="*/ 144209 h 175831"/>
                <a:gd name="connsiteX4" fmla="*/ 33147 w 128492"/>
                <a:gd name="connsiteY4" fmla="*/ 135160 h 175831"/>
                <a:gd name="connsiteX5" fmla="*/ 22384 w 128492"/>
                <a:gd name="connsiteY5" fmla="*/ 135160 h 175831"/>
                <a:gd name="connsiteX6" fmla="*/ 14097 w 128492"/>
                <a:gd name="connsiteY6" fmla="*/ 124682 h 175831"/>
                <a:gd name="connsiteX7" fmla="*/ 0 w 128492"/>
                <a:gd name="connsiteY7" fmla="*/ 109633 h 175831"/>
                <a:gd name="connsiteX8" fmla="*/ 7430 w 128492"/>
                <a:gd name="connsiteY8" fmla="*/ 99155 h 175831"/>
                <a:gd name="connsiteX9" fmla="*/ 5810 w 128492"/>
                <a:gd name="connsiteY9" fmla="*/ 76676 h 175831"/>
                <a:gd name="connsiteX10" fmla="*/ 26575 w 128492"/>
                <a:gd name="connsiteY10" fmla="*/ 70676 h 175831"/>
                <a:gd name="connsiteX11" fmla="*/ 26575 w 128492"/>
                <a:gd name="connsiteY11" fmla="*/ 52673 h 175831"/>
                <a:gd name="connsiteX12" fmla="*/ 16574 w 128492"/>
                <a:gd name="connsiteY12" fmla="*/ 48197 h 175831"/>
                <a:gd name="connsiteX13" fmla="*/ 18193 w 128492"/>
                <a:gd name="connsiteY13" fmla="*/ 16574 h 175831"/>
                <a:gd name="connsiteX14" fmla="*/ 34004 w 128492"/>
                <a:gd name="connsiteY14" fmla="*/ 7525 h 175831"/>
                <a:gd name="connsiteX15" fmla="*/ 50578 w 128492"/>
                <a:gd name="connsiteY15" fmla="*/ 0 h 175831"/>
                <a:gd name="connsiteX16" fmla="*/ 49720 w 128492"/>
                <a:gd name="connsiteY16" fmla="*/ 13430 h 175831"/>
                <a:gd name="connsiteX17" fmla="*/ 55245 w 128492"/>
                <a:gd name="connsiteY17" fmla="*/ 24670 h 175831"/>
                <a:gd name="connsiteX18" fmla="*/ 59341 w 128492"/>
                <a:gd name="connsiteY18" fmla="*/ 30004 h 175831"/>
                <a:gd name="connsiteX19" fmla="*/ 65151 w 128492"/>
                <a:gd name="connsiteY19" fmla="*/ 34862 h 175831"/>
                <a:gd name="connsiteX20" fmla="*/ 72009 w 128492"/>
                <a:gd name="connsiteY20" fmla="*/ 36862 h 175831"/>
                <a:gd name="connsiteX21" fmla="*/ 78010 w 128492"/>
                <a:gd name="connsiteY21" fmla="*/ 37433 h 175831"/>
                <a:gd name="connsiteX22" fmla="*/ 88678 w 128492"/>
                <a:gd name="connsiteY22" fmla="*/ 35624 h 175831"/>
                <a:gd name="connsiteX23" fmla="*/ 92869 w 128492"/>
                <a:gd name="connsiteY23" fmla="*/ 36671 h 175831"/>
                <a:gd name="connsiteX24" fmla="*/ 94488 w 128492"/>
                <a:gd name="connsiteY24" fmla="*/ 39529 h 175831"/>
                <a:gd name="connsiteX25" fmla="*/ 95155 w 128492"/>
                <a:gd name="connsiteY25" fmla="*/ 43339 h 175831"/>
                <a:gd name="connsiteX26" fmla="*/ 96107 w 128492"/>
                <a:gd name="connsiteY26" fmla="*/ 46292 h 175831"/>
                <a:gd name="connsiteX27" fmla="*/ 99346 w 128492"/>
                <a:gd name="connsiteY27" fmla="*/ 46958 h 175831"/>
                <a:gd name="connsiteX28" fmla="*/ 113443 w 128492"/>
                <a:gd name="connsiteY28" fmla="*/ 41815 h 175831"/>
                <a:gd name="connsiteX29" fmla="*/ 117253 w 128492"/>
                <a:gd name="connsiteY29" fmla="*/ 47149 h 175831"/>
                <a:gd name="connsiteX30" fmla="*/ 113252 w 128492"/>
                <a:gd name="connsiteY30" fmla="*/ 56293 h 175831"/>
                <a:gd name="connsiteX31" fmla="*/ 112300 w 128492"/>
                <a:gd name="connsiteY31" fmla="*/ 60389 h 175831"/>
                <a:gd name="connsiteX32" fmla="*/ 113729 w 128492"/>
                <a:gd name="connsiteY32" fmla="*/ 65342 h 175831"/>
                <a:gd name="connsiteX33" fmla="*/ 112586 w 128492"/>
                <a:gd name="connsiteY33" fmla="*/ 72581 h 175831"/>
                <a:gd name="connsiteX34" fmla="*/ 126206 w 128492"/>
                <a:gd name="connsiteY34" fmla="*/ 89821 h 175831"/>
                <a:gd name="connsiteX35" fmla="*/ 128492 w 128492"/>
                <a:gd name="connsiteY35" fmla="*/ 94583 h 175831"/>
                <a:gd name="connsiteX36" fmla="*/ 125540 w 128492"/>
                <a:gd name="connsiteY36" fmla="*/ 99346 h 175831"/>
                <a:gd name="connsiteX37" fmla="*/ 121349 w 128492"/>
                <a:gd name="connsiteY37" fmla="*/ 101727 h 175831"/>
                <a:gd name="connsiteX38" fmla="*/ 115348 w 128492"/>
                <a:gd name="connsiteY38" fmla="*/ 103727 h 175831"/>
                <a:gd name="connsiteX39" fmla="*/ 111347 w 128492"/>
                <a:gd name="connsiteY39" fmla="*/ 107347 h 175831"/>
                <a:gd name="connsiteX40" fmla="*/ 109061 w 128492"/>
                <a:gd name="connsiteY40" fmla="*/ 110490 h 175831"/>
                <a:gd name="connsiteX41" fmla="*/ 122777 w 128492"/>
                <a:gd name="connsiteY41" fmla="*/ 129064 h 175831"/>
                <a:gd name="connsiteX42" fmla="*/ 123539 w 128492"/>
                <a:gd name="connsiteY42" fmla="*/ 130207 h 175831"/>
                <a:gd name="connsiteX43" fmla="*/ 123730 w 128492"/>
                <a:gd name="connsiteY43" fmla="*/ 130493 h 175831"/>
                <a:gd name="connsiteX44" fmla="*/ 116777 w 128492"/>
                <a:gd name="connsiteY44" fmla="*/ 133826 h 175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28492" h="175831">
                  <a:moveTo>
                    <a:pt x="116586" y="133731"/>
                  </a:moveTo>
                  <a:lnTo>
                    <a:pt x="27527" y="175831"/>
                  </a:lnTo>
                  <a:lnTo>
                    <a:pt x="23146" y="153162"/>
                  </a:lnTo>
                  <a:lnTo>
                    <a:pt x="33147" y="144209"/>
                  </a:lnTo>
                  <a:lnTo>
                    <a:pt x="33147" y="135160"/>
                  </a:lnTo>
                  <a:lnTo>
                    <a:pt x="22384" y="135160"/>
                  </a:lnTo>
                  <a:lnTo>
                    <a:pt x="14097" y="124682"/>
                  </a:lnTo>
                  <a:lnTo>
                    <a:pt x="0" y="109633"/>
                  </a:lnTo>
                  <a:lnTo>
                    <a:pt x="7430" y="99155"/>
                  </a:lnTo>
                  <a:lnTo>
                    <a:pt x="5810" y="76676"/>
                  </a:lnTo>
                  <a:lnTo>
                    <a:pt x="26575" y="70676"/>
                  </a:lnTo>
                  <a:lnTo>
                    <a:pt x="26575" y="52673"/>
                  </a:lnTo>
                  <a:lnTo>
                    <a:pt x="16574" y="48197"/>
                  </a:lnTo>
                  <a:lnTo>
                    <a:pt x="18193" y="16574"/>
                  </a:lnTo>
                  <a:lnTo>
                    <a:pt x="34004" y="7525"/>
                  </a:lnTo>
                  <a:lnTo>
                    <a:pt x="50578" y="0"/>
                  </a:lnTo>
                  <a:lnTo>
                    <a:pt x="49720" y="13430"/>
                  </a:lnTo>
                  <a:lnTo>
                    <a:pt x="55245" y="24670"/>
                  </a:lnTo>
                  <a:lnTo>
                    <a:pt x="59341" y="30004"/>
                  </a:lnTo>
                  <a:lnTo>
                    <a:pt x="65151" y="34862"/>
                  </a:lnTo>
                  <a:lnTo>
                    <a:pt x="72009" y="36862"/>
                  </a:lnTo>
                  <a:lnTo>
                    <a:pt x="78010" y="37433"/>
                  </a:lnTo>
                  <a:lnTo>
                    <a:pt x="88678" y="35624"/>
                  </a:lnTo>
                  <a:lnTo>
                    <a:pt x="92869" y="36671"/>
                  </a:lnTo>
                  <a:lnTo>
                    <a:pt x="94488" y="39529"/>
                  </a:lnTo>
                  <a:lnTo>
                    <a:pt x="95155" y="43339"/>
                  </a:lnTo>
                  <a:lnTo>
                    <a:pt x="96107" y="46292"/>
                  </a:lnTo>
                  <a:lnTo>
                    <a:pt x="99346" y="46958"/>
                  </a:lnTo>
                  <a:lnTo>
                    <a:pt x="113443" y="41815"/>
                  </a:lnTo>
                  <a:lnTo>
                    <a:pt x="117253" y="47149"/>
                  </a:lnTo>
                  <a:lnTo>
                    <a:pt x="113252" y="56293"/>
                  </a:lnTo>
                  <a:lnTo>
                    <a:pt x="112300" y="60389"/>
                  </a:lnTo>
                  <a:lnTo>
                    <a:pt x="113729" y="65342"/>
                  </a:lnTo>
                  <a:lnTo>
                    <a:pt x="112586" y="72581"/>
                  </a:lnTo>
                  <a:lnTo>
                    <a:pt x="126206" y="89821"/>
                  </a:lnTo>
                  <a:lnTo>
                    <a:pt x="128492" y="94583"/>
                  </a:lnTo>
                  <a:lnTo>
                    <a:pt x="125540" y="99346"/>
                  </a:lnTo>
                  <a:lnTo>
                    <a:pt x="121349" y="101727"/>
                  </a:lnTo>
                  <a:lnTo>
                    <a:pt x="115348" y="103727"/>
                  </a:lnTo>
                  <a:lnTo>
                    <a:pt x="111347" y="107347"/>
                  </a:lnTo>
                  <a:lnTo>
                    <a:pt x="109061" y="110490"/>
                  </a:lnTo>
                  <a:lnTo>
                    <a:pt x="122777" y="129064"/>
                  </a:lnTo>
                  <a:lnTo>
                    <a:pt x="123539" y="130207"/>
                  </a:lnTo>
                  <a:lnTo>
                    <a:pt x="123730" y="130493"/>
                  </a:lnTo>
                  <a:lnTo>
                    <a:pt x="116777" y="133826"/>
                  </a:lnTo>
                </a:path>
              </a:pathLst>
            </a:custGeom>
            <a:grpFill/>
            <a:ln w="2381" cap="sq">
              <a:noFill/>
              <a:prstDash val="solid"/>
              <a:bevel/>
            </a:ln>
          </p:spPr>
          <p:txBody>
            <a:bodyPr rtlCol="0" anchor="ctr"/>
            <a:lstStyle/>
            <a:p>
              <a:endParaRPr lang="cs-CZ"/>
            </a:p>
          </p:txBody>
        </p:sp>
        <p:sp>
          <p:nvSpPr>
            <p:cNvPr id="190" name="Freeform: Shape 189">
              <a:extLst>
                <a:ext uri="{FF2B5EF4-FFF2-40B4-BE49-F238E27FC236}">
                  <a16:creationId xmlns:a16="http://schemas.microsoft.com/office/drawing/2014/main" id="{661328E4-467C-8050-5234-7771833C1D98}"/>
                </a:ext>
              </a:extLst>
            </p:cNvPr>
            <p:cNvSpPr/>
            <p:nvPr/>
          </p:nvSpPr>
          <p:spPr>
            <a:xfrm>
              <a:off x="12250672" y="8267062"/>
              <a:ext cx="183451" cy="209454"/>
            </a:xfrm>
            <a:custGeom>
              <a:avLst/>
              <a:gdLst>
                <a:gd name="connsiteX0" fmla="*/ 140398 w 183451"/>
                <a:gd name="connsiteY0" fmla="*/ 209455 h 209454"/>
                <a:gd name="connsiteX1" fmla="*/ 122682 w 183451"/>
                <a:gd name="connsiteY1" fmla="*/ 195643 h 209454"/>
                <a:gd name="connsiteX2" fmla="*/ 108966 w 183451"/>
                <a:gd name="connsiteY2" fmla="*/ 160972 h 209454"/>
                <a:gd name="connsiteX3" fmla="*/ 99441 w 183451"/>
                <a:gd name="connsiteY3" fmla="*/ 140684 h 209454"/>
                <a:gd name="connsiteX4" fmla="*/ 86773 w 183451"/>
                <a:gd name="connsiteY4" fmla="*/ 133540 h 209454"/>
                <a:gd name="connsiteX5" fmla="*/ 72961 w 183451"/>
                <a:gd name="connsiteY5" fmla="*/ 136112 h 209454"/>
                <a:gd name="connsiteX6" fmla="*/ 61531 w 183451"/>
                <a:gd name="connsiteY6" fmla="*/ 144113 h 209454"/>
                <a:gd name="connsiteX7" fmla="*/ 61150 w 183451"/>
                <a:gd name="connsiteY7" fmla="*/ 144113 h 209454"/>
                <a:gd name="connsiteX8" fmla="*/ 46863 w 183451"/>
                <a:gd name="connsiteY8" fmla="*/ 140113 h 209454"/>
                <a:gd name="connsiteX9" fmla="*/ 32861 w 183451"/>
                <a:gd name="connsiteY9" fmla="*/ 129064 h 209454"/>
                <a:gd name="connsiteX10" fmla="*/ 25717 w 183451"/>
                <a:gd name="connsiteY10" fmla="*/ 126682 h 209454"/>
                <a:gd name="connsiteX11" fmla="*/ 9715 w 183451"/>
                <a:gd name="connsiteY11" fmla="*/ 124777 h 209454"/>
                <a:gd name="connsiteX12" fmla="*/ 13621 w 183451"/>
                <a:gd name="connsiteY12" fmla="*/ 111157 h 209454"/>
                <a:gd name="connsiteX13" fmla="*/ 16097 w 183451"/>
                <a:gd name="connsiteY13" fmla="*/ 107251 h 209454"/>
                <a:gd name="connsiteX14" fmla="*/ 18193 w 183451"/>
                <a:gd name="connsiteY14" fmla="*/ 102679 h 209454"/>
                <a:gd name="connsiteX15" fmla="*/ 16954 w 183451"/>
                <a:gd name="connsiteY15" fmla="*/ 93917 h 209454"/>
                <a:gd name="connsiteX16" fmla="*/ 15526 w 183451"/>
                <a:gd name="connsiteY16" fmla="*/ 88773 h 209454"/>
                <a:gd name="connsiteX17" fmla="*/ 0 w 183451"/>
                <a:gd name="connsiteY17" fmla="*/ 76200 h 209454"/>
                <a:gd name="connsiteX18" fmla="*/ 4096 w 183451"/>
                <a:gd name="connsiteY18" fmla="*/ 25336 h 209454"/>
                <a:gd name="connsiteX19" fmla="*/ 12001 w 183451"/>
                <a:gd name="connsiteY19" fmla="*/ 25336 h 209454"/>
                <a:gd name="connsiteX20" fmla="*/ 13430 w 183451"/>
                <a:gd name="connsiteY20" fmla="*/ 25241 h 209454"/>
                <a:gd name="connsiteX21" fmla="*/ 20955 w 183451"/>
                <a:gd name="connsiteY21" fmla="*/ 27718 h 209454"/>
                <a:gd name="connsiteX22" fmla="*/ 28099 w 183451"/>
                <a:gd name="connsiteY22" fmla="*/ 23813 h 209454"/>
                <a:gd name="connsiteX23" fmla="*/ 37719 w 183451"/>
                <a:gd name="connsiteY23" fmla="*/ 23241 h 209454"/>
                <a:gd name="connsiteX24" fmla="*/ 47530 w 183451"/>
                <a:gd name="connsiteY24" fmla="*/ 27813 h 209454"/>
                <a:gd name="connsiteX25" fmla="*/ 51721 w 183451"/>
                <a:gd name="connsiteY25" fmla="*/ 42958 h 209454"/>
                <a:gd name="connsiteX26" fmla="*/ 57245 w 183451"/>
                <a:gd name="connsiteY26" fmla="*/ 44196 h 209454"/>
                <a:gd name="connsiteX27" fmla="*/ 62770 w 183451"/>
                <a:gd name="connsiteY27" fmla="*/ 34099 h 209454"/>
                <a:gd name="connsiteX28" fmla="*/ 76009 w 183451"/>
                <a:gd name="connsiteY28" fmla="*/ 24003 h 209454"/>
                <a:gd name="connsiteX29" fmla="*/ 89249 w 183451"/>
                <a:gd name="connsiteY29" fmla="*/ 22765 h 209454"/>
                <a:gd name="connsiteX30" fmla="*/ 87154 w 183451"/>
                <a:gd name="connsiteY30" fmla="*/ 8858 h 209454"/>
                <a:gd name="connsiteX31" fmla="*/ 101060 w 183451"/>
                <a:gd name="connsiteY31" fmla="*/ 0 h 209454"/>
                <a:gd name="connsiteX32" fmla="*/ 108680 w 183451"/>
                <a:gd name="connsiteY32" fmla="*/ 16478 h 209454"/>
                <a:gd name="connsiteX33" fmla="*/ 124682 w 183451"/>
                <a:gd name="connsiteY33" fmla="*/ 7620 h 209454"/>
                <a:gd name="connsiteX34" fmla="*/ 132302 w 183451"/>
                <a:gd name="connsiteY34" fmla="*/ 16478 h 209454"/>
                <a:gd name="connsiteX35" fmla="*/ 142018 w 183451"/>
                <a:gd name="connsiteY35" fmla="*/ 35433 h 209454"/>
                <a:gd name="connsiteX36" fmla="*/ 150400 w 183451"/>
                <a:gd name="connsiteY36" fmla="*/ 39243 h 209454"/>
                <a:gd name="connsiteX37" fmla="*/ 149733 w 183451"/>
                <a:gd name="connsiteY37" fmla="*/ 54388 h 209454"/>
                <a:gd name="connsiteX38" fmla="*/ 151162 w 183451"/>
                <a:gd name="connsiteY38" fmla="*/ 85915 h 209454"/>
                <a:gd name="connsiteX39" fmla="*/ 163735 w 183451"/>
                <a:gd name="connsiteY39" fmla="*/ 92202 h 209454"/>
                <a:gd name="connsiteX40" fmla="*/ 166497 w 183451"/>
                <a:gd name="connsiteY40" fmla="*/ 109823 h 209454"/>
                <a:gd name="connsiteX41" fmla="*/ 174117 w 183451"/>
                <a:gd name="connsiteY41" fmla="*/ 118681 h 209454"/>
                <a:gd name="connsiteX42" fmla="*/ 162306 w 183451"/>
                <a:gd name="connsiteY42" fmla="*/ 135065 h 209454"/>
                <a:gd name="connsiteX43" fmla="*/ 175546 w 183451"/>
                <a:gd name="connsiteY43" fmla="*/ 148876 h 209454"/>
                <a:gd name="connsiteX44" fmla="*/ 183451 w 183451"/>
                <a:gd name="connsiteY44" fmla="*/ 171545 h 209454"/>
                <a:gd name="connsiteX45" fmla="*/ 176308 w 183451"/>
                <a:gd name="connsiteY45" fmla="*/ 176117 h 209454"/>
                <a:gd name="connsiteX46" fmla="*/ 179641 w 183451"/>
                <a:gd name="connsiteY46" fmla="*/ 183451 h 209454"/>
                <a:gd name="connsiteX47" fmla="*/ 160115 w 183451"/>
                <a:gd name="connsiteY47" fmla="*/ 204597 h 209454"/>
                <a:gd name="connsiteX48" fmla="*/ 140494 w 183451"/>
                <a:gd name="connsiteY48" fmla="*/ 209264 h 209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83451" h="209454">
                  <a:moveTo>
                    <a:pt x="140398" y="209455"/>
                  </a:moveTo>
                  <a:lnTo>
                    <a:pt x="122682" y="195643"/>
                  </a:lnTo>
                  <a:lnTo>
                    <a:pt x="108966" y="160972"/>
                  </a:lnTo>
                  <a:lnTo>
                    <a:pt x="99441" y="140684"/>
                  </a:lnTo>
                  <a:lnTo>
                    <a:pt x="86773" y="133540"/>
                  </a:lnTo>
                  <a:lnTo>
                    <a:pt x="72961" y="136112"/>
                  </a:lnTo>
                  <a:lnTo>
                    <a:pt x="61531" y="144113"/>
                  </a:lnTo>
                  <a:lnTo>
                    <a:pt x="61150" y="144113"/>
                  </a:lnTo>
                  <a:cubicBezTo>
                    <a:pt x="61150" y="144113"/>
                    <a:pt x="46863" y="140113"/>
                    <a:pt x="46863" y="140113"/>
                  </a:cubicBezTo>
                  <a:lnTo>
                    <a:pt x="32861" y="129064"/>
                  </a:lnTo>
                  <a:lnTo>
                    <a:pt x="25717" y="126682"/>
                  </a:lnTo>
                  <a:lnTo>
                    <a:pt x="9715" y="124777"/>
                  </a:lnTo>
                  <a:lnTo>
                    <a:pt x="13621" y="111157"/>
                  </a:lnTo>
                  <a:lnTo>
                    <a:pt x="16097" y="107251"/>
                  </a:lnTo>
                  <a:lnTo>
                    <a:pt x="18193" y="102679"/>
                  </a:lnTo>
                  <a:lnTo>
                    <a:pt x="16954" y="93917"/>
                  </a:lnTo>
                  <a:lnTo>
                    <a:pt x="15526" y="88773"/>
                  </a:lnTo>
                  <a:lnTo>
                    <a:pt x="0" y="76200"/>
                  </a:lnTo>
                  <a:lnTo>
                    <a:pt x="4096" y="25336"/>
                  </a:lnTo>
                  <a:lnTo>
                    <a:pt x="12001" y="25336"/>
                  </a:lnTo>
                  <a:cubicBezTo>
                    <a:pt x="12001" y="25336"/>
                    <a:pt x="13430" y="25241"/>
                    <a:pt x="13430" y="25241"/>
                  </a:cubicBezTo>
                  <a:lnTo>
                    <a:pt x="20955" y="27718"/>
                  </a:lnTo>
                  <a:lnTo>
                    <a:pt x="28099" y="23813"/>
                  </a:lnTo>
                  <a:lnTo>
                    <a:pt x="37719" y="23241"/>
                  </a:lnTo>
                  <a:lnTo>
                    <a:pt x="47530" y="27813"/>
                  </a:lnTo>
                  <a:lnTo>
                    <a:pt x="51721" y="42958"/>
                  </a:lnTo>
                  <a:lnTo>
                    <a:pt x="57245" y="44196"/>
                  </a:lnTo>
                  <a:lnTo>
                    <a:pt x="62770" y="34099"/>
                  </a:lnTo>
                  <a:lnTo>
                    <a:pt x="76009" y="24003"/>
                  </a:lnTo>
                  <a:lnTo>
                    <a:pt x="89249" y="22765"/>
                  </a:lnTo>
                  <a:lnTo>
                    <a:pt x="87154" y="8858"/>
                  </a:lnTo>
                  <a:lnTo>
                    <a:pt x="101060" y="0"/>
                  </a:lnTo>
                  <a:lnTo>
                    <a:pt x="108680" y="16478"/>
                  </a:lnTo>
                  <a:lnTo>
                    <a:pt x="124682" y="7620"/>
                  </a:lnTo>
                  <a:lnTo>
                    <a:pt x="132302" y="16478"/>
                  </a:lnTo>
                  <a:lnTo>
                    <a:pt x="142018" y="35433"/>
                  </a:lnTo>
                  <a:lnTo>
                    <a:pt x="150400" y="39243"/>
                  </a:lnTo>
                  <a:lnTo>
                    <a:pt x="149733" y="54388"/>
                  </a:lnTo>
                  <a:lnTo>
                    <a:pt x="151162" y="85915"/>
                  </a:lnTo>
                  <a:lnTo>
                    <a:pt x="163735" y="92202"/>
                  </a:lnTo>
                  <a:lnTo>
                    <a:pt x="166497" y="109823"/>
                  </a:lnTo>
                  <a:lnTo>
                    <a:pt x="174117" y="118681"/>
                  </a:lnTo>
                  <a:lnTo>
                    <a:pt x="162306" y="135065"/>
                  </a:lnTo>
                  <a:lnTo>
                    <a:pt x="175546" y="148876"/>
                  </a:lnTo>
                  <a:lnTo>
                    <a:pt x="183451" y="171545"/>
                  </a:lnTo>
                  <a:lnTo>
                    <a:pt x="176308" y="176117"/>
                  </a:lnTo>
                  <a:lnTo>
                    <a:pt x="179641" y="183451"/>
                  </a:lnTo>
                  <a:lnTo>
                    <a:pt x="160115" y="204597"/>
                  </a:lnTo>
                  <a:lnTo>
                    <a:pt x="140494" y="209264"/>
                  </a:lnTo>
                </a:path>
              </a:pathLst>
            </a:custGeom>
            <a:grpFill/>
            <a:ln w="2381" cap="sq">
              <a:noFill/>
              <a:prstDash val="solid"/>
              <a:bevel/>
            </a:ln>
          </p:spPr>
          <p:txBody>
            <a:bodyPr rtlCol="0" anchor="ctr"/>
            <a:lstStyle/>
            <a:p>
              <a:endParaRPr lang="cs-CZ"/>
            </a:p>
          </p:txBody>
        </p:sp>
        <p:sp>
          <p:nvSpPr>
            <p:cNvPr id="191" name="Freeform: Shape 190">
              <a:extLst>
                <a:ext uri="{FF2B5EF4-FFF2-40B4-BE49-F238E27FC236}">
                  <a16:creationId xmlns:a16="http://schemas.microsoft.com/office/drawing/2014/main" id="{C4B64D09-4705-D8CA-02CD-373CFC20EE83}"/>
                </a:ext>
              </a:extLst>
            </p:cNvPr>
            <p:cNvSpPr/>
            <p:nvPr/>
          </p:nvSpPr>
          <p:spPr>
            <a:xfrm>
              <a:off x="12748925" y="8312686"/>
              <a:ext cx="230314" cy="196310"/>
            </a:xfrm>
            <a:custGeom>
              <a:avLst/>
              <a:gdLst>
                <a:gd name="connsiteX0" fmla="*/ 230315 w 230314"/>
                <a:gd name="connsiteY0" fmla="*/ 159829 h 196310"/>
                <a:gd name="connsiteX1" fmla="*/ 224504 w 230314"/>
                <a:gd name="connsiteY1" fmla="*/ 167735 h 196310"/>
                <a:gd name="connsiteX2" fmla="*/ 217170 w 230314"/>
                <a:gd name="connsiteY2" fmla="*/ 175450 h 196310"/>
                <a:gd name="connsiteX3" fmla="*/ 194691 w 230314"/>
                <a:gd name="connsiteY3" fmla="*/ 188595 h 196310"/>
                <a:gd name="connsiteX4" fmla="*/ 181451 w 230314"/>
                <a:gd name="connsiteY4" fmla="*/ 194405 h 196310"/>
                <a:gd name="connsiteX5" fmla="*/ 168688 w 230314"/>
                <a:gd name="connsiteY5" fmla="*/ 190881 h 196310"/>
                <a:gd name="connsiteX6" fmla="*/ 143923 w 230314"/>
                <a:gd name="connsiteY6" fmla="*/ 172593 h 196310"/>
                <a:gd name="connsiteX7" fmla="*/ 131350 w 230314"/>
                <a:gd name="connsiteY7" fmla="*/ 167640 h 196310"/>
                <a:gd name="connsiteX8" fmla="*/ 119348 w 230314"/>
                <a:gd name="connsiteY8" fmla="*/ 169736 h 196310"/>
                <a:gd name="connsiteX9" fmla="*/ 72295 w 230314"/>
                <a:gd name="connsiteY9" fmla="*/ 194405 h 196310"/>
                <a:gd name="connsiteX10" fmla="*/ 62008 w 230314"/>
                <a:gd name="connsiteY10" fmla="*/ 196310 h 196310"/>
                <a:gd name="connsiteX11" fmla="*/ 61436 w 230314"/>
                <a:gd name="connsiteY11" fmla="*/ 196310 h 196310"/>
                <a:gd name="connsiteX12" fmla="*/ 49625 w 230314"/>
                <a:gd name="connsiteY12" fmla="*/ 194120 h 196310"/>
                <a:gd name="connsiteX13" fmla="*/ 36576 w 230314"/>
                <a:gd name="connsiteY13" fmla="*/ 186785 h 196310"/>
                <a:gd name="connsiteX14" fmla="*/ 0 w 230314"/>
                <a:gd name="connsiteY14" fmla="*/ 157829 h 196310"/>
                <a:gd name="connsiteX15" fmla="*/ 10668 w 230314"/>
                <a:gd name="connsiteY15" fmla="*/ 150971 h 196310"/>
                <a:gd name="connsiteX16" fmla="*/ 21146 w 230314"/>
                <a:gd name="connsiteY16" fmla="*/ 144685 h 196310"/>
                <a:gd name="connsiteX17" fmla="*/ 23241 w 230314"/>
                <a:gd name="connsiteY17" fmla="*/ 130874 h 196310"/>
                <a:gd name="connsiteX18" fmla="*/ 35814 w 230314"/>
                <a:gd name="connsiteY18" fmla="*/ 122111 h 196310"/>
                <a:gd name="connsiteX19" fmla="*/ 33719 w 230314"/>
                <a:gd name="connsiteY19" fmla="*/ 108299 h 196310"/>
                <a:gd name="connsiteX20" fmla="*/ 42767 w 230314"/>
                <a:gd name="connsiteY20" fmla="*/ 108299 h 196310"/>
                <a:gd name="connsiteX21" fmla="*/ 56674 w 230314"/>
                <a:gd name="connsiteY21" fmla="*/ 118396 h 196310"/>
                <a:gd name="connsiteX22" fmla="*/ 67818 w 230314"/>
                <a:gd name="connsiteY22" fmla="*/ 105823 h 196310"/>
                <a:gd name="connsiteX23" fmla="*/ 51816 w 230314"/>
                <a:gd name="connsiteY23" fmla="*/ 95726 h 196310"/>
                <a:gd name="connsiteX24" fmla="*/ 32290 w 230314"/>
                <a:gd name="connsiteY24" fmla="*/ 85630 h 196310"/>
                <a:gd name="connsiteX25" fmla="*/ 21812 w 230314"/>
                <a:gd name="connsiteY25" fmla="*/ 78105 h 196310"/>
                <a:gd name="connsiteX26" fmla="*/ 21146 w 230314"/>
                <a:gd name="connsiteY26" fmla="*/ 62960 h 196310"/>
                <a:gd name="connsiteX27" fmla="*/ 19050 w 230314"/>
                <a:gd name="connsiteY27" fmla="*/ 41529 h 196310"/>
                <a:gd name="connsiteX28" fmla="*/ 14192 w 230314"/>
                <a:gd name="connsiteY28" fmla="*/ 24479 h 196310"/>
                <a:gd name="connsiteX29" fmla="*/ 19621 w 230314"/>
                <a:gd name="connsiteY29" fmla="*/ 24670 h 196310"/>
                <a:gd name="connsiteX30" fmla="*/ 24003 w 230314"/>
                <a:gd name="connsiteY30" fmla="*/ 23908 h 196310"/>
                <a:gd name="connsiteX31" fmla="*/ 38767 w 230314"/>
                <a:gd name="connsiteY31" fmla="*/ 6572 h 196310"/>
                <a:gd name="connsiteX32" fmla="*/ 38005 w 230314"/>
                <a:gd name="connsiteY32" fmla="*/ 857 h 196310"/>
                <a:gd name="connsiteX33" fmla="*/ 48292 w 230314"/>
                <a:gd name="connsiteY33" fmla="*/ 4953 h 196310"/>
                <a:gd name="connsiteX34" fmla="*/ 65723 w 230314"/>
                <a:gd name="connsiteY34" fmla="*/ 8763 h 196310"/>
                <a:gd name="connsiteX35" fmla="*/ 74771 w 230314"/>
                <a:gd name="connsiteY35" fmla="*/ 13811 h 196310"/>
                <a:gd name="connsiteX36" fmla="*/ 83153 w 230314"/>
                <a:gd name="connsiteY36" fmla="*/ 18860 h 196310"/>
                <a:gd name="connsiteX37" fmla="*/ 98489 w 230314"/>
                <a:gd name="connsiteY37" fmla="*/ 25146 h 196310"/>
                <a:gd name="connsiteX38" fmla="*/ 105442 w 230314"/>
                <a:gd name="connsiteY38" fmla="*/ 12573 h 196310"/>
                <a:gd name="connsiteX39" fmla="*/ 124206 w 230314"/>
                <a:gd name="connsiteY39" fmla="*/ 1238 h 196310"/>
                <a:gd name="connsiteX40" fmla="*/ 141637 w 230314"/>
                <a:gd name="connsiteY40" fmla="*/ 0 h 196310"/>
                <a:gd name="connsiteX41" fmla="*/ 155543 w 230314"/>
                <a:gd name="connsiteY41" fmla="*/ 5048 h 196310"/>
                <a:gd name="connsiteX42" fmla="*/ 163163 w 230314"/>
                <a:gd name="connsiteY42" fmla="*/ 18955 h 196310"/>
                <a:gd name="connsiteX43" fmla="*/ 173641 w 230314"/>
                <a:gd name="connsiteY43" fmla="*/ 30290 h 196310"/>
                <a:gd name="connsiteX44" fmla="*/ 177832 w 230314"/>
                <a:gd name="connsiteY44" fmla="*/ 44196 h 196310"/>
                <a:gd name="connsiteX45" fmla="*/ 191738 w 230314"/>
                <a:gd name="connsiteY45" fmla="*/ 37910 h 196310"/>
                <a:gd name="connsiteX46" fmla="*/ 207073 w 230314"/>
                <a:gd name="connsiteY46" fmla="*/ 58103 h 196310"/>
                <a:gd name="connsiteX47" fmla="*/ 214027 w 230314"/>
                <a:gd name="connsiteY47" fmla="*/ 89535 h 196310"/>
                <a:gd name="connsiteX48" fmla="*/ 207740 w 230314"/>
                <a:gd name="connsiteY48" fmla="*/ 98298 h 196310"/>
                <a:gd name="connsiteX49" fmla="*/ 181261 w 230314"/>
                <a:gd name="connsiteY49" fmla="*/ 109633 h 196310"/>
                <a:gd name="connsiteX50" fmla="*/ 183356 w 230314"/>
                <a:gd name="connsiteY50" fmla="*/ 119729 h 196310"/>
                <a:gd name="connsiteX51" fmla="*/ 204216 w 230314"/>
                <a:gd name="connsiteY51" fmla="*/ 123539 h 196310"/>
                <a:gd name="connsiteX52" fmla="*/ 198691 w 230314"/>
                <a:gd name="connsiteY52" fmla="*/ 136112 h 196310"/>
                <a:gd name="connsiteX53" fmla="*/ 189643 w 230314"/>
                <a:gd name="connsiteY53" fmla="*/ 144875 h 196310"/>
                <a:gd name="connsiteX54" fmla="*/ 194501 w 230314"/>
                <a:gd name="connsiteY54" fmla="*/ 159925 h 196310"/>
                <a:gd name="connsiteX55" fmla="*/ 213265 w 230314"/>
                <a:gd name="connsiteY55" fmla="*/ 151162 h 196310"/>
                <a:gd name="connsiteX56" fmla="*/ 230315 w 230314"/>
                <a:gd name="connsiteY56" fmla="*/ 159925 h 196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30314" h="196310">
                  <a:moveTo>
                    <a:pt x="230315" y="159829"/>
                  </a:moveTo>
                  <a:lnTo>
                    <a:pt x="224504" y="167735"/>
                  </a:lnTo>
                  <a:lnTo>
                    <a:pt x="217170" y="175450"/>
                  </a:lnTo>
                  <a:lnTo>
                    <a:pt x="194691" y="188595"/>
                  </a:lnTo>
                  <a:lnTo>
                    <a:pt x="181451" y="194405"/>
                  </a:lnTo>
                  <a:lnTo>
                    <a:pt x="168688" y="190881"/>
                  </a:lnTo>
                  <a:lnTo>
                    <a:pt x="143923" y="172593"/>
                  </a:lnTo>
                  <a:lnTo>
                    <a:pt x="131350" y="167640"/>
                  </a:lnTo>
                  <a:lnTo>
                    <a:pt x="119348" y="169736"/>
                  </a:lnTo>
                  <a:lnTo>
                    <a:pt x="72295" y="194405"/>
                  </a:lnTo>
                  <a:lnTo>
                    <a:pt x="62008" y="196310"/>
                  </a:lnTo>
                  <a:lnTo>
                    <a:pt x="61436" y="196310"/>
                  </a:lnTo>
                  <a:cubicBezTo>
                    <a:pt x="61436" y="196310"/>
                    <a:pt x="49625" y="194120"/>
                    <a:pt x="49625" y="194120"/>
                  </a:cubicBezTo>
                  <a:lnTo>
                    <a:pt x="36576" y="186785"/>
                  </a:lnTo>
                  <a:lnTo>
                    <a:pt x="0" y="157829"/>
                  </a:lnTo>
                  <a:lnTo>
                    <a:pt x="10668" y="150971"/>
                  </a:lnTo>
                  <a:lnTo>
                    <a:pt x="21146" y="144685"/>
                  </a:lnTo>
                  <a:lnTo>
                    <a:pt x="23241" y="130874"/>
                  </a:lnTo>
                  <a:lnTo>
                    <a:pt x="35814" y="122111"/>
                  </a:lnTo>
                  <a:lnTo>
                    <a:pt x="33719" y="108299"/>
                  </a:lnTo>
                  <a:lnTo>
                    <a:pt x="42767" y="108299"/>
                  </a:lnTo>
                  <a:lnTo>
                    <a:pt x="56674" y="118396"/>
                  </a:lnTo>
                  <a:lnTo>
                    <a:pt x="67818" y="105823"/>
                  </a:lnTo>
                  <a:lnTo>
                    <a:pt x="51816" y="95726"/>
                  </a:lnTo>
                  <a:lnTo>
                    <a:pt x="32290" y="85630"/>
                  </a:lnTo>
                  <a:lnTo>
                    <a:pt x="21812" y="78105"/>
                  </a:lnTo>
                  <a:lnTo>
                    <a:pt x="21146" y="62960"/>
                  </a:lnTo>
                  <a:lnTo>
                    <a:pt x="19050" y="41529"/>
                  </a:lnTo>
                  <a:lnTo>
                    <a:pt x="14192" y="24479"/>
                  </a:lnTo>
                  <a:lnTo>
                    <a:pt x="19621" y="24670"/>
                  </a:lnTo>
                  <a:lnTo>
                    <a:pt x="24003" y="23908"/>
                  </a:lnTo>
                  <a:lnTo>
                    <a:pt x="38767" y="6572"/>
                  </a:lnTo>
                  <a:lnTo>
                    <a:pt x="38005" y="857"/>
                  </a:lnTo>
                  <a:lnTo>
                    <a:pt x="48292" y="4953"/>
                  </a:lnTo>
                  <a:lnTo>
                    <a:pt x="65723" y="8763"/>
                  </a:lnTo>
                  <a:lnTo>
                    <a:pt x="74771" y="13811"/>
                  </a:lnTo>
                  <a:lnTo>
                    <a:pt x="83153" y="18860"/>
                  </a:lnTo>
                  <a:lnTo>
                    <a:pt x="98489" y="25146"/>
                  </a:lnTo>
                  <a:lnTo>
                    <a:pt x="105442" y="12573"/>
                  </a:lnTo>
                  <a:lnTo>
                    <a:pt x="124206" y="1238"/>
                  </a:lnTo>
                  <a:lnTo>
                    <a:pt x="141637" y="0"/>
                  </a:lnTo>
                  <a:lnTo>
                    <a:pt x="155543" y="5048"/>
                  </a:lnTo>
                  <a:lnTo>
                    <a:pt x="163163" y="18955"/>
                  </a:lnTo>
                  <a:lnTo>
                    <a:pt x="173641" y="30290"/>
                  </a:lnTo>
                  <a:lnTo>
                    <a:pt x="177832" y="44196"/>
                  </a:lnTo>
                  <a:lnTo>
                    <a:pt x="191738" y="37910"/>
                  </a:lnTo>
                  <a:lnTo>
                    <a:pt x="207073" y="58103"/>
                  </a:lnTo>
                  <a:lnTo>
                    <a:pt x="214027" y="89535"/>
                  </a:lnTo>
                  <a:lnTo>
                    <a:pt x="207740" y="98298"/>
                  </a:lnTo>
                  <a:lnTo>
                    <a:pt x="181261" y="109633"/>
                  </a:lnTo>
                  <a:lnTo>
                    <a:pt x="183356" y="119729"/>
                  </a:lnTo>
                  <a:lnTo>
                    <a:pt x="204216" y="123539"/>
                  </a:lnTo>
                  <a:lnTo>
                    <a:pt x="198691" y="136112"/>
                  </a:lnTo>
                  <a:lnTo>
                    <a:pt x="189643" y="144875"/>
                  </a:lnTo>
                  <a:lnTo>
                    <a:pt x="194501" y="159925"/>
                  </a:lnTo>
                  <a:lnTo>
                    <a:pt x="213265" y="151162"/>
                  </a:lnTo>
                  <a:lnTo>
                    <a:pt x="230315" y="159925"/>
                  </a:lnTo>
                </a:path>
              </a:pathLst>
            </a:custGeom>
            <a:grpFill/>
            <a:ln w="2381" cap="sq">
              <a:noFill/>
              <a:prstDash val="solid"/>
              <a:bevel/>
            </a:ln>
          </p:spPr>
          <p:txBody>
            <a:bodyPr rtlCol="0" anchor="ctr"/>
            <a:lstStyle/>
            <a:p>
              <a:endParaRPr lang="cs-CZ"/>
            </a:p>
          </p:txBody>
        </p:sp>
        <p:sp>
          <p:nvSpPr>
            <p:cNvPr id="192" name="Freeform: Shape 191">
              <a:extLst>
                <a:ext uri="{FF2B5EF4-FFF2-40B4-BE49-F238E27FC236}">
                  <a16:creationId xmlns:a16="http://schemas.microsoft.com/office/drawing/2014/main" id="{69C4B9C9-62CA-EE75-EE9D-828131670C27}"/>
                </a:ext>
              </a:extLst>
            </p:cNvPr>
            <p:cNvSpPr/>
            <p:nvPr/>
          </p:nvSpPr>
          <p:spPr>
            <a:xfrm>
              <a:off x="12412788" y="8306495"/>
              <a:ext cx="133635" cy="134683"/>
            </a:xfrm>
            <a:custGeom>
              <a:avLst/>
              <a:gdLst>
                <a:gd name="connsiteX0" fmla="*/ 101156 w 133635"/>
                <a:gd name="connsiteY0" fmla="*/ 134588 h 134683"/>
                <a:gd name="connsiteX1" fmla="*/ 74962 w 133635"/>
                <a:gd name="connsiteY1" fmla="*/ 123349 h 134683"/>
                <a:gd name="connsiteX2" fmla="*/ 66294 w 133635"/>
                <a:gd name="connsiteY2" fmla="*/ 121634 h 134683"/>
                <a:gd name="connsiteX3" fmla="*/ 21146 w 133635"/>
                <a:gd name="connsiteY3" fmla="*/ 132207 h 134683"/>
                <a:gd name="connsiteX4" fmla="*/ 13240 w 133635"/>
                <a:gd name="connsiteY4" fmla="*/ 109538 h 134683"/>
                <a:gd name="connsiteX5" fmla="*/ 0 w 133635"/>
                <a:gd name="connsiteY5" fmla="*/ 95726 h 134683"/>
                <a:gd name="connsiteX6" fmla="*/ 11811 w 133635"/>
                <a:gd name="connsiteY6" fmla="*/ 79343 h 134683"/>
                <a:gd name="connsiteX7" fmla="*/ 20860 w 133635"/>
                <a:gd name="connsiteY7" fmla="*/ 66770 h 134683"/>
                <a:gd name="connsiteX8" fmla="*/ 37529 w 133635"/>
                <a:gd name="connsiteY8" fmla="*/ 64294 h 134683"/>
                <a:gd name="connsiteX9" fmla="*/ 61246 w 133635"/>
                <a:gd name="connsiteY9" fmla="*/ 64294 h 134683"/>
                <a:gd name="connsiteX10" fmla="*/ 74486 w 133635"/>
                <a:gd name="connsiteY10" fmla="*/ 60484 h 134683"/>
                <a:gd name="connsiteX11" fmla="*/ 66104 w 133635"/>
                <a:gd name="connsiteY11" fmla="*/ 54197 h 134683"/>
                <a:gd name="connsiteX12" fmla="*/ 60579 w 133635"/>
                <a:gd name="connsiteY12" fmla="*/ 39052 h 134683"/>
                <a:gd name="connsiteX13" fmla="*/ 76581 w 133635"/>
                <a:gd name="connsiteY13" fmla="*/ 22669 h 134683"/>
                <a:gd name="connsiteX14" fmla="*/ 92583 w 133635"/>
                <a:gd name="connsiteY14" fmla="*/ 0 h 134683"/>
                <a:gd name="connsiteX15" fmla="*/ 103061 w 133635"/>
                <a:gd name="connsiteY15" fmla="*/ 0 h 134683"/>
                <a:gd name="connsiteX16" fmla="*/ 107252 w 133635"/>
                <a:gd name="connsiteY16" fmla="*/ 18955 h 134683"/>
                <a:gd name="connsiteX17" fmla="*/ 115538 w 133635"/>
                <a:gd name="connsiteY17" fmla="*/ 37052 h 134683"/>
                <a:gd name="connsiteX18" fmla="*/ 121634 w 133635"/>
                <a:gd name="connsiteY18" fmla="*/ 48101 h 134683"/>
                <a:gd name="connsiteX19" fmla="*/ 120491 w 133635"/>
                <a:gd name="connsiteY19" fmla="*/ 51435 h 134683"/>
                <a:gd name="connsiteX20" fmla="*/ 119729 w 133635"/>
                <a:gd name="connsiteY20" fmla="*/ 54197 h 134683"/>
                <a:gd name="connsiteX21" fmla="*/ 115633 w 133635"/>
                <a:gd name="connsiteY21" fmla="*/ 59436 h 134683"/>
                <a:gd name="connsiteX22" fmla="*/ 114681 w 133635"/>
                <a:gd name="connsiteY22" fmla="*/ 60865 h 134683"/>
                <a:gd name="connsiteX23" fmla="*/ 116872 w 133635"/>
                <a:gd name="connsiteY23" fmla="*/ 67913 h 134683"/>
                <a:gd name="connsiteX24" fmla="*/ 121539 w 133635"/>
                <a:gd name="connsiteY24" fmla="*/ 70866 h 134683"/>
                <a:gd name="connsiteX25" fmla="*/ 124873 w 133635"/>
                <a:gd name="connsiteY25" fmla="*/ 76867 h 134683"/>
                <a:gd name="connsiteX26" fmla="*/ 128778 w 133635"/>
                <a:gd name="connsiteY26" fmla="*/ 87249 h 134683"/>
                <a:gd name="connsiteX27" fmla="*/ 133636 w 133635"/>
                <a:gd name="connsiteY27" fmla="*/ 97631 h 134683"/>
                <a:gd name="connsiteX28" fmla="*/ 133636 w 133635"/>
                <a:gd name="connsiteY28" fmla="*/ 104108 h 134683"/>
                <a:gd name="connsiteX29" fmla="*/ 131636 w 133635"/>
                <a:gd name="connsiteY29" fmla="*/ 108585 h 134683"/>
                <a:gd name="connsiteX30" fmla="*/ 128873 w 133635"/>
                <a:gd name="connsiteY30" fmla="*/ 112395 h 134683"/>
                <a:gd name="connsiteX31" fmla="*/ 125921 w 133635"/>
                <a:gd name="connsiteY31" fmla="*/ 115348 h 134683"/>
                <a:gd name="connsiteX32" fmla="*/ 121253 w 133635"/>
                <a:gd name="connsiteY32" fmla="*/ 118300 h 134683"/>
                <a:gd name="connsiteX33" fmla="*/ 117253 w 133635"/>
                <a:gd name="connsiteY33" fmla="*/ 119729 h 134683"/>
                <a:gd name="connsiteX34" fmla="*/ 103442 w 133635"/>
                <a:gd name="connsiteY34" fmla="*/ 130397 h 134683"/>
                <a:gd name="connsiteX35" fmla="*/ 100965 w 133635"/>
                <a:gd name="connsiteY35" fmla="*/ 134493 h 134683"/>
                <a:gd name="connsiteX36" fmla="*/ 100965 w 133635"/>
                <a:gd name="connsiteY36" fmla="*/ 134684 h 134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33635" h="134683">
                  <a:moveTo>
                    <a:pt x="101156" y="134588"/>
                  </a:moveTo>
                  <a:lnTo>
                    <a:pt x="74962" y="123349"/>
                  </a:lnTo>
                  <a:lnTo>
                    <a:pt x="66294" y="121634"/>
                  </a:lnTo>
                  <a:lnTo>
                    <a:pt x="21146" y="132207"/>
                  </a:lnTo>
                  <a:lnTo>
                    <a:pt x="13240" y="109538"/>
                  </a:lnTo>
                  <a:lnTo>
                    <a:pt x="0" y="95726"/>
                  </a:lnTo>
                  <a:lnTo>
                    <a:pt x="11811" y="79343"/>
                  </a:lnTo>
                  <a:lnTo>
                    <a:pt x="20860" y="66770"/>
                  </a:lnTo>
                  <a:lnTo>
                    <a:pt x="37529" y="64294"/>
                  </a:lnTo>
                  <a:lnTo>
                    <a:pt x="61246" y="64294"/>
                  </a:lnTo>
                  <a:lnTo>
                    <a:pt x="74486" y="60484"/>
                  </a:lnTo>
                  <a:lnTo>
                    <a:pt x="66104" y="54197"/>
                  </a:lnTo>
                  <a:lnTo>
                    <a:pt x="60579" y="39052"/>
                  </a:lnTo>
                  <a:lnTo>
                    <a:pt x="76581" y="22669"/>
                  </a:lnTo>
                  <a:lnTo>
                    <a:pt x="92583" y="0"/>
                  </a:lnTo>
                  <a:lnTo>
                    <a:pt x="103061" y="0"/>
                  </a:lnTo>
                  <a:lnTo>
                    <a:pt x="107252" y="18955"/>
                  </a:lnTo>
                  <a:lnTo>
                    <a:pt x="115538" y="37052"/>
                  </a:lnTo>
                  <a:lnTo>
                    <a:pt x="121634" y="48101"/>
                  </a:lnTo>
                  <a:lnTo>
                    <a:pt x="120491" y="51435"/>
                  </a:lnTo>
                  <a:lnTo>
                    <a:pt x="119729" y="54197"/>
                  </a:lnTo>
                  <a:lnTo>
                    <a:pt x="115633" y="59436"/>
                  </a:lnTo>
                  <a:lnTo>
                    <a:pt x="114681" y="60865"/>
                  </a:lnTo>
                  <a:lnTo>
                    <a:pt x="116872" y="67913"/>
                  </a:lnTo>
                  <a:lnTo>
                    <a:pt x="121539" y="70866"/>
                  </a:lnTo>
                  <a:lnTo>
                    <a:pt x="124873" y="76867"/>
                  </a:lnTo>
                  <a:lnTo>
                    <a:pt x="128778" y="87249"/>
                  </a:lnTo>
                  <a:lnTo>
                    <a:pt x="133636" y="97631"/>
                  </a:lnTo>
                  <a:lnTo>
                    <a:pt x="133636" y="104108"/>
                  </a:lnTo>
                  <a:cubicBezTo>
                    <a:pt x="133636" y="104108"/>
                    <a:pt x="131636" y="108585"/>
                    <a:pt x="131636" y="108585"/>
                  </a:cubicBezTo>
                  <a:lnTo>
                    <a:pt x="128873" y="112395"/>
                  </a:lnTo>
                  <a:lnTo>
                    <a:pt x="125921" y="115348"/>
                  </a:lnTo>
                  <a:lnTo>
                    <a:pt x="121253" y="118300"/>
                  </a:lnTo>
                  <a:lnTo>
                    <a:pt x="117253" y="119729"/>
                  </a:lnTo>
                  <a:lnTo>
                    <a:pt x="103442" y="130397"/>
                  </a:lnTo>
                  <a:lnTo>
                    <a:pt x="100965" y="134493"/>
                  </a:lnTo>
                  <a:lnTo>
                    <a:pt x="100965" y="134684"/>
                  </a:lnTo>
                </a:path>
              </a:pathLst>
            </a:custGeom>
            <a:grpFill/>
            <a:ln w="2381" cap="sq">
              <a:noFill/>
              <a:prstDash val="solid"/>
              <a:bevel/>
            </a:ln>
          </p:spPr>
          <p:txBody>
            <a:bodyPr rtlCol="0" anchor="ctr"/>
            <a:lstStyle/>
            <a:p>
              <a:endParaRPr lang="cs-CZ"/>
            </a:p>
          </p:txBody>
        </p:sp>
        <p:sp>
          <p:nvSpPr>
            <p:cNvPr id="193" name="Freeform: Shape 192">
              <a:extLst>
                <a:ext uri="{FF2B5EF4-FFF2-40B4-BE49-F238E27FC236}">
                  <a16:creationId xmlns:a16="http://schemas.microsoft.com/office/drawing/2014/main" id="{BC5F5C1B-C6B7-AFFE-DE29-EF0FA3DF6A8C}"/>
                </a:ext>
              </a:extLst>
            </p:cNvPr>
            <p:cNvSpPr/>
            <p:nvPr/>
          </p:nvSpPr>
          <p:spPr>
            <a:xfrm>
              <a:off x="12514038" y="8058845"/>
              <a:ext cx="239268" cy="402335"/>
            </a:xfrm>
            <a:custGeom>
              <a:avLst/>
              <a:gdLst>
                <a:gd name="connsiteX0" fmla="*/ 54293 w 239268"/>
                <a:gd name="connsiteY0" fmla="*/ 400431 h 402335"/>
                <a:gd name="connsiteX1" fmla="*/ 40291 w 239268"/>
                <a:gd name="connsiteY1" fmla="*/ 399383 h 402335"/>
                <a:gd name="connsiteX2" fmla="*/ 0 w 239268"/>
                <a:gd name="connsiteY2" fmla="*/ 382143 h 402335"/>
                <a:gd name="connsiteX3" fmla="*/ 0 w 239268"/>
                <a:gd name="connsiteY3" fmla="*/ 381952 h 402335"/>
                <a:gd name="connsiteX4" fmla="*/ 2667 w 239268"/>
                <a:gd name="connsiteY4" fmla="*/ 377857 h 402335"/>
                <a:gd name="connsiteX5" fmla="*/ 16478 w 239268"/>
                <a:gd name="connsiteY5" fmla="*/ 367189 h 402335"/>
                <a:gd name="connsiteX6" fmla="*/ 20479 w 239268"/>
                <a:gd name="connsiteY6" fmla="*/ 365760 h 402335"/>
                <a:gd name="connsiteX7" fmla="*/ 25146 w 239268"/>
                <a:gd name="connsiteY7" fmla="*/ 362807 h 402335"/>
                <a:gd name="connsiteX8" fmla="*/ 28099 w 239268"/>
                <a:gd name="connsiteY8" fmla="*/ 359855 h 402335"/>
                <a:gd name="connsiteX9" fmla="*/ 30861 w 239268"/>
                <a:gd name="connsiteY9" fmla="*/ 356044 h 402335"/>
                <a:gd name="connsiteX10" fmla="*/ 32956 w 239268"/>
                <a:gd name="connsiteY10" fmla="*/ 351568 h 402335"/>
                <a:gd name="connsiteX11" fmla="*/ 32956 w 239268"/>
                <a:gd name="connsiteY11" fmla="*/ 345091 h 402335"/>
                <a:gd name="connsiteX12" fmla="*/ 27908 w 239268"/>
                <a:gd name="connsiteY12" fmla="*/ 334709 h 402335"/>
                <a:gd name="connsiteX13" fmla="*/ 24003 w 239268"/>
                <a:gd name="connsiteY13" fmla="*/ 324326 h 402335"/>
                <a:gd name="connsiteX14" fmla="*/ 20669 w 239268"/>
                <a:gd name="connsiteY14" fmla="*/ 318325 h 402335"/>
                <a:gd name="connsiteX15" fmla="*/ 16002 w 239268"/>
                <a:gd name="connsiteY15" fmla="*/ 315373 h 402335"/>
                <a:gd name="connsiteX16" fmla="*/ 13811 w 239268"/>
                <a:gd name="connsiteY16" fmla="*/ 308324 h 402335"/>
                <a:gd name="connsiteX17" fmla="*/ 14764 w 239268"/>
                <a:gd name="connsiteY17" fmla="*/ 306896 h 402335"/>
                <a:gd name="connsiteX18" fmla="*/ 18860 w 239268"/>
                <a:gd name="connsiteY18" fmla="*/ 301657 h 402335"/>
                <a:gd name="connsiteX19" fmla="*/ 19622 w 239268"/>
                <a:gd name="connsiteY19" fmla="*/ 298894 h 402335"/>
                <a:gd name="connsiteX20" fmla="*/ 20765 w 239268"/>
                <a:gd name="connsiteY20" fmla="*/ 295561 h 402335"/>
                <a:gd name="connsiteX21" fmla="*/ 14669 w 239268"/>
                <a:gd name="connsiteY21" fmla="*/ 284512 h 402335"/>
                <a:gd name="connsiteX22" fmla="*/ 23527 w 239268"/>
                <a:gd name="connsiteY22" fmla="*/ 280321 h 402335"/>
                <a:gd name="connsiteX23" fmla="*/ 27242 w 239268"/>
                <a:gd name="connsiteY23" fmla="*/ 275844 h 402335"/>
                <a:gd name="connsiteX24" fmla="*/ 31814 w 239268"/>
                <a:gd name="connsiteY24" fmla="*/ 258794 h 402335"/>
                <a:gd name="connsiteX25" fmla="*/ 31528 w 239268"/>
                <a:gd name="connsiteY25" fmla="*/ 248221 h 402335"/>
                <a:gd name="connsiteX26" fmla="*/ 26575 w 239268"/>
                <a:gd name="connsiteY26" fmla="*/ 240030 h 402335"/>
                <a:gd name="connsiteX27" fmla="*/ 22098 w 239268"/>
                <a:gd name="connsiteY27" fmla="*/ 234601 h 402335"/>
                <a:gd name="connsiteX28" fmla="*/ 21146 w 239268"/>
                <a:gd name="connsiteY28" fmla="*/ 229838 h 402335"/>
                <a:gd name="connsiteX29" fmla="*/ 22955 w 239268"/>
                <a:gd name="connsiteY29" fmla="*/ 225457 h 402335"/>
                <a:gd name="connsiteX30" fmla="*/ 27527 w 239268"/>
                <a:gd name="connsiteY30" fmla="*/ 224028 h 402335"/>
                <a:gd name="connsiteX31" fmla="*/ 38672 w 239268"/>
                <a:gd name="connsiteY31" fmla="*/ 218503 h 402335"/>
                <a:gd name="connsiteX32" fmla="*/ 39910 w 239268"/>
                <a:gd name="connsiteY32" fmla="*/ 209550 h 402335"/>
                <a:gd name="connsiteX33" fmla="*/ 10954 w 239268"/>
                <a:gd name="connsiteY33" fmla="*/ 204692 h 402335"/>
                <a:gd name="connsiteX34" fmla="*/ 13716 w 239268"/>
                <a:gd name="connsiteY34" fmla="*/ 197929 h 402335"/>
                <a:gd name="connsiteX35" fmla="*/ 18288 w 239268"/>
                <a:gd name="connsiteY35" fmla="*/ 193643 h 402335"/>
                <a:gd name="connsiteX36" fmla="*/ 23527 w 239268"/>
                <a:gd name="connsiteY36" fmla="*/ 184975 h 402335"/>
                <a:gd name="connsiteX37" fmla="*/ 26003 w 239268"/>
                <a:gd name="connsiteY37" fmla="*/ 179927 h 402335"/>
                <a:gd name="connsiteX38" fmla="*/ 38291 w 239268"/>
                <a:gd name="connsiteY38" fmla="*/ 169545 h 402335"/>
                <a:gd name="connsiteX39" fmla="*/ 41910 w 239268"/>
                <a:gd name="connsiteY39" fmla="*/ 166688 h 402335"/>
                <a:gd name="connsiteX40" fmla="*/ 41529 w 239268"/>
                <a:gd name="connsiteY40" fmla="*/ 163449 h 402335"/>
                <a:gd name="connsiteX41" fmla="*/ 39815 w 239268"/>
                <a:gd name="connsiteY41" fmla="*/ 155067 h 402335"/>
                <a:gd name="connsiteX42" fmla="*/ 40481 w 239268"/>
                <a:gd name="connsiteY42" fmla="*/ 152495 h 402335"/>
                <a:gd name="connsiteX43" fmla="*/ 39243 w 239268"/>
                <a:gd name="connsiteY43" fmla="*/ 149352 h 402335"/>
                <a:gd name="connsiteX44" fmla="*/ 33338 w 239268"/>
                <a:gd name="connsiteY44" fmla="*/ 143827 h 402335"/>
                <a:gd name="connsiteX45" fmla="*/ 25432 w 239268"/>
                <a:gd name="connsiteY45" fmla="*/ 140779 h 402335"/>
                <a:gd name="connsiteX46" fmla="*/ 15621 w 239268"/>
                <a:gd name="connsiteY46" fmla="*/ 133636 h 402335"/>
                <a:gd name="connsiteX47" fmla="*/ 23051 w 239268"/>
                <a:gd name="connsiteY47" fmla="*/ 121539 h 402335"/>
                <a:gd name="connsiteX48" fmla="*/ 31909 w 239268"/>
                <a:gd name="connsiteY48" fmla="*/ 113919 h 402335"/>
                <a:gd name="connsiteX49" fmla="*/ 48863 w 239268"/>
                <a:gd name="connsiteY49" fmla="*/ 105156 h 402335"/>
                <a:gd name="connsiteX50" fmla="*/ 57531 w 239268"/>
                <a:gd name="connsiteY50" fmla="*/ 93250 h 402335"/>
                <a:gd name="connsiteX51" fmla="*/ 49816 w 239268"/>
                <a:gd name="connsiteY51" fmla="*/ 61531 h 402335"/>
                <a:gd name="connsiteX52" fmla="*/ 42481 w 239268"/>
                <a:gd name="connsiteY52" fmla="*/ 56102 h 402335"/>
                <a:gd name="connsiteX53" fmla="*/ 32861 w 239268"/>
                <a:gd name="connsiteY53" fmla="*/ 7429 h 402335"/>
                <a:gd name="connsiteX54" fmla="*/ 50292 w 239268"/>
                <a:gd name="connsiteY54" fmla="*/ 0 h 402335"/>
                <a:gd name="connsiteX55" fmla="*/ 81820 w 239268"/>
                <a:gd name="connsiteY55" fmla="*/ 2381 h 402335"/>
                <a:gd name="connsiteX56" fmla="*/ 86963 w 239268"/>
                <a:gd name="connsiteY56" fmla="*/ 3715 h 402335"/>
                <a:gd name="connsiteX57" fmla="*/ 96869 w 239268"/>
                <a:gd name="connsiteY57" fmla="*/ 3715 h 402335"/>
                <a:gd name="connsiteX58" fmla="*/ 113729 w 239268"/>
                <a:gd name="connsiteY58" fmla="*/ 14002 h 402335"/>
                <a:gd name="connsiteX59" fmla="*/ 128397 w 239268"/>
                <a:gd name="connsiteY59" fmla="*/ 30194 h 402335"/>
                <a:gd name="connsiteX60" fmla="*/ 132779 w 239268"/>
                <a:gd name="connsiteY60" fmla="*/ 41719 h 402335"/>
                <a:gd name="connsiteX61" fmla="*/ 138875 w 239268"/>
                <a:gd name="connsiteY61" fmla="*/ 51625 h 402335"/>
                <a:gd name="connsiteX62" fmla="*/ 152686 w 239268"/>
                <a:gd name="connsiteY62" fmla="*/ 67246 h 402335"/>
                <a:gd name="connsiteX63" fmla="*/ 148781 w 239268"/>
                <a:gd name="connsiteY63" fmla="*/ 87249 h 402335"/>
                <a:gd name="connsiteX64" fmla="*/ 150495 w 239268"/>
                <a:gd name="connsiteY64" fmla="*/ 89821 h 402335"/>
                <a:gd name="connsiteX65" fmla="*/ 147447 w 239268"/>
                <a:gd name="connsiteY65" fmla="*/ 106966 h 402335"/>
                <a:gd name="connsiteX66" fmla="*/ 126016 w 239268"/>
                <a:gd name="connsiteY66" fmla="*/ 112014 h 402335"/>
                <a:gd name="connsiteX67" fmla="*/ 126016 w 239268"/>
                <a:gd name="connsiteY67" fmla="*/ 123444 h 402335"/>
                <a:gd name="connsiteX68" fmla="*/ 114205 w 239268"/>
                <a:gd name="connsiteY68" fmla="*/ 127254 h 402335"/>
                <a:gd name="connsiteX69" fmla="*/ 119063 w 239268"/>
                <a:gd name="connsiteY69" fmla="*/ 139922 h 402335"/>
                <a:gd name="connsiteX70" fmla="*/ 129540 w 239268"/>
                <a:gd name="connsiteY70" fmla="*/ 133540 h 402335"/>
                <a:gd name="connsiteX71" fmla="*/ 137731 w 239268"/>
                <a:gd name="connsiteY71" fmla="*/ 144971 h 402335"/>
                <a:gd name="connsiteX72" fmla="*/ 119253 w 239268"/>
                <a:gd name="connsiteY72" fmla="*/ 156591 h 402335"/>
                <a:gd name="connsiteX73" fmla="*/ 103918 w 239268"/>
                <a:gd name="connsiteY73" fmla="*/ 153829 h 402335"/>
                <a:gd name="connsiteX74" fmla="*/ 93631 w 239268"/>
                <a:gd name="connsiteY74" fmla="*/ 159829 h 402335"/>
                <a:gd name="connsiteX75" fmla="*/ 98774 w 239268"/>
                <a:gd name="connsiteY75" fmla="*/ 173450 h 402335"/>
                <a:gd name="connsiteX76" fmla="*/ 116586 w 239268"/>
                <a:gd name="connsiteY76" fmla="*/ 187928 h 402335"/>
                <a:gd name="connsiteX77" fmla="*/ 114205 w 239268"/>
                <a:gd name="connsiteY77" fmla="*/ 208026 h 402335"/>
                <a:gd name="connsiteX78" fmla="*/ 128492 w 239268"/>
                <a:gd name="connsiteY78" fmla="*/ 214884 h 402335"/>
                <a:gd name="connsiteX79" fmla="*/ 140684 w 239268"/>
                <a:gd name="connsiteY79" fmla="*/ 203740 h 402335"/>
                <a:gd name="connsiteX80" fmla="*/ 156210 w 239268"/>
                <a:gd name="connsiteY80" fmla="*/ 196691 h 402335"/>
                <a:gd name="connsiteX81" fmla="*/ 152686 w 239268"/>
                <a:gd name="connsiteY81" fmla="*/ 183166 h 402335"/>
                <a:gd name="connsiteX82" fmla="*/ 161258 w 239268"/>
                <a:gd name="connsiteY82" fmla="*/ 175927 h 402335"/>
                <a:gd name="connsiteX83" fmla="*/ 175355 w 239268"/>
                <a:gd name="connsiteY83" fmla="*/ 189262 h 402335"/>
                <a:gd name="connsiteX84" fmla="*/ 189929 w 239268"/>
                <a:gd name="connsiteY84" fmla="*/ 198120 h 402335"/>
                <a:gd name="connsiteX85" fmla="*/ 208026 w 239268"/>
                <a:gd name="connsiteY85" fmla="*/ 203168 h 402335"/>
                <a:gd name="connsiteX86" fmla="*/ 219170 w 239268"/>
                <a:gd name="connsiteY86" fmla="*/ 223456 h 402335"/>
                <a:gd name="connsiteX87" fmla="*/ 228219 w 239268"/>
                <a:gd name="connsiteY87" fmla="*/ 241173 h 402335"/>
                <a:gd name="connsiteX88" fmla="*/ 230315 w 239268"/>
                <a:gd name="connsiteY88" fmla="*/ 266414 h 402335"/>
                <a:gd name="connsiteX89" fmla="*/ 239268 w 239268"/>
                <a:gd name="connsiteY89" fmla="*/ 277940 h 402335"/>
                <a:gd name="connsiteX90" fmla="*/ 227743 w 239268"/>
                <a:gd name="connsiteY90" fmla="*/ 281273 h 402335"/>
                <a:gd name="connsiteX91" fmla="*/ 222885 w 239268"/>
                <a:gd name="connsiteY91" fmla="*/ 288226 h 402335"/>
                <a:gd name="connsiteX92" fmla="*/ 215837 w 239268"/>
                <a:gd name="connsiteY92" fmla="*/ 291941 h 402335"/>
                <a:gd name="connsiteX93" fmla="*/ 211169 w 239268"/>
                <a:gd name="connsiteY93" fmla="*/ 298990 h 402335"/>
                <a:gd name="connsiteX94" fmla="*/ 197930 w 239268"/>
                <a:gd name="connsiteY94" fmla="*/ 303657 h 402335"/>
                <a:gd name="connsiteX95" fmla="*/ 193643 w 239268"/>
                <a:gd name="connsiteY95" fmla="*/ 305943 h 402335"/>
                <a:gd name="connsiteX96" fmla="*/ 188405 w 239268"/>
                <a:gd name="connsiteY96" fmla="*/ 316040 h 402335"/>
                <a:gd name="connsiteX97" fmla="*/ 182880 w 239268"/>
                <a:gd name="connsiteY97" fmla="*/ 322897 h 402335"/>
                <a:gd name="connsiteX98" fmla="*/ 180213 w 239268"/>
                <a:gd name="connsiteY98" fmla="*/ 326231 h 402335"/>
                <a:gd name="connsiteX99" fmla="*/ 180213 w 239268"/>
                <a:gd name="connsiteY99" fmla="*/ 328898 h 402335"/>
                <a:gd name="connsiteX100" fmla="*/ 180975 w 239268"/>
                <a:gd name="connsiteY100" fmla="*/ 330994 h 402335"/>
                <a:gd name="connsiteX101" fmla="*/ 183833 w 239268"/>
                <a:gd name="connsiteY101" fmla="*/ 333851 h 402335"/>
                <a:gd name="connsiteX102" fmla="*/ 183833 w 239268"/>
                <a:gd name="connsiteY102" fmla="*/ 337280 h 402335"/>
                <a:gd name="connsiteX103" fmla="*/ 182975 w 239268"/>
                <a:gd name="connsiteY103" fmla="*/ 341947 h 402335"/>
                <a:gd name="connsiteX104" fmla="*/ 181070 w 239268"/>
                <a:gd name="connsiteY104" fmla="*/ 348901 h 402335"/>
                <a:gd name="connsiteX105" fmla="*/ 179356 w 239268"/>
                <a:gd name="connsiteY105" fmla="*/ 352330 h 402335"/>
                <a:gd name="connsiteX106" fmla="*/ 178594 w 239268"/>
                <a:gd name="connsiteY106" fmla="*/ 354997 h 402335"/>
                <a:gd name="connsiteX107" fmla="*/ 178403 w 239268"/>
                <a:gd name="connsiteY107" fmla="*/ 358807 h 402335"/>
                <a:gd name="connsiteX108" fmla="*/ 193072 w 239268"/>
                <a:gd name="connsiteY108" fmla="*/ 357664 h 402335"/>
                <a:gd name="connsiteX109" fmla="*/ 195167 w 239268"/>
                <a:gd name="connsiteY109" fmla="*/ 361283 h 402335"/>
                <a:gd name="connsiteX110" fmla="*/ 192977 w 239268"/>
                <a:gd name="connsiteY110" fmla="*/ 368713 h 402335"/>
                <a:gd name="connsiteX111" fmla="*/ 191929 w 239268"/>
                <a:gd name="connsiteY111" fmla="*/ 373380 h 402335"/>
                <a:gd name="connsiteX112" fmla="*/ 191072 w 239268"/>
                <a:gd name="connsiteY112" fmla="*/ 390144 h 402335"/>
                <a:gd name="connsiteX113" fmla="*/ 192024 w 239268"/>
                <a:gd name="connsiteY113" fmla="*/ 397764 h 402335"/>
                <a:gd name="connsiteX114" fmla="*/ 192024 w 239268"/>
                <a:gd name="connsiteY114" fmla="*/ 398050 h 402335"/>
                <a:gd name="connsiteX115" fmla="*/ 186976 w 239268"/>
                <a:gd name="connsiteY115" fmla="*/ 396430 h 402335"/>
                <a:gd name="connsiteX116" fmla="*/ 174117 w 239268"/>
                <a:gd name="connsiteY116" fmla="*/ 396050 h 402335"/>
                <a:gd name="connsiteX117" fmla="*/ 147256 w 239268"/>
                <a:gd name="connsiteY117" fmla="*/ 402336 h 402335"/>
                <a:gd name="connsiteX118" fmla="*/ 135160 w 239268"/>
                <a:gd name="connsiteY118" fmla="*/ 400336 h 402335"/>
                <a:gd name="connsiteX119" fmla="*/ 134684 w 239268"/>
                <a:gd name="connsiteY119" fmla="*/ 398050 h 402335"/>
                <a:gd name="connsiteX120" fmla="*/ 135160 w 239268"/>
                <a:gd name="connsiteY120" fmla="*/ 393668 h 402335"/>
                <a:gd name="connsiteX121" fmla="*/ 134684 w 239268"/>
                <a:gd name="connsiteY121" fmla="*/ 388430 h 402335"/>
                <a:gd name="connsiteX122" fmla="*/ 131350 w 239268"/>
                <a:gd name="connsiteY122" fmla="*/ 383572 h 402335"/>
                <a:gd name="connsiteX123" fmla="*/ 128111 w 239268"/>
                <a:gd name="connsiteY123" fmla="*/ 382334 h 402335"/>
                <a:gd name="connsiteX124" fmla="*/ 117443 w 239268"/>
                <a:gd name="connsiteY124" fmla="*/ 384143 h 402335"/>
                <a:gd name="connsiteX125" fmla="*/ 90392 w 239268"/>
                <a:gd name="connsiteY125" fmla="*/ 382714 h 402335"/>
                <a:gd name="connsiteX126" fmla="*/ 77915 w 239268"/>
                <a:gd name="connsiteY126" fmla="*/ 386429 h 402335"/>
                <a:gd name="connsiteX127" fmla="*/ 54483 w 239268"/>
                <a:gd name="connsiteY127" fmla="*/ 400431 h 402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239268" h="402335">
                  <a:moveTo>
                    <a:pt x="54293" y="400431"/>
                  </a:moveTo>
                  <a:lnTo>
                    <a:pt x="40291" y="399383"/>
                  </a:lnTo>
                  <a:lnTo>
                    <a:pt x="0" y="382143"/>
                  </a:lnTo>
                  <a:lnTo>
                    <a:pt x="0" y="381952"/>
                  </a:lnTo>
                  <a:cubicBezTo>
                    <a:pt x="0" y="381952"/>
                    <a:pt x="2667" y="377857"/>
                    <a:pt x="2667" y="377857"/>
                  </a:cubicBezTo>
                  <a:lnTo>
                    <a:pt x="16478" y="367189"/>
                  </a:lnTo>
                  <a:lnTo>
                    <a:pt x="20479" y="365760"/>
                  </a:lnTo>
                  <a:lnTo>
                    <a:pt x="25146" y="362807"/>
                  </a:lnTo>
                  <a:lnTo>
                    <a:pt x="28099" y="359855"/>
                  </a:lnTo>
                  <a:lnTo>
                    <a:pt x="30861" y="356044"/>
                  </a:lnTo>
                  <a:lnTo>
                    <a:pt x="32956" y="351568"/>
                  </a:lnTo>
                  <a:lnTo>
                    <a:pt x="32956" y="345091"/>
                  </a:lnTo>
                  <a:cubicBezTo>
                    <a:pt x="32956" y="345091"/>
                    <a:pt x="27908" y="334709"/>
                    <a:pt x="27908" y="334709"/>
                  </a:cubicBezTo>
                  <a:lnTo>
                    <a:pt x="24003" y="324326"/>
                  </a:lnTo>
                  <a:lnTo>
                    <a:pt x="20669" y="318325"/>
                  </a:lnTo>
                  <a:lnTo>
                    <a:pt x="16002" y="315373"/>
                  </a:lnTo>
                  <a:lnTo>
                    <a:pt x="13811" y="308324"/>
                  </a:lnTo>
                  <a:lnTo>
                    <a:pt x="14764" y="306896"/>
                  </a:lnTo>
                  <a:lnTo>
                    <a:pt x="18860" y="301657"/>
                  </a:lnTo>
                  <a:lnTo>
                    <a:pt x="19622" y="298894"/>
                  </a:lnTo>
                  <a:lnTo>
                    <a:pt x="20765" y="295561"/>
                  </a:lnTo>
                  <a:lnTo>
                    <a:pt x="14669" y="284512"/>
                  </a:lnTo>
                  <a:lnTo>
                    <a:pt x="23527" y="280321"/>
                  </a:lnTo>
                  <a:lnTo>
                    <a:pt x="27242" y="275844"/>
                  </a:lnTo>
                  <a:lnTo>
                    <a:pt x="31814" y="258794"/>
                  </a:lnTo>
                  <a:lnTo>
                    <a:pt x="31528" y="248221"/>
                  </a:lnTo>
                  <a:lnTo>
                    <a:pt x="26575" y="240030"/>
                  </a:lnTo>
                  <a:lnTo>
                    <a:pt x="22098" y="234601"/>
                  </a:lnTo>
                  <a:lnTo>
                    <a:pt x="21146" y="229838"/>
                  </a:lnTo>
                  <a:lnTo>
                    <a:pt x="22955" y="225457"/>
                  </a:lnTo>
                  <a:lnTo>
                    <a:pt x="27527" y="224028"/>
                  </a:lnTo>
                  <a:lnTo>
                    <a:pt x="38672" y="218503"/>
                  </a:lnTo>
                  <a:lnTo>
                    <a:pt x="39910" y="209550"/>
                  </a:lnTo>
                  <a:lnTo>
                    <a:pt x="10954" y="204692"/>
                  </a:lnTo>
                  <a:lnTo>
                    <a:pt x="13716" y="197929"/>
                  </a:lnTo>
                  <a:lnTo>
                    <a:pt x="18288" y="193643"/>
                  </a:lnTo>
                  <a:lnTo>
                    <a:pt x="23527" y="184975"/>
                  </a:lnTo>
                  <a:lnTo>
                    <a:pt x="26003" y="179927"/>
                  </a:lnTo>
                  <a:lnTo>
                    <a:pt x="38291" y="169545"/>
                  </a:lnTo>
                  <a:lnTo>
                    <a:pt x="41910" y="166688"/>
                  </a:lnTo>
                  <a:lnTo>
                    <a:pt x="41529" y="163449"/>
                  </a:lnTo>
                  <a:lnTo>
                    <a:pt x="39815" y="155067"/>
                  </a:lnTo>
                  <a:lnTo>
                    <a:pt x="40481" y="152495"/>
                  </a:lnTo>
                  <a:lnTo>
                    <a:pt x="39243" y="149352"/>
                  </a:lnTo>
                  <a:lnTo>
                    <a:pt x="33338" y="143827"/>
                  </a:lnTo>
                  <a:lnTo>
                    <a:pt x="25432" y="140779"/>
                  </a:lnTo>
                  <a:lnTo>
                    <a:pt x="15621" y="133636"/>
                  </a:lnTo>
                  <a:lnTo>
                    <a:pt x="23051" y="121539"/>
                  </a:lnTo>
                  <a:lnTo>
                    <a:pt x="31909" y="113919"/>
                  </a:lnTo>
                  <a:lnTo>
                    <a:pt x="48863" y="105156"/>
                  </a:lnTo>
                  <a:lnTo>
                    <a:pt x="57531" y="93250"/>
                  </a:lnTo>
                  <a:lnTo>
                    <a:pt x="49816" y="61531"/>
                  </a:lnTo>
                  <a:lnTo>
                    <a:pt x="42481" y="56102"/>
                  </a:lnTo>
                  <a:lnTo>
                    <a:pt x="32861" y="7429"/>
                  </a:lnTo>
                  <a:lnTo>
                    <a:pt x="50292" y="0"/>
                  </a:lnTo>
                  <a:lnTo>
                    <a:pt x="81820" y="2381"/>
                  </a:lnTo>
                  <a:lnTo>
                    <a:pt x="86963" y="3715"/>
                  </a:lnTo>
                  <a:lnTo>
                    <a:pt x="96869" y="3715"/>
                  </a:lnTo>
                  <a:cubicBezTo>
                    <a:pt x="96869" y="3715"/>
                    <a:pt x="113729" y="14002"/>
                    <a:pt x="113729" y="14002"/>
                  </a:cubicBezTo>
                  <a:lnTo>
                    <a:pt x="128397" y="30194"/>
                  </a:lnTo>
                  <a:lnTo>
                    <a:pt x="132779" y="41719"/>
                  </a:lnTo>
                  <a:lnTo>
                    <a:pt x="138875" y="51625"/>
                  </a:lnTo>
                  <a:lnTo>
                    <a:pt x="152686" y="67246"/>
                  </a:lnTo>
                  <a:lnTo>
                    <a:pt x="148781" y="87249"/>
                  </a:lnTo>
                  <a:lnTo>
                    <a:pt x="150495" y="89821"/>
                  </a:lnTo>
                  <a:lnTo>
                    <a:pt x="147447" y="106966"/>
                  </a:lnTo>
                  <a:lnTo>
                    <a:pt x="126016" y="112014"/>
                  </a:lnTo>
                  <a:lnTo>
                    <a:pt x="126016" y="123444"/>
                  </a:lnTo>
                  <a:lnTo>
                    <a:pt x="114205" y="127254"/>
                  </a:lnTo>
                  <a:lnTo>
                    <a:pt x="119063" y="139922"/>
                  </a:lnTo>
                  <a:lnTo>
                    <a:pt x="129540" y="133540"/>
                  </a:lnTo>
                  <a:lnTo>
                    <a:pt x="137731" y="144971"/>
                  </a:lnTo>
                  <a:lnTo>
                    <a:pt x="119253" y="156591"/>
                  </a:lnTo>
                  <a:lnTo>
                    <a:pt x="103918" y="153829"/>
                  </a:lnTo>
                  <a:lnTo>
                    <a:pt x="93631" y="159829"/>
                  </a:lnTo>
                  <a:lnTo>
                    <a:pt x="98774" y="173450"/>
                  </a:lnTo>
                  <a:lnTo>
                    <a:pt x="116586" y="187928"/>
                  </a:lnTo>
                  <a:lnTo>
                    <a:pt x="114205" y="208026"/>
                  </a:lnTo>
                  <a:lnTo>
                    <a:pt x="128492" y="214884"/>
                  </a:lnTo>
                  <a:lnTo>
                    <a:pt x="140684" y="203740"/>
                  </a:lnTo>
                  <a:lnTo>
                    <a:pt x="156210" y="196691"/>
                  </a:lnTo>
                  <a:lnTo>
                    <a:pt x="152686" y="183166"/>
                  </a:lnTo>
                  <a:lnTo>
                    <a:pt x="161258" y="175927"/>
                  </a:lnTo>
                  <a:lnTo>
                    <a:pt x="175355" y="189262"/>
                  </a:lnTo>
                  <a:lnTo>
                    <a:pt x="189929" y="198120"/>
                  </a:lnTo>
                  <a:lnTo>
                    <a:pt x="208026" y="203168"/>
                  </a:lnTo>
                  <a:lnTo>
                    <a:pt x="219170" y="223456"/>
                  </a:lnTo>
                  <a:lnTo>
                    <a:pt x="228219" y="241173"/>
                  </a:lnTo>
                  <a:lnTo>
                    <a:pt x="230315" y="266414"/>
                  </a:lnTo>
                  <a:lnTo>
                    <a:pt x="239268" y="277940"/>
                  </a:lnTo>
                  <a:lnTo>
                    <a:pt x="227743" y="281273"/>
                  </a:lnTo>
                  <a:lnTo>
                    <a:pt x="222885" y="288226"/>
                  </a:lnTo>
                  <a:lnTo>
                    <a:pt x="215837" y="291941"/>
                  </a:lnTo>
                  <a:lnTo>
                    <a:pt x="211169" y="298990"/>
                  </a:lnTo>
                  <a:lnTo>
                    <a:pt x="197930" y="303657"/>
                  </a:lnTo>
                  <a:lnTo>
                    <a:pt x="193643" y="305943"/>
                  </a:lnTo>
                  <a:lnTo>
                    <a:pt x="188405" y="316040"/>
                  </a:lnTo>
                  <a:lnTo>
                    <a:pt x="182880" y="322897"/>
                  </a:lnTo>
                  <a:lnTo>
                    <a:pt x="180213" y="326231"/>
                  </a:lnTo>
                  <a:lnTo>
                    <a:pt x="180213" y="328898"/>
                  </a:lnTo>
                  <a:cubicBezTo>
                    <a:pt x="180213" y="328898"/>
                    <a:pt x="180975" y="330994"/>
                    <a:pt x="180975" y="330994"/>
                  </a:cubicBezTo>
                  <a:lnTo>
                    <a:pt x="183833" y="333851"/>
                  </a:lnTo>
                  <a:lnTo>
                    <a:pt x="183833" y="337280"/>
                  </a:lnTo>
                  <a:cubicBezTo>
                    <a:pt x="183833" y="337280"/>
                    <a:pt x="182975" y="341947"/>
                    <a:pt x="182975" y="341947"/>
                  </a:cubicBezTo>
                  <a:lnTo>
                    <a:pt x="181070" y="348901"/>
                  </a:lnTo>
                  <a:lnTo>
                    <a:pt x="179356" y="352330"/>
                  </a:lnTo>
                  <a:lnTo>
                    <a:pt x="178594" y="354997"/>
                  </a:lnTo>
                  <a:lnTo>
                    <a:pt x="178403" y="358807"/>
                  </a:lnTo>
                  <a:lnTo>
                    <a:pt x="193072" y="357664"/>
                  </a:lnTo>
                  <a:lnTo>
                    <a:pt x="195167" y="361283"/>
                  </a:lnTo>
                  <a:lnTo>
                    <a:pt x="192977" y="368713"/>
                  </a:lnTo>
                  <a:lnTo>
                    <a:pt x="191929" y="373380"/>
                  </a:lnTo>
                  <a:lnTo>
                    <a:pt x="191072" y="390144"/>
                  </a:lnTo>
                  <a:lnTo>
                    <a:pt x="192024" y="397764"/>
                  </a:lnTo>
                  <a:lnTo>
                    <a:pt x="192024" y="398050"/>
                  </a:lnTo>
                  <a:cubicBezTo>
                    <a:pt x="192024" y="398050"/>
                    <a:pt x="186976" y="396430"/>
                    <a:pt x="186976" y="396430"/>
                  </a:cubicBezTo>
                  <a:lnTo>
                    <a:pt x="174117" y="396050"/>
                  </a:lnTo>
                  <a:lnTo>
                    <a:pt x="147256" y="402336"/>
                  </a:lnTo>
                  <a:lnTo>
                    <a:pt x="135160" y="400336"/>
                  </a:lnTo>
                  <a:lnTo>
                    <a:pt x="134684" y="398050"/>
                  </a:lnTo>
                  <a:lnTo>
                    <a:pt x="135160" y="393668"/>
                  </a:lnTo>
                  <a:lnTo>
                    <a:pt x="134684" y="388430"/>
                  </a:lnTo>
                  <a:lnTo>
                    <a:pt x="131350" y="383572"/>
                  </a:lnTo>
                  <a:lnTo>
                    <a:pt x="128111" y="382334"/>
                  </a:lnTo>
                  <a:lnTo>
                    <a:pt x="117443" y="384143"/>
                  </a:lnTo>
                  <a:lnTo>
                    <a:pt x="90392" y="382714"/>
                  </a:lnTo>
                  <a:lnTo>
                    <a:pt x="77915" y="386429"/>
                  </a:lnTo>
                  <a:lnTo>
                    <a:pt x="54483" y="400431"/>
                  </a:lnTo>
                </a:path>
              </a:pathLst>
            </a:custGeom>
            <a:grpFill/>
            <a:ln w="2381" cap="sq">
              <a:noFill/>
              <a:prstDash val="solid"/>
              <a:bevel/>
            </a:ln>
          </p:spPr>
          <p:txBody>
            <a:bodyPr rtlCol="0" anchor="ctr"/>
            <a:lstStyle/>
            <a:p>
              <a:endParaRPr lang="cs-CZ"/>
            </a:p>
          </p:txBody>
        </p:sp>
        <p:sp>
          <p:nvSpPr>
            <p:cNvPr id="194" name="Freeform: Shape 193">
              <a:extLst>
                <a:ext uri="{FF2B5EF4-FFF2-40B4-BE49-F238E27FC236}">
                  <a16:creationId xmlns:a16="http://schemas.microsoft.com/office/drawing/2014/main" id="{3CB2A43A-0EFE-C408-5B44-E735F911C8DE}"/>
                </a:ext>
              </a:extLst>
            </p:cNvPr>
            <p:cNvSpPr/>
            <p:nvPr/>
          </p:nvSpPr>
          <p:spPr>
            <a:xfrm>
              <a:off x="12692346" y="8336785"/>
              <a:ext cx="124301" cy="133921"/>
            </a:xfrm>
            <a:custGeom>
              <a:avLst/>
              <a:gdLst>
                <a:gd name="connsiteX0" fmla="*/ 56579 w 124301"/>
                <a:gd name="connsiteY0" fmla="*/ 133921 h 133921"/>
                <a:gd name="connsiteX1" fmla="*/ 13621 w 124301"/>
                <a:gd name="connsiteY1" fmla="*/ 120110 h 133921"/>
                <a:gd name="connsiteX2" fmla="*/ 13621 w 124301"/>
                <a:gd name="connsiteY2" fmla="*/ 119824 h 133921"/>
                <a:gd name="connsiteX3" fmla="*/ 12668 w 124301"/>
                <a:gd name="connsiteY3" fmla="*/ 112204 h 133921"/>
                <a:gd name="connsiteX4" fmla="*/ 13525 w 124301"/>
                <a:gd name="connsiteY4" fmla="*/ 95440 h 133921"/>
                <a:gd name="connsiteX5" fmla="*/ 14573 w 124301"/>
                <a:gd name="connsiteY5" fmla="*/ 90773 h 133921"/>
                <a:gd name="connsiteX6" fmla="*/ 16764 w 124301"/>
                <a:gd name="connsiteY6" fmla="*/ 83344 h 133921"/>
                <a:gd name="connsiteX7" fmla="*/ 14669 w 124301"/>
                <a:gd name="connsiteY7" fmla="*/ 79724 h 133921"/>
                <a:gd name="connsiteX8" fmla="*/ 0 w 124301"/>
                <a:gd name="connsiteY8" fmla="*/ 80867 h 133921"/>
                <a:gd name="connsiteX9" fmla="*/ 191 w 124301"/>
                <a:gd name="connsiteY9" fmla="*/ 77057 h 133921"/>
                <a:gd name="connsiteX10" fmla="*/ 952 w 124301"/>
                <a:gd name="connsiteY10" fmla="*/ 74390 h 133921"/>
                <a:gd name="connsiteX11" fmla="*/ 2667 w 124301"/>
                <a:gd name="connsiteY11" fmla="*/ 70961 h 133921"/>
                <a:gd name="connsiteX12" fmla="*/ 4572 w 124301"/>
                <a:gd name="connsiteY12" fmla="*/ 64008 h 133921"/>
                <a:gd name="connsiteX13" fmla="*/ 5525 w 124301"/>
                <a:gd name="connsiteY13" fmla="*/ 59341 h 133921"/>
                <a:gd name="connsiteX14" fmla="*/ 5525 w 124301"/>
                <a:gd name="connsiteY14" fmla="*/ 55912 h 133921"/>
                <a:gd name="connsiteX15" fmla="*/ 2477 w 124301"/>
                <a:gd name="connsiteY15" fmla="*/ 53054 h 133921"/>
                <a:gd name="connsiteX16" fmla="*/ 1810 w 124301"/>
                <a:gd name="connsiteY16" fmla="*/ 50959 h 133921"/>
                <a:gd name="connsiteX17" fmla="*/ 1810 w 124301"/>
                <a:gd name="connsiteY17" fmla="*/ 48292 h 133921"/>
                <a:gd name="connsiteX18" fmla="*/ 4381 w 124301"/>
                <a:gd name="connsiteY18" fmla="*/ 44958 h 133921"/>
                <a:gd name="connsiteX19" fmla="*/ 9906 w 124301"/>
                <a:gd name="connsiteY19" fmla="*/ 38100 h 133921"/>
                <a:gd name="connsiteX20" fmla="*/ 15145 w 124301"/>
                <a:gd name="connsiteY20" fmla="*/ 28003 h 133921"/>
                <a:gd name="connsiteX21" fmla="*/ 19431 w 124301"/>
                <a:gd name="connsiteY21" fmla="*/ 25717 h 133921"/>
                <a:gd name="connsiteX22" fmla="*/ 32671 w 124301"/>
                <a:gd name="connsiteY22" fmla="*/ 21050 h 133921"/>
                <a:gd name="connsiteX23" fmla="*/ 37338 w 124301"/>
                <a:gd name="connsiteY23" fmla="*/ 14002 h 133921"/>
                <a:gd name="connsiteX24" fmla="*/ 44387 w 124301"/>
                <a:gd name="connsiteY24" fmla="*/ 10287 h 133921"/>
                <a:gd name="connsiteX25" fmla="*/ 49244 w 124301"/>
                <a:gd name="connsiteY25" fmla="*/ 3334 h 133921"/>
                <a:gd name="connsiteX26" fmla="*/ 60770 w 124301"/>
                <a:gd name="connsiteY26" fmla="*/ 0 h 133921"/>
                <a:gd name="connsiteX27" fmla="*/ 70675 w 124301"/>
                <a:gd name="connsiteY27" fmla="*/ 381 h 133921"/>
                <a:gd name="connsiteX28" fmla="*/ 75533 w 124301"/>
                <a:gd name="connsiteY28" fmla="*/ 17431 h 133921"/>
                <a:gd name="connsiteX29" fmla="*/ 77629 w 124301"/>
                <a:gd name="connsiteY29" fmla="*/ 38862 h 133921"/>
                <a:gd name="connsiteX30" fmla="*/ 78296 w 124301"/>
                <a:gd name="connsiteY30" fmla="*/ 54007 h 133921"/>
                <a:gd name="connsiteX31" fmla="*/ 88773 w 124301"/>
                <a:gd name="connsiteY31" fmla="*/ 61531 h 133921"/>
                <a:gd name="connsiteX32" fmla="*/ 108299 w 124301"/>
                <a:gd name="connsiteY32" fmla="*/ 71628 h 133921"/>
                <a:gd name="connsiteX33" fmla="*/ 124301 w 124301"/>
                <a:gd name="connsiteY33" fmla="*/ 81724 h 133921"/>
                <a:gd name="connsiteX34" fmla="*/ 113157 w 124301"/>
                <a:gd name="connsiteY34" fmla="*/ 94298 h 133921"/>
                <a:gd name="connsiteX35" fmla="*/ 99250 w 124301"/>
                <a:gd name="connsiteY35" fmla="*/ 84201 h 133921"/>
                <a:gd name="connsiteX36" fmla="*/ 90202 w 124301"/>
                <a:gd name="connsiteY36" fmla="*/ 84201 h 133921"/>
                <a:gd name="connsiteX37" fmla="*/ 92297 w 124301"/>
                <a:gd name="connsiteY37" fmla="*/ 98012 h 133921"/>
                <a:gd name="connsiteX38" fmla="*/ 79724 w 124301"/>
                <a:gd name="connsiteY38" fmla="*/ 106775 h 133921"/>
                <a:gd name="connsiteX39" fmla="*/ 77629 w 124301"/>
                <a:gd name="connsiteY39" fmla="*/ 120586 h 133921"/>
                <a:gd name="connsiteX40" fmla="*/ 67151 w 124301"/>
                <a:gd name="connsiteY40" fmla="*/ 126873 h 133921"/>
                <a:gd name="connsiteX41" fmla="*/ 56483 w 124301"/>
                <a:gd name="connsiteY41" fmla="*/ 133731 h 133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4301" h="133921">
                  <a:moveTo>
                    <a:pt x="56579" y="133921"/>
                  </a:moveTo>
                  <a:lnTo>
                    <a:pt x="13621" y="120110"/>
                  </a:lnTo>
                  <a:lnTo>
                    <a:pt x="13621" y="119824"/>
                  </a:lnTo>
                  <a:cubicBezTo>
                    <a:pt x="13621" y="119824"/>
                    <a:pt x="12668" y="112204"/>
                    <a:pt x="12668" y="112204"/>
                  </a:cubicBezTo>
                  <a:lnTo>
                    <a:pt x="13525" y="95440"/>
                  </a:lnTo>
                  <a:lnTo>
                    <a:pt x="14573" y="90773"/>
                  </a:lnTo>
                  <a:lnTo>
                    <a:pt x="16764" y="83344"/>
                  </a:lnTo>
                  <a:lnTo>
                    <a:pt x="14669" y="79724"/>
                  </a:lnTo>
                  <a:lnTo>
                    <a:pt x="0" y="80867"/>
                  </a:lnTo>
                  <a:lnTo>
                    <a:pt x="191" y="77057"/>
                  </a:lnTo>
                  <a:lnTo>
                    <a:pt x="952" y="74390"/>
                  </a:lnTo>
                  <a:lnTo>
                    <a:pt x="2667" y="70961"/>
                  </a:lnTo>
                  <a:lnTo>
                    <a:pt x="4572" y="64008"/>
                  </a:lnTo>
                  <a:lnTo>
                    <a:pt x="5525" y="59341"/>
                  </a:lnTo>
                  <a:lnTo>
                    <a:pt x="5525" y="55912"/>
                  </a:lnTo>
                  <a:cubicBezTo>
                    <a:pt x="5525" y="55912"/>
                    <a:pt x="2477" y="53054"/>
                    <a:pt x="2477" y="53054"/>
                  </a:cubicBezTo>
                  <a:lnTo>
                    <a:pt x="1810" y="50959"/>
                  </a:lnTo>
                  <a:lnTo>
                    <a:pt x="1810" y="48292"/>
                  </a:lnTo>
                  <a:cubicBezTo>
                    <a:pt x="1810" y="48292"/>
                    <a:pt x="4381" y="44958"/>
                    <a:pt x="4381" y="44958"/>
                  </a:cubicBezTo>
                  <a:lnTo>
                    <a:pt x="9906" y="38100"/>
                  </a:lnTo>
                  <a:lnTo>
                    <a:pt x="15145" y="28003"/>
                  </a:lnTo>
                  <a:lnTo>
                    <a:pt x="19431" y="25717"/>
                  </a:lnTo>
                  <a:lnTo>
                    <a:pt x="32671" y="21050"/>
                  </a:lnTo>
                  <a:lnTo>
                    <a:pt x="37338" y="14002"/>
                  </a:lnTo>
                  <a:lnTo>
                    <a:pt x="44387" y="10287"/>
                  </a:lnTo>
                  <a:lnTo>
                    <a:pt x="49244" y="3334"/>
                  </a:lnTo>
                  <a:lnTo>
                    <a:pt x="60770" y="0"/>
                  </a:lnTo>
                  <a:lnTo>
                    <a:pt x="70675" y="381"/>
                  </a:lnTo>
                  <a:lnTo>
                    <a:pt x="75533" y="17431"/>
                  </a:lnTo>
                  <a:lnTo>
                    <a:pt x="77629" y="38862"/>
                  </a:lnTo>
                  <a:lnTo>
                    <a:pt x="78296" y="54007"/>
                  </a:lnTo>
                  <a:lnTo>
                    <a:pt x="88773" y="61531"/>
                  </a:lnTo>
                  <a:lnTo>
                    <a:pt x="108299" y="71628"/>
                  </a:lnTo>
                  <a:lnTo>
                    <a:pt x="124301" y="81724"/>
                  </a:lnTo>
                  <a:lnTo>
                    <a:pt x="113157" y="94298"/>
                  </a:lnTo>
                  <a:lnTo>
                    <a:pt x="99250" y="84201"/>
                  </a:lnTo>
                  <a:lnTo>
                    <a:pt x="90202" y="84201"/>
                  </a:lnTo>
                  <a:lnTo>
                    <a:pt x="92297" y="98012"/>
                  </a:lnTo>
                  <a:lnTo>
                    <a:pt x="79724" y="106775"/>
                  </a:lnTo>
                  <a:lnTo>
                    <a:pt x="77629" y="120586"/>
                  </a:lnTo>
                  <a:lnTo>
                    <a:pt x="67151" y="126873"/>
                  </a:lnTo>
                  <a:lnTo>
                    <a:pt x="56483" y="133731"/>
                  </a:lnTo>
                </a:path>
              </a:pathLst>
            </a:custGeom>
            <a:grpFill/>
            <a:ln w="2381" cap="sq">
              <a:noFill/>
              <a:prstDash val="solid"/>
              <a:bevel/>
            </a:ln>
          </p:spPr>
          <p:txBody>
            <a:bodyPr rtlCol="0" anchor="ctr"/>
            <a:lstStyle/>
            <a:p>
              <a:endParaRPr lang="cs-CZ"/>
            </a:p>
          </p:txBody>
        </p:sp>
        <p:sp>
          <p:nvSpPr>
            <p:cNvPr id="195" name="Freeform: Shape 194">
              <a:extLst>
                <a:ext uri="{FF2B5EF4-FFF2-40B4-BE49-F238E27FC236}">
                  <a16:creationId xmlns:a16="http://schemas.microsoft.com/office/drawing/2014/main" id="{5FC0D2E8-5CA3-5067-5EA5-F0BC0CD2F3E1}"/>
                </a:ext>
              </a:extLst>
            </p:cNvPr>
            <p:cNvSpPr/>
            <p:nvPr/>
          </p:nvSpPr>
          <p:spPr>
            <a:xfrm>
              <a:off x="13398530" y="8524808"/>
              <a:ext cx="146304" cy="136397"/>
            </a:xfrm>
            <a:custGeom>
              <a:avLst/>
              <a:gdLst>
                <a:gd name="connsiteX0" fmla="*/ 56769 w 146304"/>
                <a:gd name="connsiteY0" fmla="*/ 136398 h 136397"/>
                <a:gd name="connsiteX1" fmla="*/ 45434 w 146304"/>
                <a:gd name="connsiteY1" fmla="*/ 123444 h 136397"/>
                <a:gd name="connsiteX2" fmla="*/ 23050 w 146304"/>
                <a:gd name="connsiteY2" fmla="*/ 107823 h 136397"/>
                <a:gd name="connsiteX3" fmla="*/ 18288 w 146304"/>
                <a:gd name="connsiteY3" fmla="*/ 103060 h 136397"/>
                <a:gd name="connsiteX4" fmla="*/ 14859 w 146304"/>
                <a:gd name="connsiteY4" fmla="*/ 95821 h 136397"/>
                <a:gd name="connsiteX5" fmla="*/ 7620 w 146304"/>
                <a:gd name="connsiteY5" fmla="*/ 72295 h 136397"/>
                <a:gd name="connsiteX6" fmla="*/ 4763 w 146304"/>
                <a:gd name="connsiteY6" fmla="*/ 66104 h 136397"/>
                <a:gd name="connsiteX7" fmla="*/ 0 w 146304"/>
                <a:gd name="connsiteY7" fmla="*/ 64008 h 136397"/>
                <a:gd name="connsiteX8" fmla="*/ 9430 w 146304"/>
                <a:gd name="connsiteY8" fmla="*/ 35814 h 136397"/>
                <a:gd name="connsiteX9" fmla="*/ 17240 w 146304"/>
                <a:gd name="connsiteY9" fmla="*/ 18669 h 136397"/>
                <a:gd name="connsiteX10" fmla="*/ 17240 w 146304"/>
                <a:gd name="connsiteY10" fmla="*/ 4667 h 136397"/>
                <a:gd name="connsiteX11" fmla="*/ 41529 w 146304"/>
                <a:gd name="connsiteY11" fmla="*/ 3143 h 136397"/>
                <a:gd name="connsiteX12" fmla="*/ 58864 w 146304"/>
                <a:gd name="connsiteY12" fmla="*/ 0 h 136397"/>
                <a:gd name="connsiteX13" fmla="*/ 73628 w 146304"/>
                <a:gd name="connsiteY13" fmla="*/ 6287 h 136397"/>
                <a:gd name="connsiteX14" fmla="*/ 88392 w 146304"/>
                <a:gd name="connsiteY14" fmla="*/ 9430 h 136397"/>
                <a:gd name="connsiteX15" fmla="*/ 96202 w 146304"/>
                <a:gd name="connsiteY15" fmla="*/ 23432 h 136397"/>
                <a:gd name="connsiteX16" fmla="*/ 99631 w 146304"/>
                <a:gd name="connsiteY16" fmla="*/ 45244 h 136397"/>
                <a:gd name="connsiteX17" fmla="*/ 116110 w 146304"/>
                <a:gd name="connsiteY17" fmla="*/ 54578 h 136397"/>
                <a:gd name="connsiteX18" fmla="*/ 127349 w 146304"/>
                <a:gd name="connsiteY18" fmla="*/ 60770 h 136397"/>
                <a:gd name="connsiteX19" fmla="*/ 127349 w 146304"/>
                <a:gd name="connsiteY19" fmla="*/ 74771 h 136397"/>
                <a:gd name="connsiteX20" fmla="*/ 130778 w 146304"/>
                <a:gd name="connsiteY20" fmla="*/ 87249 h 136397"/>
                <a:gd name="connsiteX21" fmla="*/ 141160 w 146304"/>
                <a:gd name="connsiteY21" fmla="*/ 88773 h 136397"/>
                <a:gd name="connsiteX22" fmla="*/ 146304 w 146304"/>
                <a:gd name="connsiteY22" fmla="*/ 108966 h 136397"/>
                <a:gd name="connsiteX23" fmla="*/ 139351 w 146304"/>
                <a:gd name="connsiteY23" fmla="*/ 103442 h 136397"/>
                <a:gd name="connsiteX24" fmla="*/ 132302 w 146304"/>
                <a:gd name="connsiteY24" fmla="*/ 108109 h 136397"/>
                <a:gd name="connsiteX25" fmla="*/ 129445 w 146304"/>
                <a:gd name="connsiteY25" fmla="*/ 111347 h 136397"/>
                <a:gd name="connsiteX26" fmla="*/ 118681 w 146304"/>
                <a:gd name="connsiteY26" fmla="*/ 120396 h 136397"/>
                <a:gd name="connsiteX27" fmla="*/ 113728 w 146304"/>
                <a:gd name="connsiteY27" fmla="*/ 121158 h 136397"/>
                <a:gd name="connsiteX28" fmla="*/ 107632 w 146304"/>
                <a:gd name="connsiteY28" fmla="*/ 114871 h 136397"/>
                <a:gd name="connsiteX29" fmla="*/ 103632 w 146304"/>
                <a:gd name="connsiteY29" fmla="*/ 108299 h 136397"/>
                <a:gd name="connsiteX30" fmla="*/ 70675 w 146304"/>
                <a:gd name="connsiteY30" fmla="*/ 78391 h 136397"/>
                <a:gd name="connsiteX31" fmla="*/ 72009 w 146304"/>
                <a:gd name="connsiteY31" fmla="*/ 87630 h 136397"/>
                <a:gd name="connsiteX32" fmla="*/ 73342 w 146304"/>
                <a:gd name="connsiteY32" fmla="*/ 91345 h 136397"/>
                <a:gd name="connsiteX33" fmla="*/ 78391 w 146304"/>
                <a:gd name="connsiteY33" fmla="*/ 99155 h 136397"/>
                <a:gd name="connsiteX34" fmla="*/ 79534 w 146304"/>
                <a:gd name="connsiteY34" fmla="*/ 102299 h 136397"/>
                <a:gd name="connsiteX35" fmla="*/ 81820 w 146304"/>
                <a:gd name="connsiteY35" fmla="*/ 107061 h 136397"/>
                <a:gd name="connsiteX36" fmla="*/ 77533 w 146304"/>
                <a:gd name="connsiteY36" fmla="*/ 111919 h 136397"/>
                <a:gd name="connsiteX37" fmla="*/ 75914 w 146304"/>
                <a:gd name="connsiteY37" fmla="*/ 118491 h 136397"/>
                <a:gd name="connsiteX38" fmla="*/ 73152 w 146304"/>
                <a:gd name="connsiteY38" fmla="*/ 123634 h 136397"/>
                <a:gd name="connsiteX39" fmla="*/ 62675 w 146304"/>
                <a:gd name="connsiteY39" fmla="*/ 130492 h 136397"/>
                <a:gd name="connsiteX40" fmla="*/ 56864 w 146304"/>
                <a:gd name="connsiteY40" fmla="*/ 136017 h 136397"/>
                <a:gd name="connsiteX41" fmla="*/ 56864 w 146304"/>
                <a:gd name="connsiteY41" fmla="*/ 136017 h 13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6304" h="136397">
                  <a:moveTo>
                    <a:pt x="56769" y="136398"/>
                  </a:moveTo>
                  <a:lnTo>
                    <a:pt x="45434" y="123444"/>
                  </a:lnTo>
                  <a:lnTo>
                    <a:pt x="23050" y="107823"/>
                  </a:lnTo>
                  <a:lnTo>
                    <a:pt x="18288" y="103060"/>
                  </a:lnTo>
                  <a:lnTo>
                    <a:pt x="14859" y="95821"/>
                  </a:lnTo>
                  <a:lnTo>
                    <a:pt x="7620" y="72295"/>
                  </a:lnTo>
                  <a:lnTo>
                    <a:pt x="4763" y="66104"/>
                  </a:lnTo>
                  <a:lnTo>
                    <a:pt x="0" y="64008"/>
                  </a:lnTo>
                  <a:lnTo>
                    <a:pt x="9430" y="35814"/>
                  </a:lnTo>
                  <a:lnTo>
                    <a:pt x="17240" y="18669"/>
                  </a:lnTo>
                  <a:lnTo>
                    <a:pt x="17240" y="4667"/>
                  </a:lnTo>
                  <a:lnTo>
                    <a:pt x="41529" y="3143"/>
                  </a:lnTo>
                  <a:lnTo>
                    <a:pt x="58864" y="0"/>
                  </a:lnTo>
                  <a:lnTo>
                    <a:pt x="73628" y="6287"/>
                  </a:lnTo>
                  <a:lnTo>
                    <a:pt x="88392" y="9430"/>
                  </a:lnTo>
                  <a:lnTo>
                    <a:pt x="96202" y="23432"/>
                  </a:lnTo>
                  <a:lnTo>
                    <a:pt x="99631" y="45244"/>
                  </a:lnTo>
                  <a:lnTo>
                    <a:pt x="116110" y="54578"/>
                  </a:lnTo>
                  <a:lnTo>
                    <a:pt x="127349" y="60770"/>
                  </a:lnTo>
                  <a:lnTo>
                    <a:pt x="127349" y="74771"/>
                  </a:lnTo>
                  <a:lnTo>
                    <a:pt x="130778" y="87249"/>
                  </a:lnTo>
                  <a:lnTo>
                    <a:pt x="141160" y="88773"/>
                  </a:lnTo>
                  <a:lnTo>
                    <a:pt x="146304" y="108966"/>
                  </a:lnTo>
                  <a:lnTo>
                    <a:pt x="139351" y="103442"/>
                  </a:lnTo>
                  <a:lnTo>
                    <a:pt x="132302" y="108109"/>
                  </a:lnTo>
                  <a:lnTo>
                    <a:pt x="129445" y="111347"/>
                  </a:lnTo>
                  <a:lnTo>
                    <a:pt x="118681" y="120396"/>
                  </a:lnTo>
                  <a:lnTo>
                    <a:pt x="113728" y="121158"/>
                  </a:lnTo>
                  <a:lnTo>
                    <a:pt x="107632" y="114871"/>
                  </a:lnTo>
                  <a:lnTo>
                    <a:pt x="103632" y="108299"/>
                  </a:lnTo>
                  <a:lnTo>
                    <a:pt x="70675" y="78391"/>
                  </a:lnTo>
                  <a:lnTo>
                    <a:pt x="72009" y="87630"/>
                  </a:lnTo>
                  <a:lnTo>
                    <a:pt x="73342" y="91345"/>
                  </a:lnTo>
                  <a:lnTo>
                    <a:pt x="78391" y="99155"/>
                  </a:lnTo>
                  <a:lnTo>
                    <a:pt x="79534" y="102299"/>
                  </a:lnTo>
                  <a:lnTo>
                    <a:pt x="81820" y="107061"/>
                  </a:lnTo>
                  <a:lnTo>
                    <a:pt x="77533" y="111919"/>
                  </a:lnTo>
                  <a:lnTo>
                    <a:pt x="75914" y="118491"/>
                  </a:lnTo>
                  <a:lnTo>
                    <a:pt x="73152" y="123634"/>
                  </a:lnTo>
                  <a:lnTo>
                    <a:pt x="62675" y="130492"/>
                  </a:lnTo>
                  <a:lnTo>
                    <a:pt x="56864" y="136017"/>
                  </a:lnTo>
                  <a:lnTo>
                    <a:pt x="56864" y="136017"/>
                  </a:lnTo>
                </a:path>
              </a:pathLst>
            </a:custGeom>
            <a:grpFill/>
            <a:ln w="2381" cap="sq">
              <a:noFill/>
              <a:prstDash val="solid"/>
              <a:bevel/>
            </a:ln>
          </p:spPr>
          <p:txBody>
            <a:bodyPr rtlCol="0" anchor="ctr"/>
            <a:lstStyle/>
            <a:p>
              <a:endParaRPr lang="cs-CZ"/>
            </a:p>
          </p:txBody>
        </p:sp>
        <p:sp>
          <p:nvSpPr>
            <p:cNvPr id="196" name="Freeform: Shape 195">
              <a:extLst>
                <a:ext uri="{FF2B5EF4-FFF2-40B4-BE49-F238E27FC236}">
                  <a16:creationId xmlns:a16="http://schemas.microsoft.com/office/drawing/2014/main" id="{76FB6437-48BA-5799-0B81-E52BCD80FF93}"/>
                </a:ext>
              </a:extLst>
            </p:cNvPr>
            <p:cNvSpPr/>
            <p:nvPr/>
          </p:nvSpPr>
          <p:spPr>
            <a:xfrm>
              <a:off x="13455299" y="8572814"/>
              <a:ext cx="232410" cy="257556"/>
            </a:xfrm>
            <a:custGeom>
              <a:avLst/>
              <a:gdLst>
                <a:gd name="connsiteX0" fmla="*/ 64579 w 232410"/>
                <a:gd name="connsiteY0" fmla="*/ 145256 h 257556"/>
                <a:gd name="connsiteX1" fmla="*/ 29528 w 232410"/>
                <a:gd name="connsiteY1" fmla="*/ 121825 h 257556"/>
                <a:gd name="connsiteX2" fmla="*/ 0 w 232410"/>
                <a:gd name="connsiteY2" fmla="*/ 88392 h 257556"/>
                <a:gd name="connsiteX3" fmla="*/ 0 w 232410"/>
                <a:gd name="connsiteY3" fmla="*/ 88392 h 257556"/>
                <a:gd name="connsiteX4" fmla="*/ 5810 w 232410"/>
                <a:gd name="connsiteY4" fmla="*/ 82772 h 257556"/>
                <a:gd name="connsiteX5" fmla="*/ 16288 w 232410"/>
                <a:gd name="connsiteY5" fmla="*/ 75914 h 257556"/>
                <a:gd name="connsiteX6" fmla="*/ 19050 w 232410"/>
                <a:gd name="connsiteY6" fmla="*/ 70771 h 257556"/>
                <a:gd name="connsiteX7" fmla="*/ 20669 w 232410"/>
                <a:gd name="connsiteY7" fmla="*/ 64199 h 257556"/>
                <a:gd name="connsiteX8" fmla="*/ 24956 w 232410"/>
                <a:gd name="connsiteY8" fmla="*/ 59341 h 257556"/>
                <a:gd name="connsiteX9" fmla="*/ 22670 w 232410"/>
                <a:gd name="connsiteY9" fmla="*/ 54578 h 257556"/>
                <a:gd name="connsiteX10" fmla="*/ 21527 w 232410"/>
                <a:gd name="connsiteY10" fmla="*/ 51435 h 257556"/>
                <a:gd name="connsiteX11" fmla="*/ 16478 w 232410"/>
                <a:gd name="connsiteY11" fmla="*/ 43625 h 257556"/>
                <a:gd name="connsiteX12" fmla="*/ 15145 w 232410"/>
                <a:gd name="connsiteY12" fmla="*/ 39910 h 257556"/>
                <a:gd name="connsiteX13" fmla="*/ 13811 w 232410"/>
                <a:gd name="connsiteY13" fmla="*/ 30671 h 257556"/>
                <a:gd name="connsiteX14" fmla="*/ 46768 w 232410"/>
                <a:gd name="connsiteY14" fmla="*/ 60579 h 257556"/>
                <a:gd name="connsiteX15" fmla="*/ 50768 w 232410"/>
                <a:gd name="connsiteY15" fmla="*/ 67151 h 257556"/>
                <a:gd name="connsiteX16" fmla="*/ 56864 w 232410"/>
                <a:gd name="connsiteY16" fmla="*/ 73438 h 257556"/>
                <a:gd name="connsiteX17" fmla="*/ 61817 w 232410"/>
                <a:gd name="connsiteY17" fmla="*/ 72676 h 257556"/>
                <a:gd name="connsiteX18" fmla="*/ 72581 w 232410"/>
                <a:gd name="connsiteY18" fmla="*/ 63627 h 257556"/>
                <a:gd name="connsiteX19" fmla="*/ 75438 w 232410"/>
                <a:gd name="connsiteY19" fmla="*/ 60389 h 257556"/>
                <a:gd name="connsiteX20" fmla="*/ 82487 w 232410"/>
                <a:gd name="connsiteY20" fmla="*/ 55721 h 257556"/>
                <a:gd name="connsiteX21" fmla="*/ 89440 w 232410"/>
                <a:gd name="connsiteY21" fmla="*/ 61246 h 257556"/>
                <a:gd name="connsiteX22" fmla="*/ 93917 w 232410"/>
                <a:gd name="connsiteY22" fmla="*/ 68771 h 257556"/>
                <a:gd name="connsiteX23" fmla="*/ 97536 w 232410"/>
                <a:gd name="connsiteY23" fmla="*/ 70295 h 257556"/>
                <a:gd name="connsiteX24" fmla="*/ 102489 w 232410"/>
                <a:gd name="connsiteY24" fmla="*/ 69342 h 257556"/>
                <a:gd name="connsiteX25" fmla="*/ 110490 w 232410"/>
                <a:gd name="connsiteY25" fmla="*/ 61627 h 257556"/>
                <a:gd name="connsiteX26" fmla="*/ 115538 w 232410"/>
                <a:gd name="connsiteY26" fmla="*/ 54102 h 257556"/>
                <a:gd name="connsiteX27" fmla="*/ 117538 w 232410"/>
                <a:gd name="connsiteY27" fmla="*/ 49625 h 257556"/>
                <a:gd name="connsiteX28" fmla="*/ 121825 w 232410"/>
                <a:gd name="connsiteY28" fmla="*/ 45815 h 257556"/>
                <a:gd name="connsiteX29" fmla="*/ 126492 w 232410"/>
                <a:gd name="connsiteY29" fmla="*/ 46387 h 257556"/>
                <a:gd name="connsiteX30" fmla="*/ 129921 w 232410"/>
                <a:gd name="connsiteY30" fmla="*/ 48006 h 257556"/>
                <a:gd name="connsiteX31" fmla="*/ 138970 w 232410"/>
                <a:gd name="connsiteY31" fmla="*/ 40481 h 257556"/>
                <a:gd name="connsiteX32" fmla="*/ 139160 w 232410"/>
                <a:gd name="connsiteY32" fmla="*/ 34100 h 257556"/>
                <a:gd name="connsiteX33" fmla="*/ 138494 w 232410"/>
                <a:gd name="connsiteY33" fmla="*/ 32195 h 257556"/>
                <a:gd name="connsiteX34" fmla="*/ 133636 w 232410"/>
                <a:gd name="connsiteY34" fmla="*/ 25146 h 257556"/>
                <a:gd name="connsiteX35" fmla="*/ 159639 w 232410"/>
                <a:gd name="connsiteY35" fmla="*/ 2477 h 257556"/>
                <a:gd name="connsiteX36" fmla="*/ 165068 w 232410"/>
                <a:gd name="connsiteY36" fmla="*/ 762 h 257556"/>
                <a:gd name="connsiteX37" fmla="*/ 174308 w 232410"/>
                <a:gd name="connsiteY37" fmla="*/ 0 h 257556"/>
                <a:gd name="connsiteX38" fmla="*/ 179642 w 232410"/>
                <a:gd name="connsiteY38" fmla="*/ 3524 h 257556"/>
                <a:gd name="connsiteX39" fmla="*/ 189357 w 232410"/>
                <a:gd name="connsiteY39" fmla="*/ 5715 h 257556"/>
                <a:gd name="connsiteX40" fmla="*/ 198215 w 232410"/>
                <a:gd name="connsiteY40" fmla="*/ 9525 h 257556"/>
                <a:gd name="connsiteX41" fmla="*/ 201359 w 232410"/>
                <a:gd name="connsiteY41" fmla="*/ 11716 h 257556"/>
                <a:gd name="connsiteX42" fmla="*/ 203073 w 232410"/>
                <a:gd name="connsiteY42" fmla="*/ 14859 h 257556"/>
                <a:gd name="connsiteX43" fmla="*/ 204311 w 232410"/>
                <a:gd name="connsiteY43" fmla="*/ 17907 h 257556"/>
                <a:gd name="connsiteX44" fmla="*/ 203454 w 232410"/>
                <a:gd name="connsiteY44" fmla="*/ 22479 h 257556"/>
                <a:gd name="connsiteX45" fmla="*/ 202121 w 232410"/>
                <a:gd name="connsiteY45" fmla="*/ 25432 h 257556"/>
                <a:gd name="connsiteX46" fmla="*/ 202597 w 232410"/>
                <a:gd name="connsiteY46" fmla="*/ 31052 h 257556"/>
                <a:gd name="connsiteX47" fmla="*/ 213932 w 232410"/>
                <a:gd name="connsiteY47" fmla="*/ 51530 h 257556"/>
                <a:gd name="connsiteX48" fmla="*/ 215075 w 232410"/>
                <a:gd name="connsiteY48" fmla="*/ 65627 h 257556"/>
                <a:gd name="connsiteX49" fmla="*/ 218408 w 232410"/>
                <a:gd name="connsiteY49" fmla="*/ 78010 h 257556"/>
                <a:gd name="connsiteX50" fmla="*/ 223361 w 232410"/>
                <a:gd name="connsiteY50" fmla="*/ 86106 h 257556"/>
                <a:gd name="connsiteX51" fmla="*/ 221742 w 232410"/>
                <a:gd name="connsiteY51" fmla="*/ 101537 h 257556"/>
                <a:gd name="connsiteX52" fmla="*/ 226028 w 232410"/>
                <a:gd name="connsiteY52" fmla="*/ 118205 h 257556"/>
                <a:gd name="connsiteX53" fmla="*/ 232410 w 232410"/>
                <a:gd name="connsiteY53" fmla="*/ 132112 h 257556"/>
                <a:gd name="connsiteX54" fmla="*/ 224409 w 232410"/>
                <a:gd name="connsiteY54" fmla="*/ 148685 h 257556"/>
                <a:gd name="connsiteX55" fmla="*/ 210884 w 232410"/>
                <a:gd name="connsiteY55" fmla="*/ 140684 h 257556"/>
                <a:gd name="connsiteX56" fmla="*/ 203168 w 232410"/>
                <a:gd name="connsiteY56" fmla="*/ 151067 h 257556"/>
                <a:gd name="connsiteX57" fmla="*/ 192881 w 232410"/>
                <a:gd name="connsiteY57" fmla="*/ 157925 h 257556"/>
                <a:gd name="connsiteX58" fmla="*/ 190976 w 232410"/>
                <a:gd name="connsiteY58" fmla="*/ 169450 h 257556"/>
                <a:gd name="connsiteX59" fmla="*/ 197453 w 232410"/>
                <a:gd name="connsiteY59" fmla="*/ 174022 h 257556"/>
                <a:gd name="connsiteX60" fmla="*/ 203835 w 232410"/>
                <a:gd name="connsiteY60" fmla="*/ 180880 h 257556"/>
                <a:gd name="connsiteX61" fmla="*/ 187071 w 232410"/>
                <a:gd name="connsiteY61" fmla="*/ 199263 h 257556"/>
                <a:gd name="connsiteX62" fmla="*/ 210217 w 232410"/>
                <a:gd name="connsiteY62" fmla="*/ 227933 h 257556"/>
                <a:gd name="connsiteX63" fmla="*/ 215360 w 232410"/>
                <a:gd name="connsiteY63" fmla="*/ 248603 h 257556"/>
                <a:gd name="connsiteX64" fmla="*/ 192786 w 232410"/>
                <a:gd name="connsiteY64" fmla="*/ 250889 h 257556"/>
                <a:gd name="connsiteX65" fmla="*/ 179927 w 232410"/>
                <a:gd name="connsiteY65" fmla="*/ 252032 h 257556"/>
                <a:gd name="connsiteX66" fmla="*/ 167640 w 232410"/>
                <a:gd name="connsiteY66" fmla="*/ 257556 h 257556"/>
                <a:gd name="connsiteX67" fmla="*/ 158591 w 232410"/>
                <a:gd name="connsiteY67" fmla="*/ 236411 h 257556"/>
                <a:gd name="connsiteX68" fmla="*/ 148781 w 232410"/>
                <a:gd name="connsiteY68" fmla="*/ 221075 h 257556"/>
                <a:gd name="connsiteX69" fmla="*/ 110204 w 232410"/>
                <a:gd name="connsiteY69" fmla="*/ 187357 h 257556"/>
                <a:gd name="connsiteX70" fmla="*/ 86106 w 232410"/>
                <a:gd name="connsiteY70" fmla="*/ 160115 h 257556"/>
                <a:gd name="connsiteX71" fmla="*/ 64103 w 232410"/>
                <a:gd name="connsiteY71" fmla="*/ 145447 h 25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32410" h="257556">
                  <a:moveTo>
                    <a:pt x="64579" y="145256"/>
                  </a:moveTo>
                  <a:lnTo>
                    <a:pt x="29528" y="121825"/>
                  </a:lnTo>
                  <a:lnTo>
                    <a:pt x="0" y="88392"/>
                  </a:lnTo>
                  <a:lnTo>
                    <a:pt x="0" y="88392"/>
                  </a:lnTo>
                  <a:cubicBezTo>
                    <a:pt x="0" y="88392"/>
                    <a:pt x="5810" y="82772"/>
                    <a:pt x="5810" y="82772"/>
                  </a:cubicBezTo>
                  <a:lnTo>
                    <a:pt x="16288" y="75914"/>
                  </a:lnTo>
                  <a:lnTo>
                    <a:pt x="19050" y="70771"/>
                  </a:lnTo>
                  <a:lnTo>
                    <a:pt x="20669" y="64199"/>
                  </a:lnTo>
                  <a:lnTo>
                    <a:pt x="24956" y="59341"/>
                  </a:lnTo>
                  <a:lnTo>
                    <a:pt x="22670" y="54578"/>
                  </a:lnTo>
                  <a:lnTo>
                    <a:pt x="21527" y="51435"/>
                  </a:lnTo>
                  <a:lnTo>
                    <a:pt x="16478" y="43625"/>
                  </a:lnTo>
                  <a:lnTo>
                    <a:pt x="15145" y="39910"/>
                  </a:lnTo>
                  <a:lnTo>
                    <a:pt x="13811" y="30671"/>
                  </a:lnTo>
                  <a:lnTo>
                    <a:pt x="46768" y="60579"/>
                  </a:lnTo>
                  <a:lnTo>
                    <a:pt x="50768" y="67151"/>
                  </a:lnTo>
                  <a:lnTo>
                    <a:pt x="56864" y="73438"/>
                  </a:lnTo>
                  <a:lnTo>
                    <a:pt x="61817" y="72676"/>
                  </a:lnTo>
                  <a:lnTo>
                    <a:pt x="72581" y="63627"/>
                  </a:lnTo>
                  <a:lnTo>
                    <a:pt x="75438" y="60389"/>
                  </a:lnTo>
                  <a:lnTo>
                    <a:pt x="82487" y="55721"/>
                  </a:lnTo>
                  <a:lnTo>
                    <a:pt x="89440" y="61246"/>
                  </a:lnTo>
                  <a:lnTo>
                    <a:pt x="93917" y="68771"/>
                  </a:lnTo>
                  <a:lnTo>
                    <a:pt x="97536" y="70295"/>
                  </a:lnTo>
                  <a:lnTo>
                    <a:pt x="102489" y="69342"/>
                  </a:lnTo>
                  <a:lnTo>
                    <a:pt x="110490" y="61627"/>
                  </a:lnTo>
                  <a:lnTo>
                    <a:pt x="115538" y="54102"/>
                  </a:lnTo>
                  <a:lnTo>
                    <a:pt x="117538" y="49625"/>
                  </a:lnTo>
                  <a:lnTo>
                    <a:pt x="121825" y="45815"/>
                  </a:lnTo>
                  <a:lnTo>
                    <a:pt x="126492" y="46387"/>
                  </a:lnTo>
                  <a:lnTo>
                    <a:pt x="129921" y="48006"/>
                  </a:lnTo>
                  <a:lnTo>
                    <a:pt x="138970" y="40481"/>
                  </a:lnTo>
                  <a:lnTo>
                    <a:pt x="139160" y="34100"/>
                  </a:lnTo>
                  <a:lnTo>
                    <a:pt x="138494" y="32195"/>
                  </a:lnTo>
                  <a:lnTo>
                    <a:pt x="133636" y="25146"/>
                  </a:lnTo>
                  <a:lnTo>
                    <a:pt x="159639" y="2477"/>
                  </a:lnTo>
                  <a:lnTo>
                    <a:pt x="165068" y="762"/>
                  </a:lnTo>
                  <a:lnTo>
                    <a:pt x="174308" y="0"/>
                  </a:lnTo>
                  <a:lnTo>
                    <a:pt x="179642" y="3524"/>
                  </a:lnTo>
                  <a:lnTo>
                    <a:pt x="189357" y="5715"/>
                  </a:lnTo>
                  <a:lnTo>
                    <a:pt x="198215" y="9525"/>
                  </a:lnTo>
                  <a:lnTo>
                    <a:pt x="201359" y="11716"/>
                  </a:lnTo>
                  <a:lnTo>
                    <a:pt x="203073" y="14859"/>
                  </a:lnTo>
                  <a:lnTo>
                    <a:pt x="204311" y="17907"/>
                  </a:lnTo>
                  <a:lnTo>
                    <a:pt x="203454" y="22479"/>
                  </a:lnTo>
                  <a:lnTo>
                    <a:pt x="202121" y="25432"/>
                  </a:lnTo>
                  <a:lnTo>
                    <a:pt x="202597" y="31052"/>
                  </a:lnTo>
                  <a:lnTo>
                    <a:pt x="213932" y="51530"/>
                  </a:lnTo>
                  <a:lnTo>
                    <a:pt x="215075" y="65627"/>
                  </a:lnTo>
                  <a:lnTo>
                    <a:pt x="218408" y="78010"/>
                  </a:lnTo>
                  <a:lnTo>
                    <a:pt x="223361" y="86106"/>
                  </a:lnTo>
                  <a:lnTo>
                    <a:pt x="221742" y="101537"/>
                  </a:lnTo>
                  <a:lnTo>
                    <a:pt x="226028" y="118205"/>
                  </a:lnTo>
                  <a:lnTo>
                    <a:pt x="232410" y="132112"/>
                  </a:lnTo>
                  <a:lnTo>
                    <a:pt x="224409" y="148685"/>
                  </a:lnTo>
                  <a:lnTo>
                    <a:pt x="210884" y="140684"/>
                  </a:lnTo>
                  <a:lnTo>
                    <a:pt x="203168" y="151067"/>
                  </a:lnTo>
                  <a:lnTo>
                    <a:pt x="192881" y="157925"/>
                  </a:lnTo>
                  <a:lnTo>
                    <a:pt x="190976" y="169450"/>
                  </a:lnTo>
                  <a:lnTo>
                    <a:pt x="197453" y="174022"/>
                  </a:lnTo>
                  <a:lnTo>
                    <a:pt x="203835" y="180880"/>
                  </a:lnTo>
                  <a:lnTo>
                    <a:pt x="187071" y="199263"/>
                  </a:lnTo>
                  <a:lnTo>
                    <a:pt x="210217" y="227933"/>
                  </a:lnTo>
                  <a:lnTo>
                    <a:pt x="215360" y="248603"/>
                  </a:lnTo>
                  <a:lnTo>
                    <a:pt x="192786" y="250889"/>
                  </a:lnTo>
                  <a:lnTo>
                    <a:pt x="179927" y="252032"/>
                  </a:lnTo>
                  <a:lnTo>
                    <a:pt x="167640" y="257556"/>
                  </a:lnTo>
                  <a:lnTo>
                    <a:pt x="158591" y="236411"/>
                  </a:lnTo>
                  <a:lnTo>
                    <a:pt x="148781" y="221075"/>
                  </a:lnTo>
                  <a:lnTo>
                    <a:pt x="110204" y="187357"/>
                  </a:lnTo>
                  <a:lnTo>
                    <a:pt x="86106" y="160115"/>
                  </a:lnTo>
                  <a:lnTo>
                    <a:pt x="64103" y="145447"/>
                  </a:lnTo>
                </a:path>
              </a:pathLst>
            </a:custGeom>
            <a:grpFill/>
            <a:ln w="2381" cap="sq">
              <a:noFill/>
              <a:prstDash val="solid"/>
              <a:bevel/>
            </a:ln>
          </p:spPr>
          <p:txBody>
            <a:bodyPr rtlCol="0" anchor="ctr"/>
            <a:lstStyle/>
            <a:p>
              <a:endParaRPr lang="cs-CZ"/>
            </a:p>
          </p:txBody>
        </p:sp>
        <p:sp>
          <p:nvSpPr>
            <p:cNvPr id="197" name="Freeform: Shape 196">
              <a:extLst>
                <a:ext uri="{FF2B5EF4-FFF2-40B4-BE49-F238E27FC236}">
                  <a16:creationId xmlns:a16="http://schemas.microsoft.com/office/drawing/2014/main" id="{C26C6C14-E83E-3B44-5F81-CB80A0146224}"/>
                </a:ext>
              </a:extLst>
            </p:cNvPr>
            <p:cNvSpPr/>
            <p:nvPr/>
          </p:nvSpPr>
          <p:spPr>
            <a:xfrm>
              <a:off x="13623320" y="8551764"/>
              <a:ext cx="294132" cy="368331"/>
            </a:xfrm>
            <a:custGeom>
              <a:avLst/>
              <a:gdLst>
                <a:gd name="connsiteX0" fmla="*/ 143161 w 294132"/>
                <a:gd name="connsiteY0" fmla="*/ 368237 h 368331"/>
                <a:gd name="connsiteX1" fmla="*/ 120967 w 294132"/>
                <a:gd name="connsiteY1" fmla="*/ 366522 h 368331"/>
                <a:gd name="connsiteX2" fmla="*/ 98965 w 294132"/>
                <a:gd name="connsiteY2" fmla="*/ 360426 h 368331"/>
                <a:gd name="connsiteX3" fmla="*/ 44958 w 294132"/>
                <a:gd name="connsiteY3" fmla="*/ 334137 h 368331"/>
                <a:gd name="connsiteX4" fmla="*/ 20574 w 294132"/>
                <a:gd name="connsiteY4" fmla="*/ 315563 h 368331"/>
                <a:gd name="connsiteX5" fmla="*/ 0 w 294132"/>
                <a:gd name="connsiteY5" fmla="*/ 278416 h 368331"/>
                <a:gd name="connsiteX6" fmla="*/ 12287 w 294132"/>
                <a:gd name="connsiteY6" fmla="*/ 272891 h 368331"/>
                <a:gd name="connsiteX7" fmla="*/ 25146 w 294132"/>
                <a:gd name="connsiteY7" fmla="*/ 271748 h 368331"/>
                <a:gd name="connsiteX8" fmla="*/ 47720 w 294132"/>
                <a:gd name="connsiteY8" fmla="*/ 269462 h 368331"/>
                <a:gd name="connsiteX9" fmla="*/ 42577 w 294132"/>
                <a:gd name="connsiteY9" fmla="*/ 248793 h 368331"/>
                <a:gd name="connsiteX10" fmla="*/ 19431 w 294132"/>
                <a:gd name="connsiteY10" fmla="*/ 220123 h 368331"/>
                <a:gd name="connsiteX11" fmla="*/ 36195 w 294132"/>
                <a:gd name="connsiteY11" fmla="*/ 201739 h 368331"/>
                <a:gd name="connsiteX12" fmla="*/ 29813 w 294132"/>
                <a:gd name="connsiteY12" fmla="*/ 194881 h 368331"/>
                <a:gd name="connsiteX13" fmla="*/ 23336 w 294132"/>
                <a:gd name="connsiteY13" fmla="*/ 190309 h 368331"/>
                <a:gd name="connsiteX14" fmla="*/ 25241 w 294132"/>
                <a:gd name="connsiteY14" fmla="*/ 178784 h 368331"/>
                <a:gd name="connsiteX15" fmla="*/ 35528 w 294132"/>
                <a:gd name="connsiteY15" fmla="*/ 171926 h 368331"/>
                <a:gd name="connsiteX16" fmla="*/ 43244 w 294132"/>
                <a:gd name="connsiteY16" fmla="*/ 161544 h 368331"/>
                <a:gd name="connsiteX17" fmla="*/ 56769 w 294132"/>
                <a:gd name="connsiteY17" fmla="*/ 169545 h 368331"/>
                <a:gd name="connsiteX18" fmla="*/ 64770 w 294132"/>
                <a:gd name="connsiteY18" fmla="*/ 152971 h 368331"/>
                <a:gd name="connsiteX19" fmla="*/ 58388 w 294132"/>
                <a:gd name="connsiteY19" fmla="*/ 139065 h 368331"/>
                <a:gd name="connsiteX20" fmla="*/ 54102 w 294132"/>
                <a:gd name="connsiteY20" fmla="*/ 122396 h 368331"/>
                <a:gd name="connsiteX21" fmla="*/ 55721 w 294132"/>
                <a:gd name="connsiteY21" fmla="*/ 106966 h 368331"/>
                <a:gd name="connsiteX22" fmla="*/ 50768 w 294132"/>
                <a:gd name="connsiteY22" fmla="*/ 98870 h 368331"/>
                <a:gd name="connsiteX23" fmla="*/ 47435 w 294132"/>
                <a:gd name="connsiteY23" fmla="*/ 86487 h 368331"/>
                <a:gd name="connsiteX24" fmla="*/ 46292 w 294132"/>
                <a:gd name="connsiteY24" fmla="*/ 72390 h 368331"/>
                <a:gd name="connsiteX25" fmla="*/ 45244 w 294132"/>
                <a:gd name="connsiteY25" fmla="*/ 62293 h 368331"/>
                <a:gd name="connsiteX26" fmla="*/ 44482 w 294132"/>
                <a:gd name="connsiteY26" fmla="*/ 43910 h 368331"/>
                <a:gd name="connsiteX27" fmla="*/ 42863 w 294132"/>
                <a:gd name="connsiteY27" fmla="*/ 33242 h 368331"/>
                <a:gd name="connsiteX28" fmla="*/ 39624 w 294132"/>
                <a:gd name="connsiteY28" fmla="*/ 24003 h 368331"/>
                <a:gd name="connsiteX29" fmla="*/ 28956 w 294132"/>
                <a:gd name="connsiteY29" fmla="*/ 9525 h 368331"/>
                <a:gd name="connsiteX30" fmla="*/ 42386 w 294132"/>
                <a:gd name="connsiteY30" fmla="*/ 5048 h 368331"/>
                <a:gd name="connsiteX31" fmla="*/ 60103 w 294132"/>
                <a:gd name="connsiteY31" fmla="*/ 0 h 368331"/>
                <a:gd name="connsiteX32" fmla="*/ 74009 w 294132"/>
                <a:gd name="connsiteY32" fmla="*/ 9334 h 368331"/>
                <a:gd name="connsiteX33" fmla="*/ 89154 w 294132"/>
                <a:gd name="connsiteY33" fmla="*/ 11525 h 368331"/>
                <a:gd name="connsiteX34" fmla="*/ 100489 w 294132"/>
                <a:gd name="connsiteY34" fmla="*/ 20383 h 368331"/>
                <a:gd name="connsiteX35" fmla="*/ 109442 w 294132"/>
                <a:gd name="connsiteY35" fmla="*/ 45148 h 368331"/>
                <a:gd name="connsiteX36" fmla="*/ 122396 w 294132"/>
                <a:gd name="connsiteY36" fmla="*/ 44005 h 368331"/>
                <a:gd name="connsiteX37" fmla="*/ 123635 w 294132"/>
                <a:gd name="connsiteY37" fmla="*/ 38291 h 368331"/>
                <a:gd name="connsiteX38" fmla="*/ 128588 w 294132"/>
                <a:gd name="connsiteY38" fmla="*/ 28194 h 368331"/>
                <a:gd name="connsiteX39" fmla="*/ 134112 w 294132"/>
                <a:gd name="connsiteY39" fmla="*/ 30004 h 368331"/>
                <a:gd name="connsiteX40" fmla="*/ 136303 w 294132"/>
                <a:gd name="connsiteY40" fmla="*/ 34100 h 368331"/>
                <a:gd name="connsiteX41" fmla="*/ 149352 w 294132"/>
                <a:gd name="connsiteY41" fmla="*/ 45148 h 368331"/>
                <a:gd name="connsiteX42" fmla="*/ 153638 w 294132"/>
                <a:gd name="connsiteY42" fmla="*/ 50197 h 368331"/>
                <a:gd name="connsiteX43" fmla="*/ 155258 w 294132"/>
                <a:gd name="connsiteY43" fmla="*/ 52864 h 368331"/>
                <a:gd name="connsiteX44" fmla="*/ 164306 w 294132"/>
                <a:gd name="connsiteY44" fmla="*/ 42958 h 368331"/>
                <a:gd name="connsiteX45" fmla="*/ 179642 w 294132"/>
                <a:gd name="connsiteY45" fmla="*/ 49816 h 368331"/>
                <a:gd name="connsiteX46" fmla="*/ 184690 w 294132"/>
                <a:gd name="connsiteY46" fmla="*/ 54578 h 368331"/>
                <a:gd name="connsiteX47" fmla="*/ 191738 w 294132"/>
                <a:gd name="connsiteY47" fmla="*/ 59817 h 368331"/>
                <a:gd name="connsiteX48" fmla="*/ 203263 w 294132"/>
                <a:gd name="connsiteY48" fmla="*/ 59817 h 368331"/>
                <a:gd name="connsiteX49" fmla="*/ 213550 w 294132"/>
                <a:gd name="connsiteY49" fmla="*/ 57150 h 368331"/>
                <a:gd name="connsiteX50" fmla="*/ 226219 w 294132"/>
                <a:gd name="connsiteY50" fmla="*/ 48577 h 368331"/>
                <a:gd name="connsiteX51" fmla="*/ 232410 w 294132"/>
                <a:gd name="connsiteY51" fmla="*/ 47054 h 368331"/>
                <a:gd name="connsiteX52" fmla="*/ 237649 w 294132"/>
                <a:gd name="connsiteY52" fmla="*/ 47054 h 368331"/>
                <a:gd name="connsiteX53" fmla="*/ 241840 w 294132"/>
                <a:gd name="connsiteY53" fmla="*/ 50959 h 368331"/>
                <a:gd name="connsiteX54" fmla="*/ 251460 w 294132"/>
                <a:gd name="connsiteY54" fmla="*/ 48673 h 368331"/>
                <a:gd name="connsiteX55" fmla="*/ 257746 w 294132"/>
                <a:gd name="connsiteY55" fmla="*/ 47530 h 368331"/>
                <a:gd name="connsiteX56" fmla="*/ 258699 w 294132"/>
                <a:gd name="connsiteY56" fmla="*/ 64198 h 368331"/>
                <a:gd name="connsiteX57" fmla="*/ 274415 w 294132"/>
                <a:gd name="connsiteY57" fmla="*/ 96583 h 368331"/>
                <a:gd name="connsiteX58" fmla="*/ 289084 w 294132"/>
                <a:gd name="connsiteY58" fmla="*/ 95536 h 368331"/>
                <a:gd name="connsiteX59" fmla="*/ 282512 w 294132"/>
                <a:gd name="connsiteY59" fmla="*/ 108871 h 368331"/>
                <a:gd name="connsiteX60" fmla="*/ 283178 w 294132"/>
                <a:gd name="connsiteY60" fmla="*/ 113538 h 368331"/>
                <a:gd name="connsiteX61" fmla="*/ 284988 w 294132"/>
                <a:gd name="connsiteY61" fmla="*/ 118586 h 368331"/>
                <a:gd name="connsiteX62" fmla="*/ 289370 w 294132"/>
                <a:gd name="connsiteY62" fmla="*/ 128016 h 368331"/>
                <a:gd name="connsiteX63" fmla="*/ 288703 w 294132"/>
                <a:gd name="connsiteY63" fmla="*/ 132017 h 368331"/>
                <a:gd name="connsiteX64" fmla="*/ 275082 w 294132"/>
                <a:gd name="connsiteY64" fmla="*/ 135160 h 368331"/>
                <a:gd name="connsiteX65" fmla="*/ 279273 w 294132"/>
                <a:gd name="connsiteY65" fmla="*/ 160592 h 368331"/>
                <a:gd name="connsiteX66" fmla="*/ 280702 w 294132"/>
                <a:gd name="connsiteY66" fmla="*/ 165259 h 368331"/>
                <a:gd name="connsiteX67" fmla="*/ 284036 w 294132"/>
                <a:gd name="connsiteY67" fmla="*/ 172117 h 368331"/>
                <a:gd name="connsiteX68" fmla="*/ 279654 w 294132"/>
                <a:gd name="connsiteY68" fmla="*/ 178117 h 368331"/>
                <a:gd name="connsiteX69" fmla="*/ 276225 w 294132"/>
                <a:gd name="connsiteY69" fmla="*/ 184690 h 368331"/>
                <a:gd name="connsiteX70" fmla="*/ 283655 w 294132"/>
                <a:gd name="connsiteY70" fmla="*/ 187833 h 368331"/>
                <a:gd name="connsiteX71" fmla="*/ 280416 w 294132"/>
                <a:gd name="connsiteY71" fmla="*/ 199168 h 368331"/>
                <a:gd name="connsiteX72" fmla="*/ 277082 w 294132"/>
                <a:gd name="connsiteY72" fmla="*/ 204311 h 368331"/>
                <a:gd name="connsiteX73" fmla="*/ 275749 w 294132"/>
                <a:gd name="connsiteY73" fmla="*/ 212026 h 368331"/>
                <a:gd name="connsiteX74" fmla="*/ 275749 w 294132"/>
                <a:gd name="connsiteY74" fmla="*/ 225076 h 368331"/>
                <a:gd name="connsiteX75" fmla="*/ 292703 w 294132"/>
                <a:gd name="connsiteY75" fmla="*/ 231838 h 368331"/>
                <a:gd name="connsiteX76" fmla="*/ 293751 w 294132"/>
                <a:gd name="connsiteY76" fmla="*/ 238030 h 368331"/>
                <a:gd name="connsiteX77" fmla="*/ 294132 w 294132"/>
                <a:gd name="connsiteY77" fmla="*/ 245459 h 368331"/>
                <a:gd name="connsiteX78" fmla="*/ 293561 w 294132"/>
                <a:gd name="connsiteY78" fmla="*/ 249460 h 368331"/>
                <a:gd name="connsiteX79" fmla="*/ 293084 w 294132"/>
                <a:gd name="connsiteY79" fmla="*/ 257651 h 368331"/>
                <a:gd name="connsiteX80" fmla="*/ 293084 w 294132"/>
                <a:gd name="connsiteY80" fmla="*/ 257937 h 368331"/>
                <a:gd name="connsiteX81" fmla="*/ 293370 w 294132"/>
                <a:gd name="connsiteY81" fmla="*/ 258223 h 368331"/>
                <a:gd name="connsiteX82" fmla="*/ 284988 w 294132"/>
                <a:gd name="connsiteY82" fmla="*/ 263557 h 368331"/>
                <a:gd name="connsiteX83" fmla="*/ 262509 w 294132"/>
                <a:gd name="connsiteY83" fmla="*/ 291179 h 368331"/>
                <a:gd name="connsiteX84" fmla="*/ 240221 w 294132"/>
                <a:gd name="connsiteY84" fmla="*/ 332232 h 368331"/>
                <a:gd name="connsiteX85" fmla="*/ 232410 w 294132"/>
                <a:gd name="connsiteY85" fmla="*/ 341376 h 368331"/>
                <a:gd name="connsiteX86" fmla="*/ 201359 w 294132"/>
                <a:gd name="connsiteY86" fmla="*/ 357473 h 368331"/>
                <a:gd name="connsiteX87" fmla="*/ 192405 w 294132"/>
                <a:gd name="connsiteY87" fmla="*/ 358140 h 368331"/>
                <a:gd name="connsiteX88" fmla="*/ 171641 w 294132"/>
                <a:gd name="connsiteY88" fmla="*/ 349758 h 368331"/>
                <a:gd name="connsiteX89" fmla="*/ 161258 w 294132"/>
                <a:gd name="connsiteY89" fmla="*/ 348615 h 368331"/>
                <a:gd name="connsiteX90" fmla="*/ 151733 w 294132"/>
                <a:gd name="connsiteY90" fmla="*/ 353854 h 368331"/>
                <a:gd name="connsiteX91" fmla="*/ 143542 w 294132"/>
                <a:gd name="connsiteY91" fmla="*/ 368332 h 368331"/>
                <a:gd name="connsiteX92" fmla="*/ 113919 w 294132"/>
                <a:gd name="connsiteY92" fmla="*/ 257937 h 368331"/>
                <a:gd name="connsiteX93" fmla="*/ 119444 w 294132"/>
                <a:gd name="connsiteY93" fmla="*/ 254032 h 368331"/>
                <a:gd name="connsiteX94" fmla="*/ 128778 w 294132"/>
                <a:gd name="connsiteY94" fmla="*/ 250126 h 368331"/>
                <a:gd name="connsiteX95" fmla="*/ 138589 w 294132"/>
                <a:gd name="connsiteY95" fmla="*/ 248221 h 368331"/>
                <a:gd name="connsiteX96" fmla="*/ 144590 w 294132"/>
                <a:gd name="connsiteY96" fmla="*/ 239459 h 368331"/>
                <a:gd name="connsiteX97" fmla="*/ 146399 w 294132"/>
                <a:gd name="connsiteY97" fmla="*/ 225266 h 368331"/>
                <a:gd name="connsiteX98" fmla="*/ 152210 w 294132"/>
                <a:gd name="connsiteY98" fmla="*/ 220123 h 368331"/>
                <a:gd name="connsiteX99" fmla="*/ 155448 w 294132"/>
                <a:gd name="connsiteY99" fmla="*/ 214789 h 368331"/>
                <a:gd name="connsiteX100" fmla="*/ 158210 w 294132"/>
                <a:gd name="connsiteY100" fmla="*/ 208883 h 368331"/>
                <a:gd name="connsiteX101" fmla="*/ 150114 w 294132"/>
                <a:gd name="connsiteY101" fmla="*/ 204406 h 368331"/>
                <a:gd name="connsiteX102" fmla="*/ 152305 w 294132"/>
                <a:gd name="connsiteY102" fmla="*/ 190786 h 368331"/>
                <a:gd name="connsiteX103" fmla="*/ 150686 w 294132"/>
                <a:gd name="connsiteY103" fmla="*/ 175165 h 368331"/>
                <a:gd name="connsiteX104" fmla="*/ 149542 w 294132"/>
                <a:gd name="connsiteY104" fmla="*/ 166402 h 368331"/>
                <a:gd name="connsiteX105" fmla="*/ 143732 w 294132"/>
                <a:gd name="connsiteY105" fmla="*/ 164021 h 368331"/>
                <a:gd name="connsiteX106" fmla="*/ 122777 w 294132"/>
                <a:gd name="connsiteY106" fmla="*/ 188404 h 368331"/>
                <a:gd name="connsiteX107" fmla="*/ 95821 w 294132"/>
                <a:gd name="connsiteY107" fmla="*/ 184118 h 368331"/>
                <a:gd name="connsiteX108" fmla="*/ 82582 w 294132"/>
                <a:gd name="connsiteY108" fmla="*/ 197072 h 368331"/>
                <a:gd name="connsiteX109" fmla="*/ 87058 w 294132"/>
                <a:gd name="connsiteY109" fmla="*/ 203263 h 368331"/>
                <a:gd name="connsiteX110" fmla="*/ 101251 w 294132"/>
                <a:gd name="connsiteY110" fmla="*/ 212122 h 368331"/>
                <a:gd name="connsiteX111" fmla="*/ 101917 w 294132"/>
                <a:gd name="connsiteY111" fmla="*/ 228886 h 368331"/>
                <a:gd name="connsiteX112" fmla="*/ 103061 w 294132"/>
                <a:gd name="connsiteY112" fmla="*/ 239649 h 368331"/>
                <a:gd name="connsiteX113" fmla="*/ 108585 w 294132"/>
                <a:gd name="connsiteY113" fmla="*/ 248412 h 368331"/>
                <a:gd name="connsiteX114" fmla="*/ 114014 w 294132"/>
                <a:gd name="connsiteY114" fmla="*/ 258127 h 368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294132" h="368331">
                  <a:moveTo>
                    <a:pt x="143161" y="368237"/>
                  </a:moveTo>
                  <a:lnTo>
                    <a:pt x="120967" y="366522"/>
                  </a:lnTo>
                  <a:lnTo>
                    <a:pt x="98965" y="360426"/>
                  </a:lnTo>
                  <a:lnTo>
                    <a:pt x="44958" y="334137"/>
                  </a:lnTo>
                  <a:lnTo>
                    <a:pt x="20574" y="315563"/>
                  </a:lnTo>
                  <a:lnTo>
                    <a:pt x="0" y="278416"/>
                  </a:lnTo>
                  <a:lnTo>
                    <a:pt x="12287" y="272891"/>
                  </a:lnTo>
                  <a:lnTo>
                    <a:pt x="25146" y="271748"/>
                  </a:lnTo>
                  <a:lnTo>
                    <a:pt x="47720" y="269462"/>
                  </a:lnTo>
                  <a:lnTo>
                    <a:pt x="42577" y="248793"/>
                  </a:lnTo>
                  <a:lnTo>
                    <a:pt x="19431" y="220123"/>
                  </a:lnTo>
                  <a:lnTo>
                    <a:pt x="36195" y="201739"/>
                  </a:lnTo>
                  <a:lnTo>
                    <a:pt x="29813" y="194881"/>
                  </a:lnTo>
                  <a:lnTo>
                    <a:pt x="23336" y="190309"/>
                  </a:lnTo>
                  <a:lnTo>
                    <a:pt x="25241" y="178784"/>
                  </a:lnTo>
                  <a:lnTo>
                    <a:pt x="35528" y="171926"/>
                  </a:lnTo>
                  <a:lnTo>
                    <a:pt x="43244" y="161544"/>
                  </a:lnTo>
                  <a:lnTo>
                    <a:pt x="56769" y="169545"/>
                  </a:lnTo>
                  <a:lnTo>
                    <a:pt x="64770" y="152971"/>
                  </a:lnTo>
                  <a:lnTo>
                    <a:pt x="58388" y="139065"/>
                  </a:lnTo>
                  <a:lnTo>
                    <a:pt x="54102" y="122396"/>
                  </a:lnTo>
                  <a:lnTo>
                    <a:pt x="55721" y="106966"/>
                  </a:lnTo>
                  <a:lnTo>
                    <a:pt x="50768" y="98870"/>
                  </a:lnTo>
                  <a:lnTo>
                    <a:pt x="47435" y="86487"/>
                  </a:lnTo>
                  <a:lnTo>
                    <a:pt x="46292" y="72390"/>
                  </a:lnTo>
                  <a:lnTo>
                    <a:pt x="45244" y="62293"/>
                  </a:lnTo>
                  <a:lnTo>
                    <a:pt x="44482" y="43910"/>
                  </a:lnTo>
                  <a:lnTo>
                    <a:pt x="42863" y="33242"/>
                  </a:lnTo>
                  <a:lnTo>
                    <a:pt x="39624" y="24003"/>
                  </a:lnTo>
                  <a:lnTo>
                    <a:pt x="28956" y="9525"/>
                  </a:lnTo>
                  <a:lnTo>
                    <a:pt x="42386" y="5048"/>
                  </a:lnTo>
                  <a:lnTo>
                    <a:pt x="60103" y="0"/>
                  </a:lnTo>
                  <a:lnTo>
                    <a:pt x="74009" y="9334"/>
                  </a:lnTo>
                  <a:lnTo>
                    <a:pt x="89154" y="11525"/>
                  </a:lnTo>
                  <a:lnTo>
                    <a:pt x="100489" y="20383"/>
                  </a:lnTo>
                  <a:lnTo>
                    <a:pt x="109442" y="45148"/>
                  </a:lnTo>
                  <a:lnTo>
                    <a:pt x="122396" y="44005"/>
                  </a:lnTo>
                  <a:lnTo>
                    <a:pt x="123635" y="38291"/>
                  </a:lnTo>
                  <a:lnTo>
                    <a:pt x="128588" y="28194"/>
                  </a:lnTo>
                  <a:lnTo>
                    <a:pt x="134112" y="30004"/>
                  </a:lnTo>
                  <a:lnTo>
                    <a:pt x="136303" y="34100"/>
                  </a:lnTo>
                  <a:lnTo>
                    <a:pt x="149352" y="45148"/>
                  </a:lnTo>
                  <a:lnTo>
                    <a:pt x="153638" y="50197"/>
                  </a:lnTo>
                  <a:lnTo>
                    <a:pt x="155258" y="52864"/>
                  </a:lnTo>
                  <a:lnTo>
                    <a:pt x="164306" y="42958"/>
                  </a:lnTo>
                  <a:lnTo>
                    <a:pt x="179642" y="49816"/>
                  </a:lnTo>
                  <a:lnTo>
                    <a:pt x="184690" y="54578"/>
                  </a:lnTo>
                  <a:lnTo>
                    <a:pt x="191738" y="59817"/>
                  </a:lnTo>
                  <a:lnTo>
                    <a:pt x="203263" y="59817"/>
                  </a:lnTo>
                  <a:cubicBezTo>
                    <a:pt x="203263" y="59817"/>
                    <a:pt x="213550" y="57150"/>
                    <a:pt x="213550" y="57150"/>
                  </a:cubicBezTo>
                  <a:lnTo>
                    <a:pt x="226219" y="48577"/>
                  </a:lnTo>
                  <a:lnTo>
                    <a:pt x="232410" y="47054"/>
                  </a:lnTo>
                  <a:lnTo>
                    <a:pt x="237649" y="47054"/>
                  </a:lnTo>
                  <a:cubicBezTo>
                    <a:pt x="237649" y="47054"/>
                    <a:pt x="241840" y="50959"/>
                    <a:pt x="241840" y="50959"/>
                  </a:cubicBezTo>
                  <a:lnTo>
                    <a:pt x="251460" y="48673"/>
                  </a:lnTo>
                  <a:lnTo>
                    <a:pt x="257746" y="47530"/>
                  </a:lnTo>
                  <a:lnTo>
                    <a:pt x="258699" y="64198"/>
                  </a:lnTo>
                  <a:lnTo>
                    <a:pt x="274415" y="96583"/>
                  </a:lnTo>
                  <a:lnTo>
                    <a:pt x="289084" y="95536"/>
                  </a:lnTo>
                  <a:lnTo>
                    <a:pt x="282512" y="108871"/>
                  </a:lnTo>
                  <a:lnTo>
                    <a:pt x="283178" y="113538"/>
                  </a:lnTo>
                  <a:lnTo>
                    <a:pt x="284988" y="118586"/>
                  </a:lnTo>
                  <a:lnTo>
                    <a:pt x="289370" y="128016"/>
                  </a:lnTo>
                  <a:lnTo>
                    <a:pt x="288703" y="132017"/>
                  </a:lnTo>
                  <a:lnTo>
                    <a:pt x="275082" y="135160"/>
                  </a:lnTo>
                  <a:lnTo>
                    <a:pt x="279273" y="160592"/>
                  </a:lnTo>
                  <a:lnTo>
                    <a:pt x="280702" y="165259"/>
                  </a:lnTo>
                  <a:lnTo>
                    <a:pt x="284036" y="172117"/>
                  </a:lnTo>
                  <a:lnTo>
                    <a:pt x="279654" y="178117"/>
                  </a:lnTo>
                  <a:lnTo>
                    <a:pt x="276225" y="184690"/>
                  </a:lnTo>
                  <a:lnTo>
                    <a:pt x="283655" y="187833"/>
                  </a:lnTo>
                  <a:lnTo>
                    <a:pt x="280416" y="199168"/>
                  </a:lnTo>
                  <a:lnTo>
                    <a:pt x="277082" y="204311"/>
                  </a:lnTo>
                  <a:lnTo>
                    <a:pt x="275749" y="212026"/>
                  </a:lnTo>
                  <a:lnTo>
                    <a:pt x="275749" y="225076"/>
                  </a:lnTo>
                  <a:cubicBezTo>
                    <a:pt x="275749" y="225076"/>
                    <a:pt x="292703" y="231838"/>
                    <a:pt x="292703" y="231838"/>
                  </a:cubicBezTo>
                  <a:lnTo>
                    <a:pt x="293751" y="238030"/>
                  </a:lnTo>
                  <a:lnTo>
                    <a:pt x="294132" y="245459"/>
                  </a:lnTo>
                  <a:lnTo>
                    <a:pt x="293561" y="249460"/>
                  </a:lnTo>
                  <a:lnTo>
                    <a:pt x="293084" y="257651"/>
                  </a:lnTo>
                  <a:lnTo>
                    <a:pt x="293084" y="257937"/>
                  </a:lnTo>
                  <a:cubicBezTo>
                    <a:pt x="293084" y="257937"/>
                    <a:pt x="293370" y="258223"/>
                    <a:pt x="293370" y="258223"/>
                  </a:cubicBezTo>
                  <a:lnTo>
                    <a:pt x="284988" y="263557"/>
                  </a:lnTo>
                  <a:lnTo>
                    <a:pt x="262509" y="291179"/>
                  </a:lnTo>
                  <a:lnTo>
                    <a:pt x="240221" y="332232"/>
                  </a:lnTo>
                  <a:lnTo>
                    <a:pt x="232410" y="341376"/>
                  </a:lnTo>
                  <a:lnTo>
                    <a:pt x="201359" y="357473"/>
                  </a:lnTo>
                  <a:lnTo>
                    <a:pt x="192405" y="358140"/>
                  </a:lnTo>
                  <a:lnTo>
                    <a:pt x="171641" y="349758"/>
                  </a:lnTo>
                  <a:lnTo>
                    <a:pt x="161258" y="348615"/>
                  </a:lnTo>
                  <a:lnTo>
                    <a:pt x="151733" y="353854"/>
                  </a:lnTo>
                  <a:lnTo>
                    <a:pt x="143542" y="368332"/>
                  </a:lnTo>
                  <a:moveTo>
                    <a:pt x="113919" y="257937"/>
                  </a:moveTo>
                  <a:lnTo>
                    <a:pt x="119444" y="254032"/>
                  </a:lnTo>
                  <a:lnTo>
                    <a:pt x="128778" y="250126"/>
                  </a:lnTo>
                  <a:lnTo>
                    <a:pt x="138589" y="248221"/>
                  </a:lnTo>
                  <a:lnTo>
                    <a:pt x="144590" y="239459"/>
                  </a:lnTo>
                  <a:lnTo>
                    <a:pt x="146399" y="225266"/>
                  </a:lnTo>
                  <a:lnTo>
                    <a:pt x="152210" y="220123"/>
                  </a:lnTo>
                  <a:lnTo>
                    <a:pt x="155448" y="214789"/>
                  </a:lnTo>
                  <a:lnTo>
                    <a:pt x="158210" y="208883"/>
                  </a:lnTo>
                  <a:lnTo>
                    <a:pt x="150114" y="204406"/>
                  </a:lnTo>
                  <a:lnTo>
                    <a:pt x="152305" y="190786"/>
                  </a:lnTo>
                  <a:lnTo>
                    <a:pt x="150686" y="175165"/>
                  </a:lnTo>
                  <a:lnTo>
                    <a:pt x="149542" y="166402"/>
                  </a:lnTo>
                  <a:lnTo>
                    <a:pt x="143732" y="164021"/>
                  </a:lnTo>
                  <a:lnTo>
                    <a:pt x="122777" y="188404"/>
                  </a:lnTo>
                  <a:lnTo>
                    <a:pt x="95821" y="184118"/>
                  </a:lnTo>
                  <a:lnTo>
                    <a:pt x="82582" y="197072"/>
                  </a:lnTo>
                  <a:lnTo>
                    <a:pt x="87058" y="203263"/>
                  </a:lnTo>
                  <a:lnTo>
                    <a:pt x="101251" y="212122"/>
                  </a:lnTo>
                  <a:lnTo>
                    <a:pt x="101917" y="228886"/>
                  </a:lnTo>
                  <a:lnTo>
                    <a:pt x="103061" y="239649"/>
                  </a:lnTo>
                  <a:lnTo>
                    <a:pt x="108585" y="248412"/>
                  </a:lnTo>
                  <a:lnTo>
                    <a:pt x="114014" y="258127"/>
                  </a:lnTo>
                </a:path>
              </a:pathLst>
            </a:custGeom>
            <a:grpFill/>
            <a:ln w="2381" cap="sq">
              <a:noFill/>
              <a:prstDash val="solid"/>
              <a:bevel/>
            </a:ln>
          </p:spPr>
          <p:txBody>
            <a:bodyPr rtlCol="0" anchor="ctr"/>
            <a:lstStyle/>
            <a:p>
              <a:endParaRPr lang="cs-CZ"/>
            </a:p>
          </p:txBody>
        </p:sp>
        <p:sp>
          <p:nvSpPr>
            <p:cNvPr id="198" name="Freeform: Shape 197">
              <a:extLst>
                <a:ext uri="{FF2B5EF4-FFF2-40B4-BE49-F238E27FC236}">
                  <a16:creationId xmlns:a16="http://schemas.microsoft.com/office/drawing/2014/main" id="{A6B206C9-66E4-094A-49C7-64C554C4DFAB}"/>
                </a:ext>
              </a:extLst>
            </p:cNvPr>
            <p:cNvSpPr/>
            <p:nvPr/>
          </p:nvSpPr>
          <p:spPr>
            <a:xfrm>
              <a:off x="14018036" y="8506806"/>
              <a:ext cx="326135" cy="199453"/>
            </a:xfrm>
            <a:custGeom>
              <a:avLst/>
              <a:gdLst>
                <a:gd name="connsiteX0" fmla="*/ 315563 w 326135"/>
                <a:gd name="connsiteY0" fmla="*/ 84201 h 199453"/>
                <a:gd name="connsiteX1" fmla="*/ 304895 w 326135"/>
                <a:gd name="connsiteY1" fmla="*/ 91916 h 199453"/>
                <a:gd name="connsiteX2" fmla="*/ 288227 w 326135"/>
                <a:gd name="connsiteY2" fmla="*/ 100013 h 199453"/>
                <a:gd name="connsiteX3" fmla="*/ 272129 w 326135"/>
                <a:gd name="connsiteY3" fmla="*/ 103442 h 199453"/>
                <a:gd name="connsiteX4" fmla="*/ 267271 w 326135"/>
                <a:gd name="connsiteY4" fmla="*/ 106013 h 199453"/>
                <a:gd name="connsiteX5" fmla="*/ 261176 w 326135"/>
                <a:gd name="connsiteY5" fmla="*/ 112395 h 199453"/>
                <a:gd name="connsiteX6" fmla="*/ 257270 w 326135"/>
                <a:gd name="connsiteY6" fmla="*/ 120015 h 199453"/>
                <a:gd name="connsiteX7" fmla="*/ 253841 w 326135"/>
                <a:gd name="connsiteY7" fmla="*/ 128588 h 199453"/>
                <a:gd name="connsiteX8" fmla="*/ 249174 w 326135"/>
                <a:gd name="connsiteY8" fmla="*/ 137827 h 199453"/>
                <a:gd name="connsiteX9" fmla="*/ 222599 w 326135"/>
                <a:gd name="connsiteY9" fmla="*/ 158305 h 199453"/>
                <a:gd name="connsiteX10" fmla="*/ 210407 w 326135"/>
                <a:gd name="connsiteY10" fmla="*/ 170974 h 199453"/>
                <a:gd name="connsiteX11" fmla="*/ 208788 w 326135"/>
                <a:gd name="connsiteY11" fmla="*/ 187642 h 199453"/>
                <a:gd name="connsiteX12" fmla="*/ 202216 w 326135"/>
                <a:gd name="connsiteY12" fmla="*/ 199454 h 199453"/>
                <a:gd name="connsiteX13" fmla="*/ 188500 w 326135"/>
                <a:gd name="connsiteY13" fmla="*/ 185738 h 199453"/>
                <a:gd name="connsiteX14" fmla="*/ 171355 w 326135"/>
                <a:gd name="connsiteY14" fmla="*/ 176689 h 199453"/>
                <a:gd name="connsiteX15" fmla="*/ 161258 w 326135"/>
                <a:gd name="connsiteY15" fmla="*/ 167640 h 199453"/>
                <a:gd name="connsiteX16" fmla="*/ 156210 w 326135"/>
                <a:gd name="connsiteY16" fmla="*/ 171259 h 199453"/>
                <a:gd name="connsiteX17" fmla="*/ 157258 w 326135"/>
                <a:gd name="connsiteY17" fmla="*/ 191071 h 199453"/>
                <a:gd name="connsiteX18" fmla="*/ 147161 w 326135"/>
                <a:gd name="connsiteY18" fmla="*/ 189262 h 199453"/>
                <a:gd name="connsiteX19" fmla="*/ 128969 w 326135"/>
                <a:gd name="connsiteY19" fmla="*/ 183833 h 199453"/>
                <a:gd name="connsiteX20" fmla="*/ 85630 w 326135"/>
                <a:gd name="connsiteY20" fmla="*/ 156781 h 199453"/>
                <a:gd name="connsiteX21" fmla="*/ 67437 w 326135"/>
                <a:gd name="connsiteY21" fmla="*/ 156781 h 199453"/>
                <a:gd name="connsiteX22" fmla="*/ 56388 w 326135"/>
                <a:gd name="connsiteY22" fmla="*/ 167640 h 199453"/>
                <a:gd name="connsiteX23" fmla="*/ 49339 w 326135"/>
                <a:gd name="connsiteY23" fmla="*/ 165830 h 199453"/>
                <a:gd name="connsiteX24" fmla="*/ 52388 w 326135"/>
                <a:gd name="connsiteY24" fmla="*/ 142399 h 199453"/>
                <a:gd name="connsiteX25" fmla="*/ 50387 w 326135"/>
                <a:gd name="connsiteY25" fmla="*/ 126111 h 199453"/>
                <a:gd name="connsiteX26" fmla="*/ 29242 w 326135"/>
                <a:gd name="connsiteY26" fmla="*/ 126111 h 199453"/>
                <a:gd name="connsiteX27" fmla="*/ 9049 w 326135"/>
                <a:gd name="connsiteY27" fmla="*/ 131540 h 199453"/>
                <a:gd name="connsiteX28" fmla="*/ 0 w 326135"/>
                <a:gd name="connsiteY28" fmla="*/ 104394 h 199453"/>
                <a:gd name="connsiteX29" fmla="*/ 26194 w 326135"/>
                <a:gd name="connsiteY29" fmla="*/ 95345 h 199453"/>
                <a:gd name="connsiteX30" fmla="*/ 38290 w 326135"/>
                <a:gd name="connsiteY30" fmla="*/ 84487 h 199453"/>
                <a:gd name="connsiteX31" fmla="*/ 35243 w 326135"/>
                <a:gd name="connsiteY31" fmla="*/ 70009 h 199453"/>
                <a:gd name="connsiteX32" fmla="*/ 23146 w 326135"/>
                <a:gd name="connsiteY32" fmla="*/ 55531 h 199453"/>
                <a:gd name="connsiteX33" fmla="*/ 21527 w 326135"/>
                <a:gd name="connsiteY33" fmla="*/ 40576 h 199453"/>
                <a:gd name="connsiteX34" fmla="*/ 38290 w 326135"/>
                <a:gd name="connsiteY34" fmla="*/ 35528 h 199453"/>
                <a:gd name="connsiteX35" fmla="*/ 66675 w 326135"/>
                <a:gd name="connsiteY35" fmla="*/ 37719 h 199453"/>
                <a:gd name="connsiteX36" fmla="*/ 70104 w 326135"/>
                <a:gd name="connsiteY36" fmla="*/ 35338 h 199453"/>
                <a:gd name="connsiteX37" fmla="*/ 80677 w 326135"/>
                <a:gd name="connsiteY37" fmla="*/ 36195 h 199453"/>
                <a:gd name="connsiteX38" fmla="*/ 77914 w 326135"/>
                <a:gd name="connsiteY38" fmla="*/ 26194 h 199453"/>
                <a:gd name="connsiteX39" fmla="*/ 80486 w 326135"/>
                <a:gd name="connsiteY39" fmla="*/ 21812 h 199453"/>
                <a:gd name="connsiteX40" fmla="*/ 88202 w 326135"/>
                <a:gd name="connsiteY40" fmla="*/ 19336 h 199453"/>
                <a:gd name="connsiteX41" fmla="*/ 96774 w 326135"/>
                <a:gd name="connsiteY41" fmla="*/ 18288 h 199453"/>
                <a:gd name="connsiteX42" fmla="*/ 104585 w 326135"/>
                <a:gd name="connsiteY42" fmla="*/ 14002 h 199453"/>
                <a:gd name="connsiteX43" fmla="*/ 110299 w 326135"/>
                <a:gd name="connsiteY43" fmla="*/ 8954 h 199453"/>
                <a:gd name="connsiteX44" fmla="*/ 112014 w 326135"/>
                <a:gd name="connsiteY44" fmla="*/ 2572 h 199453"/>
                <a:gd name="connsiteX45" fmla="*/ 114681 w 326135"/>
                <a:gd name="connsiteY45" fmla="*/ 0 h 199453"/>
                <a:gd name="connsiteX46" fmla="*/ 119824 w 326135"/>
                <a:gd name="connsiteY46" fmla="*/ 9049 h 199453"/>
                <a:gd name="connsiteX47" fmla="*/ 121158 w 326135"/>
                <a:gd name="connsiteY47" fmla="*/ 10954 h 199453"/>
                <a:gd name="connsiteX48" fmla="*/ 127540 w 326135"/>
                <a:gd name="connsiteY48" fmla="*/ 13145 h 199453"/>
                <a:gd name="connsiteX49" fmla="*/ 160020 w 326135"/>
                <a:gd name="connsiteY49" fmla="*/ 7906 h 199453"/>
                <a:gd name="connsiteX50" fmla="*/ 166306 w 326135"/>
                <a:gd name="connsiteY50" fmla="*/ 14573 h 199453"/>
                <a:gd name="connsiteX51" fmla="*/ 173927 w 326135"/>
                <a:gd name="connsiteY51" fmla="*/ 25146 h 199453"/>
                <a:gd name="connsiteX52" fmla="*/ 179642 w 326135"/>
                <a:gd name="connsiteY52" fmla="*/ 29051 h 199453"/>
                <a:gd name="connsiteX53" fmla="*/ 187643 w 326135"/>
                <a:gd name="connsiteY53" fmla="*/ 38005 h 199453"/>
                <a:gd name="connsiteX54" fmla="*/ 196024 w 326135"/>
                <a:gd name="connsiteY54" fmla="*/ 42863 h 199453"/>
                <a:gd name="connsiteX55" fmla="*/ 209455 w 326135"/>
                <a:gd name="connsiteY55" fmla="*/ 45720 h 199453"/>
                <a:gd name="connsiteX56" fmla="*/ 222123 w 326135"/>
                <a:gd name="connsiteY56" fmla="*/ 45244 h 199453"/>
                <a:gd name="connsiteX57" fmla="*/ 226600 w 326135"/>
                <a:gd name="connsiteY57" fmla="*/ 52673 h 199453"/>
                <a:gd name="connsiteX58" fmla="*/ 232886 w 326135"/>
                <a:gd name="connsiteY58" fmla="*/ 55054 h 199453"/>
                <a:gd name="connsiteX59" fmla="*/ 238506 w 326135"/>
                <a:gd name="connsiteY59" fmla="*/ 55340 h 199453"/>
                <a:gd name="connsiteX60" fmla="*/ 252031 w 326135"/>
                <a:gd name="connsiteY60" fmla="*/ 52006 h 199453"/>
                <a:gd name="connsiteX61" fmla="*/ 256318 w 326135"/>
                <a:gd name="connsiteY61" fmla="*/ 54388 h 199453"/>
                <a:gd name="connsiteX62" fmla="*/ 262033 w 326135"/>
                <a:gd name="connsiteY62" fmla="*/ 54102 h 199453"/>
                <a:gd name="connsiteX63" fmla="*/ 296418 w 326135"/>
                <a:gd name="connsiteY63" fmla="*/ 40386 h 199453"/>
                <a:gd name="connsiteX64" fmla="*/ 304038 w 326135"/>
                <a:gd name="connsiteY64" fmla="*/ 35909 h 199453"/>
                <a:gd name="connsiteX65" fmla="*/ 308134 w 326135"/>
                <a:gd name="connsiteY65" fmla="*/ 32480 h 199453"/>
                <a:gd name="connsiteX66" fmla="*/ 311372 w 326135"/>
                <a:gd name="connsiteY66" fmla="*/ 31623 h 199453"/>
                <a:gd name="connsiteX67" fmla="*/ 314611 w 326135"/>
                <a:gd name="connsiteY67" fmla="*/ 32575 h 199453"/>
                <a:gd name="connsiteX68" fmla="*/ 316421 w 326135"/>
                <a:gd name="connsiteY68" fmla="*/ 34862 h 199453"/>
                <a:gd name="connsiteX69" fmla="*/ 317754 w 326135"/>
                <a:gd name="connsiteY69" fmla="*/ 37719 h 199453"/>
                <a:gd name="connsiteX70" fmla="*/ 319754 w 326135"/>
                <a:gd name="connsiteY70" fmla="*/ 40100 h 199453"/>
                <a:gd name="connsiteX71" fmla="*/ 321278 w 326135"/>
                <a:gd name="connsiteY71" fmla="*/ 40291 h 199453"/>
                <a:gd name="connsiteX72" fmla="*/ 323374 w 326135"/>
                <a:gd name="connsiteY72" fmla="*/ 36671 h 199453"/>
                <a:gd name="connsiteX73" fmla="*/ 326136 w 326135"/>
                <a:gd name="connsiteY73" fmla="*/ 44958 h 199453"/>
                <a:gd name="connsiteX74" fmla="*/ 320326 w 326135"/>
                <a:gd name="connsiteY74" fmla="*/ 55150 h 199453"/>
                <a:gd name="connsiteX75" fmla="*/ 312992 w 326135"/>
                <a:gd name="connsiteY75" fmla="*/ 72009 h 199453"/>
                <a:gd name="connsiteX76" fmla="*/ 314325 w 326135"/>
                <a:gd name="connsiteY76" fmla="*/ 76962 h 199453"/>
                <a:gd name="connsiteX77" fmla="*/ 315754 w 326135"/>
                <a:gd name="connsiteY77" fmla="*/ 83820 h 199453"/>
                <a:gd name="connsiteX78" fmla="*/ 315754 w 326135"/>
                <a:gd name="connsiteY78" fmla="*/ 84106 h 199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326135" h="199453">
                  <a:moveTo>
                    <a:pt x="315563" y="84201"/>
                  </a:moveTo>
                  <a:lnTo>
                    <a:pt x="304895" y="91916"/>
                  </a:lnTo>
                  <a:lnTo>
                    <a:pt x="288227" y="100013"/>
                  </a:lnTo>
                  <a:lnTo>
                    <a:pt x="272129" y="103442"/>
                  </a:lnTo>
                  <a:lnTo>
                    <a:pt x="267271" y="106013"/>
                  </a:lnTo>
                  <a:lnTo>
                    <a:pt x="261176" y="112395"/>
                  </a:lnTo>
                  <a:lnTo>
                    <a:pt x="257270" y="120015"/>
                  </a:lnTo>
                  <a:lnTo>
                    <a:pt x="253841" y="128588"/>
                  </a:lnTo>
                  <a:lnTo>
                    <a:pt x="249174" y="137827"/>
                  </a:lnTo>
                  <a:lnTo>
                    <a:pt x="222599" y="158305"/>
                  </a:lnTo>
                  <a:lnTo>
                    <a:pt x="210407" y="170974"/>
                  </a:lnTo>
                  <a:lnTo>
                    <a:pt x="208788" y="187642"/>
                  </a:lnTo>
                  <a:lnTo>
                    <a:pt x="202216" y="199454"/>
                  </a:lnTo>
                  <a:lnTo>
                    <a:pt x="188500" y="185738"/>
                  </a:lnTo>
                  <a:lnTo>
                    <a:pt x="171355" y="176689"/>
                  </a:lnTo>
                  <a:lnTo>
                    <a:pt x="161258" y="167640"/>
                  </a:lnTo>
                  <a:lnTo>
                    <a:pt x="156210" y="171259"/>
                  </a:lnTo>
                  <a:lnTo>
                    <a:pt x="157258" y="191071"/>
                  </a:lnTo>
                  <a:lnTo>
                    <a:pt x="147161" y="189262"/>
                  </a:lnTo>
                  <a:lnTo>
                    <a:pt x="128969" y="183833"/>
                  </a:lnTo>
                  <a:lnTo>
                    <a:pt x="85630" y="156781"/>
                  </a:lnTo>
                  <a:lnTo>
                    <a:pt x="67437" y="156781"/>
                  </a:lnTo>
                  <a:lnTo>
                    <a:pt x="56388" y="167640"/>
                  </a:lnTo>
                  <a:lnTo>
                    <a:pt x="49339" y="165830"/>
                  </a:lnTo>
                  <a:lnTo>
                    <a:pt x="52388" y="142399"/>
                  </a:lnTo>
                  <a:lnTo>
                    <a:pt x="50387" y="126111"/>
                  </a:lnTo>
                  <a:lnTo>
                    <a:pt x="29242" y="126111"/>
                  </a:lnTo>
                  <a:lnTo>
                    <a:pt x="9049" y="131540"/>
                  </a:lnTo>
                  <a:lnTo>
                    <a:pt x="0" y="104394"/>
                  </a:lnTo>
                  <a:lnTo>
                    <a:pt x="26194" y="95345"/>
                  </a:lnTo>
                  <a:lnTo>
                    <a:pt x="38290" y="84487"/>
                  </a:lnTo>
                  <a:lnTo>
                    <a:pt x="35243" y="70009"/>
                  </a:lnTo>
                  <a:lnTo>
                    <a:pt x="23146" y="55531"/>
                  </a:lnTo>
                  <a:lnTo>
                    <a:pt x="21527" y="40576"/>
                  </a:lnTo>
                  <a:lnTo>
                    <a:pt x="38290" y="35528"/>
                  </a:lnTo>
                  <a:lnTo>
                    <a:pt x="66675" y="37719"/>
                  </a:lnTo>
                  <a:lnTo>
                    <a:pt x="70104" y="35338"/>
                  </a:lnTo>
                  <a:lnTo>
                    <a:pt x="80677" y="36195"/>
                  </a:lnTo>
                  <a:lnTo>
                    <a:pt x="77914" y="26194"/>
                  </a:lnTo>
                  <a:lnTo>
                    <a:pt x="80486" y="21812"/>
                  </a:lnTo>
                  <a:lnTo>
                    <a:pt x="88202" y="19336"/>
                  </a:lnTo>
                  <a:lnTo>
                    <a:pt x="96774" y="18288"/>
                  </a:lnTo>
                  <a:lnTo>
                    <a:pt x="104585" y="14002"/>
                  </a:lnTo>
                  <a:lnTo>
                    <a:pt x="110299" y="8954"/>
                  </a:lnTo>
                  <a:lnTo>
                    <a:pt x="112014" y="2572"/>
                  </a:lnTo>
                  <a:lnTo>
                    <a:pt x="114681" y="0"/>
                  </a:lnTo>
                  <a:lnTo>
                    <a:pt x="119824" y="9049"/>
                  </a:lnTo>
                  <a:lnTo>
                    <a:pt x="121158" y="10954"/>
                  </a:lnTo>
                  <a:lnTo>
                    <a:pt x="127540" y="13145"/>
                  </a:lnTo>
                  <a:lnTo>
                    <a:pt x="160020" y="7906"/>
                  </a:lnTo>
                  <a:lnTo>
                    <a:pt x="166306" y="14573"/>
                  </a:lnTo>
                  <a:lnTo>
                    <a:pt x="173927" y="25146"/>
                  </a:lnTo>
                  <a:lnTo>
                    <a:pt x="179642" y="29051"/>
                  </a:lnTo>
                  <a:lnTo>
                    <a:pt x="187643" y="38005"/>
                  </a:lnTo>
                  <a:lnTo>
                    <a:pt x="196024" y="42863"/>
                  </a:lnTo>
                  <a:lnTo>
                    <a:pt x="209455" y="45720"/>
                  </a:lnTo>
                  <a:lnTo>
                    <a:pt x="222123" y="45244"/>
                  </a:lnTo>
                  <a:lnTo>
                    <a:pt x="226600" y="52673"/>
                  </a:lnTo>
                  <a:lnTo>
                    <a:pt x="232886" y="55054"/>
                  </a:lnTo>
                  <a:lnTo>
                    <a:pt x="238506" y="55340"/>
                  </a:lnTo>
                  <a:lnTo>
                    <a:pt x="252031" y="52006"/>
                  </a:lnTo>
                  <a:lnTo>
                    <a:pt x="256318" y="54388"/>
                  </a:lnTo>
                  <a:lnTo>
                    <a:pt x="262033" y="54102"/>
                  </a:lnTo>
                  <a:lnTo>
                    <a:pt x="296418" y="40386"/>
                  </a:lnTo>
                  <a:lnTo>
                    <a:pt x="304038" y="35909"/>
                  </a:lnTo>
                  <a:lnTo>
                    <a:pt x="308134" y="32480"/>
                  </a:lnTo>
                  <a:lnTo>
                    <a:pt x="311372" y="31623"/>
                  </a:lnTo>
                  <a:lnTo>
                    <a:pt x="314611" y="32575"/>
                  </a:lnTo>
                  <a:lnTo>
                    <a:pt x="316421" y="34862"/>
                  </a:lnTo>
                  <a:lnTo>
                    <a:pt x="317754" y="37719"/>
                  </a:lnTo>
                  <a:lnTo>
                    <a:pt x="319754" y="40100"/>
                  </a:lnTo>
                  <a:lnTo>
                    <a:pt x="321278" y="40291"/>
                  </a:lnTo>
                  <a:lnTo>
                    <a:pt x="323374" y="36671"/>
                  </a:lnTo>
                  <a:lnTo>
                    <a:pt x="326136" y="44958"/>
                  </a:lnTo>
                  <a:lnTo>
                    <a:pt x="320326" y="55150"/>
                  </a:lnTo>
                  <a:lnTo>
                    <a:pt x="312992" y="72009"/>
                  </a:lnTo>
                  <a:lnTo>
                    <a:pt x="314325" y="76962"/>
                  </a:lnTo>
                  <a:lnTo>
                    <a:pt x="315754" y="83820"/>
                  </a:lnTo>
                  <a:lnTo>
                    <a:pt x="315754" y="84106"/>
                  </a:lnTo>
                </a:path>
              </a:pathLst>
            </a:custGeom>
            <a:grpFill/>
            <a:ln w="2381" cap="sq">
              <a:noFill/>
              <a:prstDash val="solid"/>
              <a:bevel/>
            </a:ln>
          </p:spPr>
          <p:txBody>
            <a:bodyPr rtlCol="0" anchor="ctr"/>
            <a:lstStyle/>
            <a:p>
              <a:endParaRPr lang="cs-CZ"/>
            </a:p>
          </p:txBody>
        </p:sp>
        <p:sp>
          <p:nvSpPr>
            <p:cNvPr id="199" name="Freeform: Shape 198">
              <a:extLst>
                <a:ext uri="{FF2B5EF4-FFF2-40B4-BE49-F238E27FC236}">
                  <a16:creationId xmlns:a16="http://schemas.microsoft.com/office/drawing/2014/main" id="{7650A240-5093-1DFE-E8F7-9A89CD199764}"/>
                </a:ext>
              </a:extLst>
            </p:cNvPr>
            <p:cNvSpPr/>
            <p:nvPr/>
          </p:nvSpPr>
          <p:spPr>
            <a:xfrm>
              <a:off x="13897925" y="8632917"/>
              <a:ext cx="322326" cy="204120"/>
            </a:xfrm>
            <a:custGeom>
              <a:avLst/>
              <a:gdLst>
                <a:gd name="connsiteX0" fmla="*/ 322326 w 322326"/>
                <a:gd name="connsiteY0" fmla="*/ 73342 h 204120"/>
                <a:gd name="connsiteX1" fmla="*/ 316230 w 322326"/>
                <a:gd name="connsiteY1" fmla="*/ 84296 h 204120"/>
                <a:gd name="connsiteX2" fmla="*/ 277559 w 322326"/>
                <a:gd name="connsiteY2" fmla="*/ 109918 h 204120"/>
                <a:gd name="connsiteX3" fmla="*/ 266700 w 322326"/>
                <a:gd name="connsiteY3" fmla="*/ 140684 h 204120"/>
                <a:gd name="connsiteX4" fmla="*/ 263938 w 322326"/>
                <a:gd name="connsiteY4" fmla="*/ 173736 h 204120"/>
                <a:gd name="connsiteX5" fmla="*/ 260604 w 322326"/>
                <a:gd name="connsiteY5" fmla="*/ 188500 h 204120"/>
                <a:gd name="connsiteX6" fmla="*/ 257175 w 322326"/>
                <a:gd name="connsiteY6" fmla="*/ 199168 h 204120"/>
                <a:gd name="connsiteX7" fmla="*/ 246221 w 322326"/>
                <a:gd name="connsiteY7" fmla="*/ 200596 h 204120"/>
                <a:gd name="connsiteX8" fmla="*/ 197263 w 322326"/>
                <a:gd name="connsiteY8" fmla="*/ 196120 h 204120"/>
                <a:gd name="connsiteX9" fmla="*/ 184404 w 322326"/>
                <a:gd name="connsiteY9" fmla="*/ 192214 h 204120"/>
                <a:gd name="connsiteX10" fmla="*/ 172212 w 322326"/>
                <a:gd name="connsiteY10" fmla="*/ 184975 h 204120"/>
                <a:gd name="connsiteX11" fmla="*/ 162497 w 322326"/>
                <a:gd name="connsiteY11" fmla="*/ 173641 h 204120"/>
                <a:gd name="connsiteX12" fmla="*/ 154496 w 322326"/>
                <a:gd name="connsiteY12" fmla="*/ 183070 h 204120"/>
                <a:gd name="connsiteX13" fmla="*/ 136303 w 322326"/>
                <a:gd name="connsiteY13" fmla="*/ 200882 h 204120"/>
                <a:gd name="connsiteX14" fmla="*/ 128778 w 322326"/>
                <a:gd name="connsiteY14" fmla="*/ 204121 h 204120"/>
                <a:gd name="connsiteX15" fmla="*/ 118015 w 322326"/>
                <a:gd name="connsiteY15" fmla="*/ 198120 h 204120"/>
                <a:gd name="connsiteX16" fmla="*/ 93726 w 322326"/>
                <a:gd name="connsiteY16" fmla="*/ 177451 h 204120"/>
                <a:gd name="connsiteX17" fmla="*/ 85249 w 322326"/>
                <a:gd name="connsiteY17" fmla="*/ 172784 h 204120"/>
                <a:gd name="connsiteX18" fmla="*/ 69437 w 322326"/>
                <a:gd name="connsiteY18" fmla="*/ 170117 h 204120"/>
                <a:gd name="connsiteX19" fmla="*/ 18955 w 322326"/>
                <a:gd name="connsiteY19" fmla="*/ 176593 h 204120"/>
                <a:gd name="connsiteX20" fmla="*/ 18288 w 322326"/>
                <a:gd name="connsiteY20" fmla="*/ 176974 h 204120"/>
                <a:gd name="connsiteX21" fmla="*/ 18288 w 322326"/>
                <a:gd name="connsiteY21" fmla="*/ 176689 h 204120"/>
                <a:gd name="connsiteX22" fmla="*/ 18002 w 322326"/>
                <a:gd name="connsiteY22" fmla="*/ 176403 h 204120"/>
                <a:gd name="connsiteX23" fmla="*/ 18479 w 322326"/>
                <a:gd name="connsiteY23" fmla="*/ 168211 h 204120"/>
                <a:gd name="connsiteX24" fmla="*/ 19050 w 322326"/>
                <a:gd name="connsiteY24" fmla="*/ 164211 h 204120"/>
                <a:gd name="connsiteX25" fmla="*/ 18669 w 322326"/>
                <a:gd name="connsiteY25" fmla="*/ 156781 h 204120"/>
                <a:gd name="connsiteX26" fmla="*/ 17621 w 322326"/>
                <a:gd name="connsiteY26" fmla="*/ 150590 h 204120"/>
                <a:gd name="connsiteX27" fmla="*/ 571 w 322326"/>
                <a:gd name="connsiteY27" fmla="*/ 143827 h 204120"/>
                <a:gd name="connsiteX28" fmla="*/ 571 w 322326"/>
                <a:gd name="connsiteY28" fmla="*/ 130778 h 204120"/>
                <a:gd name="connsiteX29" fmla="*/ 2000 w 322326"/>
                <a:gd name="connsiteY29" fmla="*/ 123063 h 204120"/>
                <a:gd name="connsiteX30" fmla="*/ 5334 w 322326"/>
                <a:gd name="connsiteY30" fmla="*/ 117919 h 204120"/>
                <a:gd name="connsiteX31" fmla="*/ 8573 w 322326"/>
                <a:gd name="connsiteY31" fmla="*/ 106585 h 204120"/>
                <a:gd name="connsiteX32" fmla="*/ 1143 w 322326"/>
                <a:gd name="connsiteY32" fmla="*/ 103442 h 204120"/>
                <a:gd name="connsiteX33" fmla="*/ 4572 w 322326"/>
                <a:gd name="connsiteY33" fmla="*/ 96869 h 204120"/>
                <a:gd name="connsiteX34" fmla="*/ 8954 w 322326"/>
                <a:gd name="connsiteY34" fmla="*/ 90868 h 204120"/>
                <a:gd name="connsiteX35" fmla="*/ 5620 w 322326"/>
                <a:gd name="connsiteY35" fmla="*/ 84010 h 204120"/>
                <a:gd name="connsiteX36" fmla="*/ 4191 w 322326"/>
                <a:gd name="connsiteY36" fmla="*/ 79343 h 204120"/>
                <a:gd name="connsiteX37" fmla="*/ 0 w 322326"/>
                <a:gd name="connsiteY37" fmla="*/ 53911 h 204120"/>
                <a:gd name="connsiteX38" fmla="*/ 13621 w 322326"/>
                <a:gd name="connsiteY38" fmla="*/ 50768 h 204120"/>
                <a:gd name="connsiteX39" fmla="*/ 26099 w 322326"/>
                <a:gd name="connsiteY39" fmla="*/ 63151 h 204120"/>
                <a:gd name="connsiteX40" fmla="*/ 42196 w 322326"/>
                <a:gd name="connsiteY40" fmla="*/ 68580 h 204120"/>
                <a:gd name="connsiteX41" fmla="*/ 66389 w 322326"/>
                <a:gd name="connsiteY41" fmla="*/ 64960 h 204120"/>
                <a:gd name="connsiteX42" fmla="*/ 83534 w 322326"/>
                <a:gd name="connsiteY42" fmla="*/ 66770 h 204120"/>
                <a:gd name="connsiteX43" fmla="*/ 101727 w 322326"/>
                <a:gd name="connsiteY43" fmla="*/ 48768 h 204120"/>
                <a:gd name="connsiteX44" fmla="*/ 99727 w 322326"/>
                <a:gd name="connsiteY44" fmla="*/ 18097 h 204120"/>
                <a:gd name="connsiteX45" fmla="*/ 128968 w 322326"/>
                <a:gd name="connsiteY45" fmla="*/ 5429 h 204120"/>
                <a:gd name="connsiteX46" fmla="*/ 149161 w 322326"/>
                <a:gd name="connsiteY46" fmla="*/ 0 h 204120"/>
                <a:gd name="connsiteX47" fmla="*/ 170307 w 322326"/>
                <a:gd name="connsiteY47" fmla="*/ 0 h 204120"/>
                <a:gd name="connsiteX48" fmla="*/ 172307 w 322326"/>
                <a:gd name="connsiteY48" fmla="*/ 16288 h 204120"/>
                <a:gd name="connsiteX49" fmla="*/ 169259 w 322326"/>
                <a:gd name="connsiteY49" fmla="*/ 39719 h 204120"/>
                <a:gd name="connsiteX50" fmla="*/ 176308 w 322326"/>
                <a:gd name="connsiteY50" fmla="*/ 41529 h 204120"/>
                <a:gd name="connsiteX51" fmla="*/ 187357 w 322326"/>
                <a:gd name="connsiteY51" fmla="*/ 30670 h 204120"/>
                <a:gd name="connsiteX52" fmla="*/ 205550 w 322326"/>
                <a:gd name="connsiteY52" fmla="*/ 30670 h 204120"/>
                <a:gd name="connsiteX53" fmla="*/ 248888 w 322326"/>
                <a:gd name="connsiteY53" fmla="*/ 57721 h 204120"/>
                <a:gd name="connsiteX54" fmla="*/ 267081 w 322326"/>
                <a:gd name="connsiteY54" fmla="*/ 63151 h 204120"/>
                <a:gd name="connsiteX55" fmla="*/ 277177 w 322326"/>
                <a:gd name="connsiteY55" fmla="*/ 64960 h 204120"/>
                <a:gd name="connsiteX56" fmla="*/ 276130 w 322326"/>
                <a:gd name="connsiteY56" fmla="*/ 45148 h 204120"/>
                <a:gd name="connsiteX57" fmla="*/ 281178 w 322326"/>
                <a:gd name="connsiteY57" fmla="*/ 41529 h 204120"/>
                <a:gd name="connsiteX58" fmla="*/ 291275 w 322326"/>
                <a:gd name="connsiteY58" fmla="*/ 50578 h 204120"/>
                <a:gd name="connsiteX59" fmla="*/ 308419 w 322326"/>
                <a:gd name="connsiteY59" fmla="*/ 59626 h 204120"/>
                <a:gd name="connsiteX60" fmla="*/ 322135 w 322326"/>
                <a:gd name="connsiteY60" fmla="*/ 73342 h 204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22326" h="204120">
                  <a:moveTo>
                    <a:pt x="322326" y="73342"/>
                  </a:moveTo>
                  <a:lnTo>
                    <a:pt x="316230" y="84296"/>
                  </a:lnTo>
                  <a:lnTo>
                    <a:pt x="277559" y="109918"/>
                  </a:lnTo>
                  <a:lnTo>
                    <a:pt x="266700" y="140684"/>
                  </a:lnTo>
                  <a:lnTo>
                    <a:pt x="263938" y="173736"/>
                  </a:lnTo>
                  <a:lnTo>
                    <a:pt x="260604" y="188500"/>
                  </a:lnTo>
                  <a:lnTo>
                    <a:pt x="257175" y="199168"/>
                  </a:lnTo>
                  <a:lnTo>
                    <a:pt x="246221" y="200596"/>
                  </a:lnTo>
                  <a:lnTo>
                    <a:pt x="197263" y="196120"/>
                  </a:lnTo>
                  <a:lnTo>
                    <a:pt x="184404" y="192214"/>
                  </a:lnTo>
                  <a:lnTo>
                    <a:pt x="172212" y="184975"/>
                  </a:lnTo>
                  <a:lnTo>
                    <a:pt x="162497" y="173641"/>
                  </a:lnTo>
                  <a:lnTo>
                    <a:pt x="154496" y="183070"/>
                  </a:lnTo>
                  <a:lnTo>
                    <a:pt x="136303" y="200882"/>
                  </a:lnTo>
                  <a:lnTo>
                    <a:pt x="128778" y="204121"/>
                  </a:lnTo>
                  <a:lnTo>
                    <a:pt x="118015" y="198120"/>
                  </a:lnTo>
                  <a:lnTo>
                    <a:pt x="93726" y="177451"/>
                  </a:lnTo>
                  <a:lnTo>
                    <a:pt x="85249" y="172784"/>
                  </a:lnTo>
                  <a:lnTo>
                    <a:pt x="69437" y="170117"/>
                  </a:lnTo>
                  <a:lnTo>
                    <a:pt x="18955" y="176593"/>
                  </a:lnTo>
                  <a:lnTo>
                    <a:pt x="18288" y="176974"/>
                  </a:lnTo>
                  <a:lnTo>
                    <a:pt x="18288" y="176689"/>
                  </a:lnTo>
                  <a:cubicBezTo>
                    <a:pt x="18288" y="176689"/>
                    <a:pt x="18002" y="176403"/>
                    <a:pt x="18002" y="176403"/>
                  </a:cubicBezTo>
                  <a:lnTo>
                    <a:pt x="18479" y="168211"/>
                  </a:lnTo>
                  <a:lnTo>
                    <a:pt x="19050" y="164211"/>
                  </a:lnTo>
                  <a:lnTo>
                    <a:pt x="18669" y="156781"/>
                  </a:lnTo>
                  <a:lnTo>
                    <a:pt x="17621" y="150590"/>
                  </a:lnTo>
                  <a:lnTo>
                    <a:pt x="571" y="143827"/>
                  </a:lnTo>
                  <a:lnTo>
                    <a:pt x="571" y="130778"/>
                  </a:lnTo>
                  <a:cubicBezTo>
                    <a:pt x="571" y="130778"/>
                    <a:pt x="2000" y="123063"/>
                    <a:pt x="2000" y="123063"/>
                  </a:cubicBezTo>
                  <a:lnTo>
                    <a:pt x="5334" y="117919"/>
                  </a:lnTo>
                  <a:lnTo>
                    <a:pt x="8573" y="106585"/>
                  </a:lnTo>
                  <a:lnTo>
                    <a:pt x="1143" y="103442"/>
                  </a:lnTo>
                  <a:lnTo>
                    <a:pt x="4572" y="96869"/>
                  </a:lnTo>
                  <a:lnTo>
                    <a:pt x="8954" y="90868"/>
                  </a:lnTo>
                  <a:lnTo>
                    <a:pt x="5620" y="84010"/>
                  </a:lnTo>
                  <a:lnTo>
                    <a:pt x="4191" y="79343"/>
                  </a:lnTo>
                  <a:lnTo>
                    <a:pt x="0" y="53911"/>
                  </a:lnTo>
                  <a:lnTo>
                    <a:pt x="13621" y="50768"/>
                  </a:lnTo>
                  <a:lnTo>
                    <a:pt x="26099" y="63151"/>
                  </a:lnTo>
                  <a:lnTo>
                    <a:pt x="42196" y="68580"/>
                  </a:lnTo>
                  <a:lnTo>
                    <a:pt x="66389" y="64960"/>
                  </a:lnTo>
                  <a:lnTo>
                    <a:pt x="83534" y="66770"/>
                  </a:lnTo>
                  <a:lnTo>
                    <a:pt x="101727" y="48768"/>
                  </a:lnTo>
                  <a:lnTo>
                    <a:pt x="99727" y="18097"/>
                  </a:lnTo>
                  <a:lnTo>
                    <a:pt x="128968" y="5429"/>
                  </a:lnTo>
                  <a:lnTo>
                    <a:pt x="149161" y="0"/>
                  </a:lnTo>
                  <a:lnTo>
                    <a:pt x="170307" y="0"/>
                  </a:lnTo>
                  <a:lnTo>
                    <a:pt x="172307" y="16288"/>
                  </a:lnTo>
                  <a:lnTo>
                    <a:pt x="169259" y="39719"/>
                  </a:lnTo>
                  <a:lnTo>
                    <a:pt x="176308" y="41529"/>
                  </a:lnTo>
                  <a:lnTo>
                    <a:pt x="187357" y="30670"/>
                  </a:lnTo>
                  <a:lnTo>
                    <a:pt x="205550" y="30670"/>
                  </a:lnTo>
                  <a:lnTo>
                    <a:pt x="248888" y="57721"/>
                  </a:lnTo>
                  <a:lnTo>
                    <a:pt x="267081" y="63151"/>
                  </a:lnTo>
                  <a:lnTo>
                    <a:pt x="277177" y="64960"/>
                  </a:lnTo>
                  <a:lnTo>
                    <a:pt x="276130" y="45148"/>
                  </a:lnTo>
                  <a:lnTo>
                    <a:pt x="281178" y="41529"/>
                  </a:lnTo>
                  <a:lnTo>
                    <a:pt x="291275" y="50578"/>
                  </a:lnTo>
                  <a:lnTo>
                    <a:pt x="308419" y="59626"/>
                  </a:lnTo>
                  <a:lnTo>
                    <a:pt x="322135" y="73342"/>
                  </a:lnTo>
                </a:path>
              </a:pathLst>
            </a:custGeom>
            <a:grpFill/>
            <a:ln w="2381" cap="sq">
              <a:noFill/>
              <a:prstDash val="solid"/>
              <a:bevel/>
            </a:ln>
          </p:spPr>
          <p:txBody>
            <a:bodyPr rtlCol="0" anchor="ctr"/>
            <a:lstStyle/>
            <a:p>
              <a:endParaRPr lang="cs-CZ"/>
            </a:p>
          </p:txBody>
        </p:sp>
        <p:sp>
          <p:nvSpPr>
            <p:cNvPr id="200" name="Freeform: Shape 199">
              <a:extLst>
                <a:ext uri="{FF2B5EF4-FFF2-40B4-BE49-F238E27FC236}">
                  <a16:creationId xmlns:a16="http://schemas.microsoft.com/office/drawing/2014/main" id="{03657772-44F0-EFF5-7B4A-1D14BED92E50}"/>
                </a:ext>
              </a:extLst>
            </p:cNvPr>
            <p:cNvSpPr/>
            <p:nvPr/>
          </p:nvSpPr>
          <p:spPr>
            <a:xfrm>
              <a:off x="11575730" y="8339833"/>
              <a:ext cx="100203" cy="233648"/>
            </a:xfrm>
            <a:custGeom>
              <a:avLst/>
              <a:gdLst>
                <a:gd name="connsiteX0" fmla="*/ 953 w 100203"/>
                <a:gd name="connsiteY0" fmla="*/ 167830 h 233648"/>
                <a:gd name="connsiteX1" fmla="*/ 4572 w 100203"/>
                <a:gd name="connsiteY1" fmla="*/ 154114 h 233648"/>
                <a:gd name="connsiteX2" fmla="*/ 5525 w 100203"/>
                <a:gd name="connsiteY2" fmla="*/ 146113 h 233648"/>
                <a:gd name="connsiteX3" fmla="*/ 5525 w 100203"/>
                <a:gd name="connsiteY3" fmla="*/ 138589 h 233648"/>
                <a:gd name="connsiteX4" fmla="*/ 5048 w 100203"/>
                <a:gd name="connsiteY4" fmla="*/ 132302 h 233648"/>
                <a:gd name="connsiteX5" fmla="*/ 953 w 100203"/>
                <a:gd name="connsiteY5" fmla="*/ 104680 h 233648"/>
                <a:gd name="connsiteX6" fmla="*/ 0 w 100203"/>
                <a:gd name="connsiteY6" fmla="*/ 90583 h 233648"/>
                <a:gd name="connsiteX7" fmla="*/ 762 w 100203"/>
                <a:gd name="connsiteY7" fmla="*/ 77057 h 233648"/>
                <a:gd name="connsiteX8" fmla="*/ 4096 w 100203"/>
                <a:gd name="connsiteY8" fmla="*/ 66294 h 233648"/>
                <a:gd name="connsiteX9" fmla="*/ 9335 w 100203"/>
                <a:gd name="connsiteY9" fmla="*/ 56769 h 233648"/>
                <a:gd name="connsiteX10" fmla="*/ 11621 w 100203"/>
                <a:gd name="connsiteY10" fmla="*/ 51244 h 233648"/>
                <a:gd name="connsiteX11" fmla="*/ 13526 w 100203"/>
                <a:gd name="connsiteY11" fmla="*/ 44863 h 233648"/>
                <a:gd name="connsiteX12" fmla="*/ 14383 w 100203"/>
                <a:gd name="connsiteY12" fmla="*/ 37052 h 233648"/>
                <a:gd name="connsiteX13" fmla="*/ 19907 w 100203"/>
                <a:gd name="connsiteY13" fmla="*/ 36195 h 233648"/>
                <a:gd name="connsiteX14" fmla="*/ 20860 w 100203"/>
                <a:gd name="connsiteY14" fmla="*/ 29242 h 233648"/>
                <a:gd name="connsiteX15" fmla="*/ 21622 w 100203"/>
                <a:gd name="connsiteY15" fmla="*/ 19145 h 233648"/>
                <a:gd name="connsiteX16" fmla="*/ 26194 w 100203"/>
                <a:gd name="connsiteY16" fmla="*/ 17335 h 233648"/>
                <a:gd name="connsiteX17" fmla="*/ 29623 w 100203"/>
                <a:gd name="connsiteY17" fmla="*/ 25717 h 233648"/>
                <a:gd name="connsiteX18" fmla="*/ 24098 w 100203"/>
                <a:gd name="connsiteY18" fmla="*/ 35338 h 233648"/>
                <a:gd name="connsiteX19" fmla="*/ 26765 w 100203"/>
                <a:gd name="connsiteY19" fmla="*/ 38005 h 233648"/>
                <a:gd name="connsiteX20" fmla="*/ 29623 w 100203"/>
                <a:gd name="connsiteY20" fmla="*/ 39719 h 233648"/>
                <a:gd name="connsiteX21" fmla="*/ 29623 w 100203"/>
                <a:gd name="connsiteY21" fmla="*/ 54578 h 233648"/>
                <a:gd name="connsiteX22" fmla="*/ 24098 w 100203"/>
                <a:gd name="connsiteY22" fmla="*/ 63722 h 233648"/>
                <a:gd name="connsiteX23" fmla="*/ 32957 w 100203"/>
                <a:gd name="connsiteY23" fmla="*/ 76486 h 233648"/>
                <a:gd name="connsiteX24" fmla="*/ 36195 w 100203"/>
                <a:gd name="connsiteY24" fmla="*/ 78581 h 233648"/>
                <a:gd name="connsiteX25" fmla="*/ 39434 w 100203"/>
                <a:gd name="connsiteY25" fmla="*/ 76962 h 233648"/>
                <a:gd name="connsiteX26" fmla="*/ 42196 w 100203"/>
                <a:gd name="connsiteY26" fmla="*/ 72866 h 233648"/>
                <a:gd name="connsiteX27" fmla="*/ 43244 w 100203"/>
                <a:gd name="connsiteY27" fmla="*/ 67342 h 233648"/>
                <a:gd name="connsiteX28" fmla="*/ 38862 w 100203"/>
                <a:gd name="connsiteY28" fmla="*/ 52578 h 233648"/>
                <a:gd name="connsiteX29" fmla="*/ 38100 w 100203"/>
                <a:gd name="connsiteY29" fmla="*/ 40100 h 233648"/>
                <a:gd name="connsiteX30" fmla="*/ 38672 w 100203"/>
                <a:gd name="connsiteY30" fmla="*/ 28194 h 233648"/>
                <a:gd name="connsiteX31" fmla="*/ 40196 w 100203"/>
                <a:gd name="connsiteY31" fmla="*/ 20669 h 233648"/>
                <a:gd name="connsiteX32" fmla="*/ 38481 w 100203"/>
                <a:gd name="connsiteY32" fmla="*/ 15811 h 233648"/>
                <a:gd name="connsiteX33" fmla="*/ 36767 w 100203"/>
                <a:gd name="connsiteY33" fmla="*/ 3429 h 233648"/>
                <a:gd name="connsiteX34" fmla="*/ 62103 w 100203"/>
                <a:gd name="connsiteY34" fmla="*/ 0 h 233648"/>
                <a:gd name="connsiteX35" fmla="*/ 69533 w 100203"/>
                <a:gd name="connsiteY35" fmla="*/ 48101 h 233648"/>
                <a:gd name="connsiteX36" fmla="*/ 94393 w 100203"/>
                <a:gd name="connsiteY36" fmla="*/ 46577 h 233648"/>
                <a:gd name="connsiteX37" fmla="*/ 100203 w 100203"/>
                <a:gd name="connsiteY37" fmla="*/ 103537 h 233648"/>
                <a:gd name="connsiteX38" fmla="*/ 81915 w 100203"/>
                <a:gd name="connsiteY38" fmla="*/ 100584 h 233648"/>
                <a:gd name="connsiteX39" fmla="*/ 83534 w 100203"/>
                <a:gd name="connsiteY39" fmla="*/ 123063 h 233648"/>
                <a:gd name="connsiteX40" fmla="*/ 81915 w 100203"/>
                <a:gd name="connsiteY40" fmla="*/ 148495 h 233648"/>
                <a:gd name="connsiteX41" fmla="*/ 76105 w 100203"/>
                <a:gd name="connsiteY41" fmla="*/ 164973 h 233648"/>
                <a:gd name="connsiteX42" fmla="*/ 54483 w 100203"/>
                <a:gd name="connsiteY42" fmla="*/ 196310 h 233648"/>
                <a:gd name="connsiteX43" fmla="*/ 45339 w 100203"/>
                <a:gd name="connsiteY43" fmla="*/ 190309 h 233648"/>
                <a:gd name="connsiteX44" fmla="*/ 44482 w 100203"/>
                <a:gd name="connsiteY44" fmla="*/ 215741 h 233648"/>
                <a:gd name="connsiteX45" fmla="*/ 44482 w 100203"/>
                <a:gd name="connsiteY45" fmla="*/ 233648 h 233648"/>
                <a:gd name="connsiteX46" fmla="*/ 33719 w 100203"/>
                <a:gd name="connsiteY46" fmla="*/ 232124 h 233648"/>
                <a:gd name="connsiteX47" fmla="*/ 25432 w 100203"/>
                <a:gd name="connsiteY47" fmla="*/ 163449 h 233648"/>
                <a:gd name="connsiteX48" fmla="*/ 762 w 100203"/>
                <a:gd name="connsiteY48" fmla="*/ 168116 h 23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00203" h="233648">
                  <a:moveTo>
                    <a:pt x="953" y="167830"/>
                  </a:moveTo>
                  <a:lnTo>
                    <a:pt x="4572" y="154114"/>
                  </a:lnTo>
                  <a:lnTo>
                    <a:pt x="5525" y="146113"/>
                  </a:lnTo>
                  <a:lnTo>
                    <a:pt x="5525" y="138589"/>
                  </a:lnTo>
                  <a:lnTo>
                    <a:pt x="5048" y="132302"/>
                  </a:lnTo>
                  <a:lnTo>
                    <a:pt x="953" y="104680"/>
                  </a:lnTo>
                  <a:lnTo>
                    <a:pt x="0" y="90583"/>
                  </a:lnTo>
                  <a:lnTo>
                    <a:pt x="762" y="77057"/>
                  </a:lnTo>
                  <a:lnTo>
                    <a:pt x="4096" y="66294"/>
                  </a:lnTo>
                  <a:lnTo>
                    <a:pt x="9335" y="56769"/>
                  </a:lnTo>
                  <a:lnTo>
                    <a:pt x="11621" y="51244"/>
                  </a:lnTo>
                  <a:lnTo>
                    <a:pt x="13526" y="44863"/>
                  </a:lnTo>
                  <a:lnTo>
                    <a:pt x="14383" y="37052"/>
                  </a:lnTo>
                  <a:lnTo>
                    <a:pt x="19907" y="36195"/>
                  </a:lnTo>
                  <a:lnTo>
                    <a:pt x="20860" y="29242"/>
                  </a:lnTo>
                  <a:lnTo>
                    <a:pt x="21622" y="19145"/>
                  </a:lnTo>
                  <a:lnTo>
                    <a:pt x="26194" y="17335"/>
                  </a:lnTo>
                  <a:lnTo>
                    <a:pt x="29623" y="25717"/>
                  </a:lnTo>
                  <a:lnTo>
                    <a:pt x="24098" y="35338"/>
                  </a:lnTo>
                  <a:lnTo>
                    <a:pt x="26765" y="38005"/>
                  </a:lnTo>
                  <a:lnTo>
                    <a:pt x="29623" y="39719"/>
                  </a:lnTo>
                  <a:lnTo>
                    <a:pt x="29623" y="54578"/>
                  </a:lnTo>
                  <a:lnTo>
                    <a:pt x="24098" y="63722"/>
                  </a:lnTo>
                  <a:lnTo>
                    <a:pt x="32957" y="76486"/>
                  </a:lnTo>
                  <a:lnTo>
                    <a:pt x="36195" y="78581"/>
                  </a:lnTo>
                  <a:lnTo>
                    <a:pt x="39434" y="76962"/>
                  </a:lnTo>
                  <a:lnTo>
                    <a:pt x="42196" y="72866"/>
                  </a:lnTo>
                  <a:lnTo>
                    <a:pt x="43244" y="67342"/>
                  </a:lnTo>
                  <a:lnTo>
                    <a:pt x="38862" y="52578"/>
                  </a:lnTo>
                  <a:lnTo>
                    <a:pt x="38100" y="40100"/>
                  </a:lnTo>
                  <a:lnTo>
                    <a:pt x="38672" y="28194"/>
                  </a:lnTo>
                  <a:lnTo>
                    <a:pt x="40196" y="20669"/>
                  </a:lnTo>
                  <a:lnTo>
                    <a:pt x="38481" y="15811"/>
                  </a:lnTo>
                  <a:lnTo>
                    <a:pt x="36767" y="3429"/>
                  </a:lnTo>
                  <a:lnTo>
                    <a:pt x="62103" y="0"/>
                  </a:lnTo>
                  <a:lnTo>
                    <a:pt x="69533" y="48101"/>
                  </a:lnTo>
                  <a:lnTo>
                    <a:pt x="94393" y="46577"/>
                  </a:lnTo>
                  <a:lnTo>
                    <a:pt x="100203" y="103537"/>
                  </a:lnTo>
                  <a:lnTo>
                    <a:pt x="81915" y="100584"/>
                  </a:lnTo>
                  <a:lnTo>
                    <a:pt x="83534" y="123063"/>
                  </a:lnTo>
                  <a:lnTo>
                    <a:pt x="81915" y="148495"/>
                  </a:lnTo>
                  <a:lnTo>
                    <a:pt x="76105" y="164973"/>
                  </a:lnTo>
                  <a:lnTo>
                    <a:pt x="54483" y="196310"/>
                  </a:lnTo>
                  <a:lnTo>
                    <a:pt x="45339" y="190309"/>
                  </a:lnTo>
                  <a:lnTo>
                    <a:pt x="44482" y="215741"/>
                  </a:lnTo>
                  <a:lnTo>
                    <a:pt x="44482" y="233648"/>
                  </a:lnTo>
                  <a:lnTo>
                    <a:pt x="33719" y="232124"/>
                  </a:lnTo>
                  <a:lnTo>
                    <a:pt x="25432" y="163449"/>
                  </a:lnTo>
                  <a:lnTo>
                    <a:pt x="762" y="168116"/>
                  </a:lnTo>
                </a:path>
              </a:pathLst>
            </a:custGeom>
            <a:grpFill/>
            <a:ln w="2381" cap="sq">
              <a:noFill/>
              <a:prstDash val="solid"/>
              <a:bevel/>
            </a:ln>
          </p:spPr>
          <p:txBody>
            <a:bodyPr rtlCol="0" anchor="ctr"/>
            <a:lstStyle/>
            <a:p>
              <a:endParaRPr lang="cs-CZ"/>
            </a:p>
          </p:txBody>
        </p:sp>
        <p:sp>
          <p:nvSpPr>
            <p:cNvPr id="201" name="Freeform: Shape 200">
              <a:extLst>
                <a:ext uri="{FF2B5EF4-FFF2-40B4-BE49-F238E27FC236}">
                  <a16:creationId xmlns:a16="http://schemas.microsoft.com/office/drawing/2014/main" id="{A83C9B6F-AD6E-E558-8B1F-52DB0956B740}"/>
                </a:ext>
              </a:extLst>
            </p:cNvPr>
            <p:cNvSpPr/>
            <p:nvPr/>
          </p:nvSpPr>
          <p:spPr>
            <a:xfrm>
              <a:off x="11584875" y="8257441"/>
              <a:ext cx="43338" cy="73437"/>
            </a:xfrm>
            <a:custGeom>
              <a:avLst/>
              <a:gdLst>
                <a:gd name="connsiteX0" fmla="*/ 23717 w 43338"/>
                <a:gd name="connsiteY0" fmla="*/ 73438 h 73437"/>
                <a:gd name="connsiteX1" fmla="*/ 21812 w 43338"/>
                <a:gd name="connsiteY1" fmla="*/ 70199 h 73437"/>
                <a:gd name="connsiteX2" fmla="*/ 14954 w 43338"/>
                <a:gd name="connsiteY2" fmla="*/ 64198 h 73437"/>
                <a:gd name="connsiteX3" fmla="*/ 10668 w 43338"/>
                <a:gd name="connsiteY3" fmla="*/ 62103 h 73437"/>
                <a:gd name="connsiteX4" fmla="*/ 7144 w 43338"/>
                <a:gd name="connsiteY4" fmla="*/ 61627 h 73437"/>
                <a:gd name="connsiteX5" fmla="*/ 4286 w 43338"/>
                <a:gd name="connsiteY5" fmla="*/ 60007 h 73437"/>
                <a:gd name="connsiteX6" fmla="*/ 1619 w 43338"/>
                <a:gd name="connsiteY6" fmla="*/ 54483 h 73437"/>
                <a:gd name="connsiteX7" fmla="*/ 0 w 43338"/>
                <a:gd name="connsiteY7" fmla="*/ 46673 h 73437"/>
                <a:gd name="connsiteX8" fmla="*/ 1143 w 43338"/>
                <a:gd name="connsiteY8" fmla="*/ 43529 h 73437"/>
                <a:gd name="connsiteX9" fmla="*/ 3143 w 43338"/>
                <a:gd name="connsiteY9" fmla="*/ 40481 h 73437"/>
                <a:gd name="connsiteX10" fmla="*/ 7144 w 43338"/>
                <a:gd name="connsiteY10" fmla="*/ 11525 h 73437"/>
                <a:gd name="connsiteX11" fmla="*/ 11049 w 43338"/>
                <a:gd name="connsiteY11" fmla="*/ 0 h 73437"/>
                <a:gd name="connsiteX12" fmla="*/ 29242 w 43338"/>
                <a:gd name="connsiteY12" fmla="*/ 6572 h 73437"/>
                <a:gd name="connsiteX13" fmla="*/ 33242 w 43338"/>
                <a:gd name="connsiteY13" fmla="*/ 36862 h 73437"/>
                <a:gd name="connsiteX14" fmla="*/ 39624 w 43338"/>
                <a:gd name="connsiteY14" fmla="*/ 32671 h 73437"/>
                <a:gd name="connsiteX15" fmla="*/ 43339 w 43338"/>
                <a:gd name="connsiteY15" fmla="*/ 58102 h 73437"/>
                <a:gd name="connsiteX16" fmla="*/ 31433 w 43338"/>
                <a:gd name="connsiteY16" fmla="*/ 64770 h 73437"/>
                <a:gd name="connsiteX17" fmla="*/ 23717 w 43338"/>
                <a:gd name="connsiteY17" fmla="*/ 73438 h 7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338" h="73437">
                  <a:moveTo>
                    <a:pt x="23717" y="73438"/>
                  </a:moveTo>
                  <a:lnTo>
                    <a:pt x="21812" y="70199"/>
                  </a:lnTo>
                  <a:lnTo>
                    <a:pt x="14954" y="64198"/>
                  </a:lnTo>
                  <a:lnTo>
                    <a:pt x="10668" y="62103"/>
                  </a:lnTo>
                  <a:lnTo>
                    <a:pt x="7144" y="61627"/>
                  </a:lnTo>
                  <a:lnTo>
                    <a:pt x="4286" y="60007"/>
                  </a:lnTo>
                  <a:lnTo>
                    <a:pt x="1619" y="54483"/>
                  </a:lnTo>
                  <a:lnTo>
                    <a:pt x="0" y="46673"/>
                  </a:lnTo>
                  <a:lnTo>
                    <a:pt x="1143" y="43529"/>
                  </a:lnTo>
                  <a:lnTo>
                    <a:pt x="3143" y="40481"/>
                  </a:lnTo>
                  <a:lnTo>
                    <a:pt x="7144" y="11525"/>
                  </a:lnTo>
                  <a:lnTo>
                    <a:pt x="11049" y="0"/>
                  </a:lnTo>
                  <a:lnTo>
                    <a:pt x="29242" y="6572"/>
                  </a:lnTo>
                  <a:lnTo>
                    <a:pt x="33242" y="36862"/>
                  </a:lnTo>
                  <a:lnTo>
                    <a:pt x="39624" y="32671"/>
                  </a:lnTo>
                  <a:lnTo>
                    <a:pt x="43339" y="58102"/>
                  </a:lnTo>
                  <a:lnTo>
                    <a:pt x="31433" y="64770"/>
                  </a:lnTo>
                  <a:lnTo>
                    <a:pt x="23717" y="73438"/>
                  </a:lnTo>
                </a:path>
              </a:pathLst>
            </a:custGeom>
            <a:grpFill/>
            <a:ln w="2381" cap="sq">
              <a:noFill/>
              <a:prstDash val="solid"/>
              <a:bevel/>
            </a:ln>
          </p:spPr>
          <p:txBody>
            <a:bodyPr rtlCol="0" anchor="ctr"/>
            <a:lstStyle/>
            <a:p>
              <a:endParaRPr lang="cs-CZ"/>
            </a:p>
          </p:txBody>
        </p:sp>
        <p:sp>
          <p:nvSpPr>
            <p:cNvPr id="202" name="Freeform: Shape 201">
              <a:extLst>
                <a:ext uri="{FF2B5EF4-FFF2-40B4-BE49-F238E27FC236}">
                  <a16:creationId xmlns:a16="http://schemas.microsoft.com/office/drawing/2014/main" id="{E53106A6-34AF-95BB-2BE2-7F4A78706562}"/>
                </a:ext>
              </a:extLst>
            </p:cNvPr>
            <p:cNvSpPr/>
            <p:nvPr/>
          </p:nvSpPr>
          <p:spPr>
            <a:xfrm>
              <a:off x="11588208" y="8324592"/>
              <a:ext cx="13811" cy="52292"/>
            </a:xfrm>
            <a:custGeom>
              <a:avLst/>
              <a:gdLst>
                <a:gd name="connsiteX0" fmla="*/ 1905 w 13811"/>
                <a:gd name="connsiteY0" fmla="*/ 52292 h 52292"/>
                <a:gd name="connsiteX1" fmla="*/ 1905 w 13811"/>
                <a:gd name="connsiteY1" fmla="*/ 38481 h 52292"/>
                <a:gd name="connsiteX2" fmla="*/ 3905 w 13811"/>
                <a:gd name="connsiteY2" fmla="*/ 31242 h 52292"/>
                <a:gd name="connsiteX3" fmla="*/ 1048 w 13811"/>
                <a:gd name="connsiteY3" fmla="*/ 19336 h 52292"/>
                <a:gd name="connsiteX4" fmla="*/ 0 w 13811"/>
                <a:gd name="connsiteY4" fmla="*/ 6572 h 52292"/>
                <a:gd name="connsiteX5" fmla="*/ 2286 w 13811"/>
                <a:gd name="connsiteY5" fmla="*/ 0 h 52292"/>
                <a:gd name="connsiteX6" fmla="*/ 9239 w 13811"/>
                <a:gd name="connsiteY6" fmla="*/ 6668 h 52292"/>
                <a:gd name="connsiteX7" fmla="*/ 11716 w 13811"/>
                <a:gd name="connsiteY7" fmla="*/ 14002 h 52292"/>
                <a:gd name="connsiteX8" fmla="*/ 13811 w 13811"/>
                <a:gd name="connsiteY8" fmla="*/ 32480 h 52292"/>
                <a:gd name="connsiteX9" fmla="*/ 9239 w 13811"/>
                <a:gd name="connsiteY9" fmla="*/ 34290 h 52292"/>
                <a:gd name="connsiteX10" fmla="*/ 8477 w 13811"/>
                <a:gd name="connsiteY10" fmla="*/ 44387 h 52292"/>
                <a:gd name="connsiteX11" fmla="*/ 7525 w 13811"/>
                <a:gd name="connsiteY11" fmla="*/ 51340 h 52292"/>
                <a:gd name="connsiteX12" fmla="*/ 2000 w 13811"/>
                <a:gd name="connsiteY12" fmla="*/ 52197 h 5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1" h="52292">
                  <a:moveTo>
                    <a:pt x="1905" y="52292"/>
                  </a:moveTo>
                  <a:lnTo>
                    <a:pt x="1905" y="38481"/>
                  </a:lnTo>
                  <a:cubicBezTo>
                    <a:pt x="1905" y="38481"/>
                    <a:pt x="3905" y="31242"/>
                    <a:pt x="3905" y="31242"/>
                  </a:cubicBezTo>
                  <a:lnTo>
                    <a:pt x="1048" y="19336"/>
                  </a:lnTo>
                  <a:lnTo>
                    <a:pt x="0" y="6572"/>
                  </a:lnTo>
                  <a:lnTo>
                    <a:pt x="2286" y="0"/>
                  </a:lnTo>
                  <a:lnTo>
                    <a:pt x="9239" y="6668"/>
                  </a:lnTo>
                  <a:lnTo>
                    <a:pt x="11716" y="14002"/>
                  </a:lnTo>
                  <a:lnTo>
                    <a:pt x="13811" y="32480"/>
                  </a:lnTo>
                  <a:lnTo>
                    <a:pt x="9239" y="34290"/>
                  </a:lnTo>
                  <a:lnTo>
                    <a:pt x="8477" y="44387"/>
                  </a:lnTo>
                  <a:lnTo>
                    <a:pt x="7525" y="51340"/>
                  </a:lnTo>
                  <a:lnTo>
                    <a:pt x="2000" y="52197"/>
                  </a:lnTo>
                </a:path>
              </a:pathLst>
            </a:custGeom>
            <a:grpFill/>
            <a:ln w="2381" cap="sq">
              <a:noFill/>
              <a:prstDash val="solid"/>
              <a:bevel/>
            </a:ln>
          </p:spPr>
          <p:txBody>
            <a:bodyPr rtlCol="0" anchor="ctr"/>
            <a:lstStyle/>
            <a:p>
              <a:endParaRPr lang="cs-CZ"/>
            </a:p>
          </p:txBody>
        </p:sp>
        <p:sp>
          <p:nvSpPr>
            <p:cNvPr id="203" name="Freeform: Shape 202">
              <a:extLst>
                <a:ext uri="{FF2B5EF4-FFF2-40B4-BE49-F238E27FC236}">
                  <a16:creationId xmlns:a16="http://schemas.microsoft.com/office/drawing/2014/main" id="{B93476C7-B482-C147-6ACB-B984AD0E3768}"/>
                </a:ext>
              </a:extLst>
            </p:cNvPr>
            <p:cNvSpPr/>
            <p:nvPr/>
          </p:nvSpPr>
          <p:spPr>
            <a:xfrm>
              <a:off x="11595924" y="8209816"/>
              <a:ext cx="162306" cy="251364"/>
            </a:xfrm>
            <a:custGeom>
              <a:avLst/>
              <a:gdLst>
                <a:gd name="connsiteX0" fmla="*/ 16669 w 162306"/>
                <a:gd name="connsiteY0" fmla="*/ 133159 h 251364"/>
                <a:gd name="connsiteX1" fmla="*/ 14764 w 162306"/>
                <a:gd name="connsiteY1" fmla="*/ 126302 h 251364"/>
                <a:gd name="connsiteX2" fmla="*/ 12668 w 162306"/>
                <a:gd name="connsiteY2" fmla="*/ 121063 h 251364"/>
                <a:gd name="connsiteX3" fmla="*/ 20384 w 162306"/>
                <a:gd name="connsiteY3" fmla="*/ 112395 h 251364"/>
                <a:gd name="connsiteX4" fmla="*/ 32290 w 162306"/>
                <a:gd name="connsiteY4" fmla="*/ 105727 h 251364"/>
                <a:gd name="connsiteX5" fmla="*/ 28575 w 162306"/>
                <a:gd name="connsiteY5" fmla="*/ 80296 h 251364"/>
                <a:gd name="connsiteX6" fmla="*/ 22193 w 162306"/>
                <a:gd name="connsiteY6" fmla="*/ 84487 h 251364"/>
                <a:gd name="connsiteX7" fmla="*/ 18193 w 162306"/>
                <a:gd name="connsiteY7" fmla="*/ 54197 h 251364"/>
                <a:gd name="connsiteX8" fmla="*/ 0 w 162306"/>
                <a:gd name="connsiteY8" fmla="*/ 47625 h 251364"/>
                <a:gd name="connsiteX9" fmla="*/ 9906 w 162306"/>
                <a:gd name="connsiteY9" fmla="*/ 18479 h 251364"/>
                <a:gd name="connsiteX10" fmla="*/ 14478 w 162306"/>
                <a:gd name="connsiteY10" fmla="*/ 27242 h 251364"/>
                <a:gd name="connsiteX11" fmla="*/ 39338 w 162306"/>
                <a:gd name="connsiteY11" fmla="*/ 33242 h 251364"/>
                <a:gd name="connsiteX12" fmla="*/ 51816 w 162306"/>
                <a:gd name="connsiteY12" fmla="*/ 0 h 251364"/>
                <a:gd name="connsiteX13" fmla="*/ 74200 w 162306"/>
                <a:gd name="connsiteY13" fmla="*/ 25717 h 251364"/>
                <a:gd name="connsiteX14" fmla="*/ 92488 w 162306"/>
                <a:gd name="connsiteY14" fmla="*/ 18193 h 251364"/>
                <a:gd name="connsiteX15" fmla="*/ 101632 w 162306"/>
                <a:gd name="connsiteY15" fmla="*/ 49911 h 251364"/>
                <a:gd name="connsiteX16" fmla="*/ 90869 w 162306"/>
                <a:gd name="connsiteY16" fmla="*/ 66484 h 251364"/>
                <a:gd name="connsiteX17" fmla="*/ 91726 w 162306"/>
                <a:gd name="connsiteY17" fmla="*/ 107156 h 251364"/>
                <a:gd name="connsiteX18" fmla="*/ 127445 w 162306"/>
                <a:gd name="connsiteY18" fmla="*/ 98107 h 251364"/>
                <a:gd name="connsiteX19" fmla="*/ 129921 w 162306"/>
                <a:gd name="connsiteY19" fmla="*/ 126682 h 251364"/>
                <a:gd name="connsiteX20" fmla="*/ 141542 w 162306"/>
                <a:gd name="connsiteY20" fmla="*/ 135731 h 251364"/>
                <a:gd name="connsiteX21" fmla="*/ 142399 w 162306"/>
                <a:gd name="connsiteY21" fmla="*/ 153829 h 251364"/>
                <a:gd name="connsiteX22" fmla="*/ 162306 w 162306"/>
                <a:gd name="connsiteY22" fmla="*/ 194310 h 251364"/>
                <a:gd name="connsiteX23" fmla="*/ 154019 w 162306"/>
                <a:gd name="connsiteY23" fmla="*/ 231839 h 251364"/>
                <a:gd name="connsiteX24" fmla="*/ 139922 w 162306"/>
                <a:gd name="connsiteY24" fmla="*/ 249841 h 251364"/>
                <a:gd name="connsiteX25" fmla="*/ 94298 w 162306"/>
                <a:gd name="connsiteY25" fmla="*/ 251365 h 251364"/>
                <a:gd name="connsiteX26" fmla="*/ 80201 w 162306"/>
                <a:gd name="connsiteY26" fmla="*/ 233362 h 251364"/>
                <a:gd name="connsiteX27" fmla="*/ 74390 w 162306"/>
                <a:gd name="connsiteY27" fmla="*/ 176403 h 251364"/>
                <a:gd name="connsiteX28" fmla="*/ 49530 w 162306"/>
                <a:gd name="connsiteY28" fmla="*/ 177927 h 251364"/>
                <a:gd name="connsiteX29" fmla="*/ 42101 w 162306"/>
                <a:gd name="connsiteY29" fmla="*/ 129826 h 251364"/>
                <a:gd name="connsiteX30" fmla="*/ 16764 w 162306"/>
                <a:gd name="connsiteY30" fmla="*/ 133255 h 251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2306" h="251364">
                  <a:moveTo>
                    <a:pt x="16669" y="133159"/>
                  </a:moveTo>
                  <a:lnTo>
                    <a:pt x="14764" y="126302"/>
                  </a:lnTo>
                  <a:lnTo>
                    <a:pt x="12668" y="121063"/>
                  </a:lnTo>
                  <a:lnTo>
                    <a:pt x="20384" y="112395"/>
                  </a:lnTo>
                  <a:lnTo>
                    <a:pt x="32290" y="105727"/>
                  </a:lnTo>
                  <a:lnTo>
                    <a:pt x="28575" y="80296"/>
                  </a:lnTo>
                  <a:lnTo>
                    <a:pt x="22193" y="84487"/>
                  </a:lnTo>
                  <a:lnTo>
                    <a:pt x="18193" y="54197"/>
                  </a:lnTo>
                  <a:lnTo>
                    <a:pt x="0" y="47625"/>
                  </a:lnTo>
                  <a:lnTo>
                    <a:pt x="9906" y="18479"/>
                  </a:lnTo>
                  <a:lnTo>
                    <a:pt x="14478" y="27242"/>
                  </a:lnTo>
                  <a:lnTo>
                    <a:pt x="39338" y="33242"/>
                  </a:lnTo>
                  <a:lnTo>
                    <a:pt x="51816" y="0"/>
                  </a:lnTo>
                  <a:lnTo>
                    <a:pt x="74200" y="25717"/>
                  </a:lnTo>
                  <a:lnTo>
                    <a:pt x="92488" y="18193"/>
                  </a:lnTo>
                  <a:lnTo>
                    <a:pt x="101632" y="49911"/>
                  </a:lnTo>
                  <a:lnTo>
                    <a:pt x="90869" y="66484"/>
                  </a:lnTo>
                  <a:lnTo>
                    <a:pt x="91726" y="107156"/>
                  </a:lnTo>
                  <a:lnTo>
                    <a:pt x="127445" y="98107"/>
                  </a:lnTo>
                  <a:lnTo>
                    <a:pt x="129921" y="126682"/>
                  </a:lnTo>
                  <a:lnTo>
                    <a:pt x="141542" y="135731"/>
                  </a:lnTo>
                  <a:lnTo>
                    <a:pt x="142399" y="153829"/>
                  </a:lnTo>
                  <a:lnTo>
                    <a:pt x="162306" y="194310"/>
                  </a:lnTo>
                  <a:lnTo>
                    <a:pt x="154019" y="231839"/>
                  </a:lnTo>
                  <a:lnTo>
                    <a:pt x="139922" y="249841"/>
                  </a:lnTo>
                  <a:lnTo>
                    <a:pt x="94298" y="251365"/>
                  </a:lnTo>
                  <a:lnTo>
                    <a:pt x="80201" y="233362"/>
                  </a:lnTo>
                  <a:lnTo>
                    <a:pt x="74390" y="176403"/>
                  </a:lnTo>
                  <a:lnTo>
                    <a:pt x="49530" y="177927"/>
                  </a:lnTo>
                  <a:lnTo>
                    <a:pt x="42101" y="129826"/>
                  </a:lnTo>
                  <a:lnTo>
                    <a:pt x="16764" y="133255"/>
                  </a:lnTo>
                </a:path>
              </a:pathLst>
            </a:custGeom>
            <a:grpFill/>
            <a:ln w="2381" cap="sq">
              <a:noFill/>
              <a:prstDash val="solid"/>
              <a:bevel/>
            </a:ln>
          </p:spPr>
          <p:txBody>
            <a:bodyPr rtlCol="0" anchor="ctr"/>
            <a:lstStyle/>
            <a:p>
              <a:endParaRPr lang="cs-CZ"/>
            </a:p>
          </p:txBody>
        </p:sp>
        <p:sp>
          <p:nvSpPr>
            <p:cNvPr id="204" name="Freeform: Shape 203">
              <a:extLst>
                <a:ext uri="{FF2B5EF4-FFF2-40B4-BE49-F238E27FC236}">
                  <a16:creationId xmlns:a16="http://schemas.microsoft.com/office/drawing/2014/main" id="{1B5D72BD-3F91-5BC4-C208-6E49A18B8462}"/>
                </a:ext>
              </a:extLst>
            </p:cNvPr>
            <p:cNvSpPr/>
            <p:nvPr/>
          </p:nvSpPr>
          <p:spPr>
            <a:xfrm>
              <a:off x="11606020" y="8002362"/>
              <a:ext cx="174212" cy="240601"/>
            </a:xfrm>
            <a:custGeom>
              <a:avLst/>
              <a:gdLst>
                <a:gd name="connsiteX0" fmla="*/ 0 w 174212"/>
                <a:gd name="connsiteY0" fmla="*/ 225933 h 240601"/>
                <a:gd name="connsiteX1" fmla="*/ 4763 w 174212"/>
                <a:gd name="connsiteY1" fmla="*/ 202882 h 240601"/>
                <a:gd name="connsiteX2" fmla="*/ 7429 w 174212"/>
                <a:gd name="connsiteY2" fmla="*/ 142113 h 240601"/>
                <a:gd name="connsiteX3" fmla="*/ 5906 w 174212"/>
                <a:gd name="connsiteY3" fmla="*/ 128016 h 240601"/>
                <a:gd name="connsiteX4" fmla="*/ 3143 w 174212"/>
                <a:gd name="connsiteY4" fmla="*/ 115348 h 240601"/>
                <a:gd name="connsiteX5" fmla="*/ 2572 w 174212"/>
                <a:gd name="connsiteY5" fmla="*/ 103251 h 240601"/>
                <a:gd name="connsiteX6" fmla="*/ 7429 w 174212"/>
                <a:gd name="connsiteY6" fmla="*/ 90869 h 240601"/>
                <a:gd name="connsiteX7" fmla="*/ 39338 w 174212"/>
                <a:gd name="connsiteY7" fmla="*/ 69437 h 240601"/>
                <a:gd name="connsiteX8" fmla="*/ 43053 w 174212"/>
                <a:gd name="connsiteY8" fmla="*/ 62865 h 240601"/>
                <a:gd name="connsiteX9" fmla="*/ 68771 w 174212"/>
                <a:gd name="connsiteY9" fmla="*/ 47053 h 240601"/>
                <a:gd name="connsiteX10" fmla="*/ 75819 w 174212"/>
                <a:gd name="connsiteY10" fmla="*/ 39529 h 240601"/>
                <a:gd name="connsiteX11" fmla="*/ 90107 w 174212"/>
                <a:gd name="connsiteY11" fmla="*/ 17526 h 240601"/>
                <a:gd name="connsiteX12" fmla="*/ 94107 w 174212"/>
                <a:gd name="connsiteY12" fmla="*/ 12954 h 240601"/>
                <a:gd name="connsiteX13" fmla="*/ 98965 w 174212"/>
                <a:gd name="connsiteY13" fmla="*/ 10096 h 240601"/>
                <a:gd name="connsiteX14" fmla="*/ 109919 w 174212"/>
                <a:gd name="connsiteY14" fmla="*/ 0 h 240601"/>
                <a:gd name="connsiteX15" fmla="*/ 111347 w 174212"/>
                <a:gd name="connsiteY15" fmla="*/ 0 h 240601"/>
                <a:gd name="connsiteX16" fmla="*/ 123349 w 174212"/>
                <a:gd name="connsiteY16" fmla="*/ 4953 h 240601"/>
                <a:gd name="connsiteX17" fmla="*/ 132017 w 174212"/>
                <a:gd name="connsiteY17" fmla="*/ 12192 h 240601"/>
                <a:gd name="connsiteX18" fmla="*/ 136303 w 174212"/>
                <a:gd name="connsiteY18" fmla="*/ 22288 h 240601"/>
                <a:gd name="connsiteX19" fmla="*/ 134588 w 174212"/>
                <a:gd name="connsiteY19" fmla="*/ 28003 h 240601"/>
                <a:gd name="connsiteX20" fmla="*/ 136779 w 174212"/>
                <a:gd name="connsiteY20" fmla="*/ 31623 h 240601"/>
                <a:gd name="connsiteX21" fmla="*/ 140208 w 174212"/>
                <a:gd name="connsiteY21" fmla="*/ 35814 h 240601"/>
                <a:gd name="connsiteX22" fmla="*/ 156305 w 174212"/>
                <a:gd name="connsiteY22" fmla="*/ 43910 h 240601"/>
                <a:gd name="connsiteX23" fmla="*/ 174212 w 174212"/>
                <a:gd name="connsiteY23" fmla="*/ 49816 h 240601"/>
                <a:gd name="connsiteX24" fmla="*/ 166592 w 174212"/>
                <a:gd name="connsiteY24" fmla="*/ 61341 h 240601"/>
                <a:gd name="connsiteX25" fmla="*/ 164402 w 174212"/>
                <a:gd name="connsiteY25" fmla="*/ 67532 h 240601"/>
                <a:gd name="connsiteX26" fmla="*/ 152114 w 174212"/>
                <a:gd name="connsiteY26" fmla="*/ 75628 h 240601"/>
                <a:gd name="connsiteX27" fmla="*/ 153353 w 174212"/>
                <a:gd name="connsiteY27" fmla="*/ 95345 h 240601"/>
                <a:gd name="connsiteX28" fmla="*/ 141732 w 174212"/>
                <a:gd name="connsiteY28" fmla="*/ 101441 h 240601"/>
                <a:gd name="connsiteX29" fmla="*/ 116872 w 174212"/>
                <a:gd name="connsiteY29" fmla="*/ 109061 h 240601"/>
                <a:gd name="connsiteX30" fmla="*/ 106871 w 174212"/>
                <a:gd name="connsiteY30" fmla="*/ 118110 h 240601"/>
                <a:gd name="connsiteX31" fmla="*/ 108490 w 174212"/>
                <a:gd name="connsiteY31" fmla="*/ 152971 h 240601"/>
                <a:gd name="connsiteX32" fmla="*/ 105156 w 174212"/>
                <a:gd name="connsiteY32" fmla="*/ 166592 h 240601"/>
                <a:gd name="connsiteX33" fmla="*/ 96012 w 174212"/>
                <a:gd name="connsiteY33" fmla="*/ 154496 h 240601"/>
                <a:gd name="connsiteX34" fmla="*/ 83534 w 174212"/>
                <a:gd name="connsiteY34" fmla="*/ 166592 h 240601"/>
                <a:gd name="connsiteX35" fmla="*/ 88487 w 174212"/>
                <a:gd name="connsiteY35" fmla="*/ 189262 h 240601"/>
                <a:gd name="connsiteX36" fmla="*/ 94298 w 174212"/>
                <a:gd name="connsiteY36" fmla="*/ 207359 h 240601"/>
                <a:gd name="connsiteX37" fmla="*/ 82677 w 174212"/>
                <a:gd name="connsiteY37" fmla="*/ 225552 h 240601"/>
                <a:gd name="connsiteX38" fmla="*/ 64389 w 174212"/>
                <a:gd name="connsiteY38" fmla="*/ 233077 h 240601"/>
                <a:gd name="connsiteX39" fmla="*/ 42005 w 174212"/>
                <a:gd name="connsiteY39" fmla="*/ 207359 h 240601"/>
                <a:gd name="connsiteX40" fmla="*/ 29528 w 174212"/>
                <a:gd name="connsiteY40" fmla="*/ 240601 h 240601"/>
                <a:gd name="connsiteX41" fmla="*/ 4667 w 174212"/>
                <a:gd name="connsiteY41" fmla="*/ 234601 h 240601"/>
                <a:gd name="connsiteX42" fmla="*/ 95 w 174212"/>
                <a:gd name="connsiteY42" fmla="*/ 225838 h 240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4212" h="240601">
                  <a:moveTo>
                    <a:pt x="0" y="225933"/>
                  </a:moveTo>
                  <a:lnTo>
                    <a:pt x="4763" y="202882"/>
                  </a:lnTo>
                  <a:lnTo>
                    <a:pt x="7429" y="142113"/>
                  </a:lnTo>
                  <a:lnTo>
                    <a:pt x="5906" y="128016"/>
                  </a:lnTo>
                  <a:lnTo>
                    <a:pt x="3143" y="115348"/>
                  </a:lnTo>
                  <a:lnTo>
                    <a:pt x="2572" y="103251"/>
                  </a:lnTo>
                  <a:lnTo>
                    <a:pt x="7429" y="90869"/>
                  </a:lnTo>
                  <a:lnTo>
                    <a:pt x="39338" y="69437"/>
                  </a:lnTo>
                  <a:lnTo>
                    <a:pt x="43053" y="62865"/>
                  </a:lnTo>
                  <a:lnTo>
                    <a:pt x="68771" y="47053"/>
                  </a:lnTo>
                  <a:lnTo>
                    <a:pt x="75819" y="39529"/>
                  </a:lnTo>
                  <a:lnTo>
                    <a:pt x="90107" y="17526"/>
                  </a:lnTo>
                  <a:lnTo>
                    <a:pt x="94107" y="12954"/>
                  </a:lnTo>
                  <a:lnTo>
                    <a:pt x="98965" y="10096"/>
                  </a:lnTo>
                  <a:lnTo>
                    <a:pt x="109919" y="0"/>
                  </a:lnTo>
                  <a:lnTo>
                    <a:pt x="111347" y="0"/>
                  </a:lnTo>
                  <a:lnTo>
                    <a:pt x="123349" y="4953"/>
                  </a:lnTo>
                  <a:lnTo>
                    <a:pt x="132017" y="12192"/>
                  </a:lnTo>
                  <a:lnTo>
                    <a:pt x="136303" y="22288"/>
                  </a:lnTo>
                  <a:lnTo>
                    <a:pt x="134588" y="28003"/>
                  </a:lnTo>
                  <a:lnTo>
                    <a:pt x="136779" y="31623"/>
                  </a:lnTo>
                  <a:lnTo>
                    <a:pt x="140208" y="35814"/>
                  </a:lnTo>
                  <a:lnTo>
                    <a:pt x="156305" y="43910"/>
                  </a:lnTo>
                  <a:lnTo>
                    <a:pt x="174212" y="49816"/>
                  </a:lnTo>
                  <a:lnTo>
                    <a:pt x="166592" y="61341"/>
                  </a:lnTo>
                  <a:lnTo>
                    <a:pt x="164402" y="67532"/>
                  </a:lnTo>
                  <a:lnTo>
                    <a:pt x="152114" y="75628"/>
                  </a:lnTo>
                  <a:lnTo>
                    <a:pt x="153353" y="95345"/>
                  </a:lnTo>
                  <a:lnTo>
                    <a:pt x="141732" y="101441"/>
                  </a:lnTo>
                  <a:lnTo>
                    <a:pt x="116872" y="109061"/>
                  </a:lnTo>
                  <a:lnTo>
                    <a:pt x="106871" y="118110"/>
                  </a:lnTo>
                  <a:lnTo>
                    <a:pt x="108490" y="152971"/>
                  </a:lnTo>
                  <a:lnTo>
                    <a:pt x="105156" y="166592"/>
                  </a:lnTo>
                  <a:lnTo>
                    <a:pt x="96012" y="154496"/>
                  </a:lnTo>
                  <a:lnTo>
                    <a:pt x="83534" y="166592"/>
                  </a:lnTo>
                  <a:lnTo>
                    <a:pt x="88487" y="189262"/>
                  </a:lnTo>
                  <a:lnTo>
                    <a:pt x="94298" y="207359"/>
                  </a:lnTo>
                  <a:lnTo>
                    <a:pt x="82677" y="225552"/>
                  </a:lnTo>
                  <a:lnTo>
                    <a:pt x="64389" y="233077"/>
                  </a:lnTo>
                  <a:lnTo>
                    <a:pt x="42005" y="207359"/>
                  </a:lnTo>
                  <a:lnTo>
                    <a:pt x="29528" y="240601"/>
                  </a:lnTo>
                  <a:lnTo>
                    <a:pt x="4667" y="234601"/>
                  </a:lnTo>
                  <a:lnTo>
                    <a:pt x="95" y="225838"/>
                  </a:lnTo>
                </a:path>
              </a:pathLst>
            </a:custGeom>
            <a:grpFill/>
            <a:ln w="2381" cap="sq">
              <a:noFill/>
              <a:prstDash val="solid"/>
              <a:bevel/>
            </a:ln>
          </p:spPr>
          <p:txBody>
            <a:bodyPr rtlCol="0" anchor="ctr"/>
            <a:lstStyle/>
            <a:p>
              <a:endParaRPr lang="cs-CZ"/>
            </a:p>
          </p:txBody>
        </p:sp>
        <p:sp>
          <p:nvSpPr>
            <p:cNvPr id="205" name="Freeform: Shape 204">
              <a:extLst>
                <a:ext uri="{FF2B5EF4-FFF2-40B4-BE49-F238E27FC236}">
                  <a16:creationId xmlns:a16="http://schemas.microsoft.com/office/drawing/2014/main" id="{E8E6B7D4-1993-AFF4-822A-DAEEAC234DB9}"/>
                </a:ext>
              </a:extLst>
            </p:cNvPr>
            <p:cNvSpPr/>
            <p:nvPr/>
          </p:nvSpPr>
          <p:spPr>
            <a:xfrm>
              <a:off x="11715748" y="7509062"/>
              <a:ext cx="381952" cy="515397"/>
            </a:xfrm>
            <a:custGeom>
              <a:avLst/>
              <a:gdLst>
                <a:gd name="connsiteX0" fmla="*/ 0 w 381952"/>
                <a:gd name="connsiteY0" fmla="*/ 493395 h 515397"/>
                <a:gd name="connsiteX1" fmla="*/ 12478 w 381952"/>
                <a:gd name="connsiteY1" fmla="*/ 481870 h 515397"/>
                <a:gd name="connsiteX2" fmla="*/ 21146 w 381952"/>
                <a:gd name="connsiteY2" fmla="*/ 468154 h 515397"/>
                <a:gd name="connsiteX3" fmla="*/ 28575 w 381952"/>
                <a:gd name="connsiteY3" fmla="*/ 447675 h 515397"/>
                <a:gd name="connsiteX4" fmla="*/ 33242 w 381952"/>
                <a:gd name="connsiteY4" fmla="*/ 422148 h 515397"/>
                <a:gd name="connsiteX5" fmla="*/ 33719 w 381952"/>
                <a:gd name="connsiteY5" fmla="*/ 393002 h 515397"/>
                <a:gd name="connsiteX6" fmla="*/ 32576 w 381952"/>
                <a:gd name="connsiteY6" fmla="*/ 385382 h 515397"/>
                <a:gd name="connsiteX7" fmla="*/ 28384 w 381952"/>
                <a:gd name="connsiteY7" fmla="*/ 366141 h 515397"/>
                <a:gd name="connsiteX8" fmla="*/ 29242 w 381952"/>
                <a:gd name="connsiteY8" fmla="*/ 358426 h 515397"/>
                <a:gd name="connsiteX9" fmla="*/ 32957 w 381952"/>
                <a:gd name="connsiteY9" fmla="*/ 348234 h 515397"/>
                <a:gd name="connsiteX10" fmla="*/ 33814 w 381952"/>
                <a:gd name="connsiteY10" fmla="*/ 342043 h 515397"/>
                <a:gd name="connsiteX11" fmla="*/ 32957 w 381952"/>
                <a:gd name="connsiteY11" fmla="*/ 295180 h 515397"/>
                <a:gd name="connsiteX12" fmla="*/ 33814 w 381952"/>
                <a:gd name="connsiteY12" fmla="*/ 280130 h 515397"/>
                <a:gd name="connsiteX13" fmla="*/ 36385 w 381952"/>
                <a:gd name="connsiteY13" fmla="*/ 267271 h 515397"/>
                <a:gd name="connsiteX14" fmla="*/ 41148 w 381952"/>
                <a:gd name="connsiteY14" fmla="*/ 254508 h 515397"/>
                <a:gd name="connsiteX15" fmla="*/ 47339 w 381952"/>
                <a:gd name="connsiteY15" fmla="*/ 244697 h 515397"/>
                <a:gd name="connsiteX16" fmla="*/ 54007 w 381952"/>
                <a:gd name="connsiteY16" fmla="*/ 240697 h 515397"/>
                <a:gd name="connsiteX17" fmla="*/ 59341 w 381952"/>
                <a:gd name="connsiteY17" fmla="*/ 234791 h 515397"/>
                <a:gd name="connsiteX18" fmla="*/ 71533 w 381952"/>
                <a:gd name="connsiteY18" fmla="*/ 202311 h 515397"/>
                <a:gd name="connsiteX19" fmla="*/ 77819 w 381952"/>
                <a:gd name="connsiteY19" fmla="*/ 217075 h 515397"/>
                <a:gd name="connsiteX20" fmla="*/ 83439 w 381952"/>
                <a:gd name="connsiteY20" fmla="*/ 229552 h 515397"/>
                <a:gd name="connsiteX21" fmla="*/ 92678 w 381952"/>
                <a:gd name="connsiteY21" fmla="*/ 228600 h 515397"/>
                <a:gd name="connsiteX22" fmla="*/ 102870 w 381952"/>
                <a:gd name="connsiteY22" fmla="*/ 215170 h 515397"/>
                <a:gd name="connsiteX23" fmla="*/ 116396 w 381952"/>
                <a:gd name="connsiteY23" fmla="*/ 219646 h 515397"/>
                <a:gd name="connsiteX24" fmla="*/ 114491 w 381952"/>
                <a:gd name="connsiteY24" fmla="*/ 194500 h 515397"/>
                <a:gd name="connsiteX25" fmla="*/ 135255 w 381952"/>
                <a:gd name="connsiteY25" fmla="*/ 186214 h 515397"/>
                <a:gd name="connsiteX26" fmla="*/ 122587 w 381952"/>
                <a:gd name="connsiteY26" fmla="*/ 145637 h 515397"/>
                <a:gd name="connsiteX27" fmla="*/ 118777 w 381952"/>
                <a:gd name="connsiteY27" fmla="*/ 138589 h 515397"/>
                <a:gd name="connsiteX28" fmla="*/ 114491 w 381952"/>
                <a:gd name="connsiteY28" fmla="*/ 133826 h 515397"/>
                <a:gd name="connsiteX29" fmla="*/ 144685 w 381952"/>
                <a:gd name="connsiteY29" fmla="*/ 74295 h 515397"/>
                <a:gd name="connsiteX30" fmla="*/ 156496 w 381952"/>
                <a:gd name="connsiteY30" fmla="*/ 60865 h 515397"/>
                <a:gd name="connsiteX31" fmla="*/ 172879 w 381952"/>
                <a:gd name="connsiteY31" fmla="*/ 51911 h 515397"/>
                <a:gd name="connsiteX32" fmla="*/ 244602 w 381952"/>
                <a:gd name="connsiteY32" fmla="*/ 46958 h 515397"/>
                <a:gd name="connsiteX33" fmla="*/ 261461 w 381952"/>
                <a:gd name="connsiteY33" fmla="*/ 41624 h 515397"/>
                <a:gd name="connsiteX34" fmla="*/ 337471 w 381952"/>
                <a:gd name="connsiteY34" fmla="*/ 0 h 515397"/>
                <a:gd name="connsiteX35" fmla="*/ 342138 w 381952"/>
                <a:gd name="connsiteY35" fmla="*/ 22384 h 515397"/>
                <a:gd name="connsiteX36" fmla="*/ 344710 w 381952"/>
                <a:gd name="connsiteY36" fmla="*/ 26670 h 515397"/>
                <a:gd name="connsiteX37" fmla="*/ 348901 w 381952"/>
                <a:gd name="connsiteY37" fmla="*/ 25051 h 515397"/>
                <a:gd name="connsiteX38" fmla="*/ 353473 w 381952"/>
                <a:gd name="connsiteY38" fmla="*/ 27527 h 515397"/>
                <a:gd name="connsiteX39" fmla="*/ 357950 w 381952"/>
                <a:gd name="connsiteY39" fmla="*/ 42196 h 515397"/>
                <a:gd name="connsiteX40" fmla="*/ 357283 w 381952"/>
                <a:gd name="connsiteY40" fmla="*/ 50387 h 515397"/>
                <a:gd name="connsiteX41" fmla="*/ 359188 w 381952"/>
                <a:gd name="connsiteY41" fmla="*/ 59341 h 515397"/>
                <a:gd name="connsiteX42" fmla="*/ 362522 w 381952"/>
                <a:gd name="connsiteY42" fmla="*/ 67913 h 515397"/>
                <a:gd name="connsiteX43" fmla="*/ 366236 w 381952"/>
                <a:gd name="connsiteY43" fmla="*/ 74295 h 515397"/>
                <a:gd name="connsiteX44" fmla="*/ 367665 w 381952"/>
                <a:gd name="connsiteY44" fmla="*/ 78867 h 515397"/>
                <a:gd name="connsiteX45" fmla="*/ 368522 w 381952"/>
                <a:gd name="connsiteY45" fmla="*/ 101917 h 515397"/>
                <a:gd name="connsiteX46" fmla="*/ 367570 w 381952"/>
                <a:gd name="connsiteY46" fmla="*/ 109252 h 515397"/>
                <a:gd name="connsiteX47" fmla="*/ 341090 w 381952"/>
                <a:gd name="connsiteY47" fmla="*/ 126206 h 515397"/>
                <a:gd name="connsiteX48" fmla="*/ 335566 w 381952"/>
                <a:gd name="connsiteY48" fmla="*/ 131636 h 515397"/>
                <a:gd name="connsiteX49" fmla="*/ 329756 w 381952"/>
                <a:gd name="connsiteY49" fmla="*/ 134874 h 515397"/>
                <a:gd name="connsiteX50" fmla="*/ 330803 w 381952"/>
                <a:gd name="connsiteY50" fmla="*/ 139732 h 515397"/>
                <a:gd name="connsiteX51" fmla="*/ 330803 w 381952"/>
                <a:gd name="connsiteY51" fmla="*/ 144113 h 515397"/>
                <a:gd name="connsiteX52" fmla="*/ 326708 w 381952"/>
                <a:gd name="connsiteY52" fmla="*/ 150019 h 515397"/>
                <a:gd name="connsiteX53" fmla="*/ 315468 w 381952"/>
                <a:gd name="connsiteY53" fmla="*/ 159734 h 515397"/>
                <a:gd name="connsiteX54" fmla="*/ 292132 w 381952"/>
                <a:gd name="connsiteY54" fmla="*/ 170117 h 515397"/>
                <a:gd name="connsiteX55" fmla="*/ 320802 w 381952"/>
                <a:gd name="connsiteY55" fmla="*/ 183547 h 515397"/>
                <a:gd name="connsiteX56" fmla="*/ 334328 w 381952"/>
                <a:gd name="connsiteY56" fmla="*/ 185738 h 515397"/>
                <a:gd name="connsiteX57" fmla="*/ 357092 w 381952"/>
                <a:gd name="connsiteY57" fmla="*/ 181737 h 515397"/>
                <a:gd name="connsiteX58" fmla="*/ 362807 w 381952"/>
                <a:gd name="connsiteY58" fmla="*/ 188309 h 515397"/>
                <a:gd name="connsiteX59" fmla="*/ 369475 w 381952"/>
                <a:gd name="connsiteY59" fmla="*/ 196024 h 515397"/>
                <a:gd name="connsiteX60" fmla="*/ 371570 w 381952"/>
                <a:gd name="connsiteY60" fmla="*/ 200311 h 515397"/>
                <a:gd name="connsiteX61" fmla="*/ 373094 w 381952"/>
                <a:gd name="connsiteY61" fmla="*/ 222123 h 515397"/>
                <a:gd name="connsiteX62" fmla="*/ 373094 w 381952"/>
                <a:gd name="connsiteY62" fmla="*/ 234315 h 515397"/>
                <a:gd name="connsiteX63" fmla="*/ 376523 w 381952"/>
                <a:gd name="connsiteY63" fmla="*/ 243554 h 515397"/>
                <a:gd name="connsiteX64" fmla="*/ 381953 w 381952"/>
                <a:gd name="connsiteY64" fmla="*/ 267081 h 515397"/>
                <a:gd name="connsiteX65" fmla="*/ 380143 w 381952"/>
                <a:gd name="connsiteY65" fmla="*/ 268795 h 515397"/>
                <a:gd name="connsiteX66" fmla="*/ 379095 w 381952"/>
                <a:gd name="connsiteY66" fmla="*/ 276035 h 515397"/>
                <a:gd name="connsiteX67" fmla="*/ 377381 w 381952"/>
                <a:gd name="connsiteY67" fmla="*/ 279844 h 515397"/>
                <a:gd name="connsiteX68" fmla="*/ 368332 w 381952"/>
                <a:gd name="connsiteY68" fmla="*/ 284226 h 515397"/>
                <a:gd name="connsiteX69" fmla="*/ 352520 w 381952"/>
                <a:gd name="connsiteY69" fmla="*/ 299847 h 515397"/>
                <a:gd name="connsiteX70" fmla="*/ 337280 w 381952"/>
                <a:gd name="connsiteY70" fmla="*/ 322136 h 515397"/>
                <a:gd name="connsiteX71" fmla="*/ 334994 w 381952"/>
                <a:gd name="connsiteY71" fmla="*/ 331946 h 515397"/>
                <a:gd name="connsiteX72" fmla="*/ 335852 w 381952"/>
                <a:gd name="connsiteY72" fmla="*/ 334423 h 515397"/>
                <a:gd name="connsiteX73" fmla="*/ 341186 w 381952"/>
                <a:gd name="connsiteY73" fmla="*/ 337661 h 515397"/>
                <a:gd name="connsiteX74" fmla="*/ 342138 w 381952"/>
                <a:gd name="connsiteY74" fmla="*/ 346996 h 515397"/>
                <a:gd name="connsiteX75" fmla="*/ 339471 w 381952"/>
                <a:gd name="connsiteY75" fmla="*/ 355473 h 515397"/>
                <a:gd name="connsiteX76" fmla="*/ 338233 w 381952"/>
                <a:gd name="connsiteY76" fmla="*/ 361664 h 515397"/>
                <a:gd name="connsiteX77" fmla="*/ 337947 w 381952"/>
                <a:gd name="connsiteY77" fmla="*/ 364617 h 515397"/>
                <a:gd name="connsiteX78" fmla="*/ 337757 w 381952"/>
                <a:gd name="connsiteY78" fmla="*/ 367665 h 515397"/>
                <a:gd name="connsiteX79" fmla="*/ 337757 w 381952"/>
                <a:gd name="connsiteY79" fmla="*/ 379857 h 515397"/>
                <a:gd name="connsiteX80" fmla="*/ 337471 w 381952"/>
                <a:gd name="connsiteY80" fmla="*/ 382715 h 515397"/>
                <a:gd name="connsiteX81" fmla="*/ 336709 w 381952"/>
                <a:gd name="connsiteY81" fmla="*/ 385191 h 515397"/>
                <a:gd name="connsiteX82" fmla="*/ 328994 w 381952"/>
                <a:gd name="connsiteY82" fmla="*/ 390906 h 515397"/>
                <a:gd name="connsiteX83" fmla="*/ 298799 w 381952"/>
                <a:gd name="connsiteY83" fmla="*/ 401574 h 515397"/>
                <a:gd name="connsiteX84" fmla="*/ 291084 w 381952"/>
                <a:gd name="connsiteY84" fmla="*/ 401288 h 515397"/>
                <a:gd name="connsiteX85" fmla="*/ 267748 w 381952"/>
                <a:gd name="connsiteY85" fmla="*/ 392906 h 515397"/>
                <a:gd name="connsiteX86" fmla="*/ 260414 w 381952"/>
                <a:gd name="connsiteY86" fmla="*/ 397478 h 515397"/>
                <a:gd name="connsiteX87" fmla="*/ 243078 w 381952"/>
                <a:gd name="connsiteY87" fmla="*/ 403860 h 515397"/>
                <a:gd name="connsiteX88" fmla="*/ 237077 w 381952"/>
                <a:gd name="connsiteY88" fmla="*/ 404717 h 515397"/>
                <a:gd name="connsiteX89" fmla="*/ 207264 w 381952"/>
                <a:gd name="connsiteY89" fmla="*/ 403193 h 515397"/>
                <a:gd name="connsiteX90" fmla="*/ 203264 w 381952"/>
                <a:gd name="connsiteY90" fmla="*/ 403860 h 515397"/>
                <a:gd name="connsiteX91" fmla="*/ 199358 w 381952"/>
                <a:gd name="connsiteY91" fmla="*/ 407765 h 515397"/>
                <a:gd name="connsiteX92" fmla="*/ 192310 w 381952"/>
                <a:gd name="connsiteY92" fmla="*/ 413290 h 515397"/>
                <a:gd name="connsiteX93" fmla="*/ 177165 w 381952"/>
                <a:gd name="connsiteY93" fmla="*/ 413290 h 515397"/>
                <a:gd name="connsiteX94" fmla="*/ 179642 w 381952"/>
                <a:gd name="connsiteY94" fmla="*/ 406146 h 515397"/>
                <a:gd name="connsiteX95" fmla="*/ 179642 w 381952"/>
                <a:gd name="connsiteY95" fmla="*/ 402907 h 515397"/>
                <a:gd name="connsiteX96" fmla="*/ 179546 w 381952"/>
                <a:gd name="connsiteY96" fmla="*/ 399859 h 515397"/>
                <a:gd name="connsiteX97" fmla="*/ 170878 w 381952"/>
                <a:gd name="connsiteY97" fmla="*/ 397764 h 515397"/>
                <a:gd name="connsiteX98" fmla="*/ 149352 w 381952"/>
                <a:gd name="connsiteY98" fmla="*/ 390715 h 515397"/>
                <a:gd name="connsiteX99" fmla="*/ 141827 w 381952"/>
                <a:gd name="connsiteY99" fmla="*/ 392621 h 515397"/>
                <a:gd name="connsiteX100" fmla="*/ 130778 w 381952"/>
                <a:gd name="connsiteY100" fmla="*/ 391096 h 515397"/>
                <a:gd name="connsiteX101" fmla="*/ 126778 w 381952"/>
                <a:gd name="connsiteY101" fmla="*/ 391096 h 515397"/>
                <a:gd name="connsiteX102" fmla="*/ 121920 w 381952"/>
                <a:gd name="connsiteY102" fmla="*/ 392621 h 515397"/>
                <a:gd name="connsiteX103" fmla="*/ 116015 w 381952"/>
                <a:gd name="connsiteY103" fmla="*/ 399859 h 515397"/>
                <a:gd name="connsiteX104" fmla="*/ 103061 w 381952"/>
                <a:gd name="connsiteY104" fmla="*/ 411861 h 515397"/>
                <a:gd name="connsiteX105" fmla="*/ 95536 w 381952"/>
                <a:gd name="connsiteY105" fmla="*/ 413004 h 515397"/>
                <a:gd name="connsiteX106" fmla="*/ 82010 w 381952"/>
                <a:gd name="connsiteY106" fmla="*/ 423767 h 515397"/>
                <a:gd name="connsiteX107" fmla="*/ 69247 w 381952"/>
                <a:gd name="connsiteY107" fmla="*/ 420148 h 515397"/>
                <a:gd name="connsiteX108" fmla="*/ 68008 w 381952"/>
                <a:gd name="connsiteY108" fmla="*/ 432625 h 515397"/>
                <a:gd name="connsiteX109" fmla="*/ 62675 w 381952"/>
                <a:gd name="connsiteY109" fmla="*/ 437769 h 515397"/>
                <a:gd name="connsiteX110" fmla="*/ 60960 w 381952"/>
                <a:gd name="connsiteY110" fmla="*/ 453866 h 515397"/>
                <a:gd name="connsiteX111" fmla="*/ 56579 w 381952"/>
                <a:gd name="connsiteY111" fmla="*/ 465011 h 515397"/>
                <a:gd name="connsiteX112" fmla="*/ 57150 w 381952"/>
                <a:gd name="connsiteY112" fmla="*/ 483965 h 515397"/>
                <a:gd name="connsiteX113" fmla="*/ 56007 w 381952"/>
                <a:gd name="connsiteY113" fmla="*/ 494729 h 515397"/>
                <a:gd name="connsiteX114" fmla="*/ 49149 w 381952"/>
                <a:gd name="connsiteY114" fmla="*/ 502634 h 515397"/>
                <a:gd name="connsiteX115" fmla="*/ 46196 w 381952"/>
                <a:gd name="connsiteY115" fmla="*/ 510254 h 515397"/>
                <a:gd name="connsiteX116" fmla="*/ 26384 w 381952"/>
                <a:gd name="connsiteY116" fmla="*/ 515398 h 515397"/>
                <a:gd name="connsiteX117" fmla="*/ 22098 w 381952"/>
                <a:gd name="connsiteY117" fmla="*/ 505301 h 515397"/>
                <a:gd name="connsiteX118" fmla="*/ 13430 w 381952"/>
                <a:gd name="connsiteY118" fmla="*/ 498062 h 515397"/>
                <a:gd name="connsiteX119" fmla="*/ 1429 w 381952"/>
                <a:gd name="connsiteY119" fmla="*/ 493109 h 515397"/>
                <a:gd name="connsiteX120" fmla="*/ 0 w 381952"/>
                <a:gd name="connsiteY120" fmla="*/ 493109 h 515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381952" h="515397">
                  <a:moveTo>
                    <a:pt x="0" y="493395"/>
                  </a:moveTo>
                  <a:lnTo>
                    <a:pt x="12478" y="481870"/>
                  </a:lnTo>
                  <a:lnTo>
                    <a:pt x="21146" y="468154"/>
                  </a:lnTo>
                  <a:lnTo>
                    <a:pt x="28575" y="447675"/>
                  </a:lnTo>
                  <a:lnTo>
                    <a:pt x="33242" y="422148"/>
                  </a:lnTo>
                  <a:lnTo>
                    <a:pt x="33719" y="393002"/>
                  </a:lnTo>
                  <a:lnTo>
                    <a:pt x="32576" y="385382"/>
                  </a:lnTo>
                  <a:lnTo>
                    <a:pt x="28384" y="366141"/>
                  </a:lnTo>
                  <a:lnTo>
                    <a:pt x="29242" y="358426"/>
                  </a:lnTo>
                  <a:lnTo>
                    <a:pt x="32957" y="348234"/>
                  </a:lnTo>
                  <a:lnTo>
                    <a:pt x="33814" y="342043"/>
                  </a:lnTo>
                  <a:lnTo>
                    <a:pt x="32957" y="295180"/>
                  </a:lnTo>
                  <a:lnTo>
                    <a:pt x="33814" y="280130"/>
                  </a:lnTo>
                  <a:lnTo>
                    <a:pt x="36385" y="267271"/>
                  </a:lnTo>
                  <a:lnTo>
                    <a:pt x="41148" y="254508"/>
                  </a:lnTo>
                  <a:lnTo>
                    <a:pt x="47339" y="244697"/>
                  </a:lnTo>
                  <a:lnTo>
                    <a:pt x="54007" y="240697"/>
                  </a:lnTo>
                  <a:lnTo>
                    <a:pt x="59341" y="234791"/>
                  </a:lnTo>
                  <a:lnTo>
                    <a:pt x="71533" y="202311"/>
                  </a:lnTo>
                  <a:lnTo>
                    <a:pt x="77819" y="217075"/>
                  </a:lnTo>
                  <a:lnTo>
                    <a:pt x="83439" y="229552"/>
                  </a:lnTo>
                  <a:lnTo>
                    <a:pt x="92678" y="228600"/>
                  </a:lnTo>
                  <a:lnTo>
                    <a:pt x="102870" y="215170"/>
                  </a:lnTo>
                  <a:lnTo>
                    <a:pt x="116396" y="219646"/>
                  </a:lnTo>
                  <a:lnTo>
                    <a:pt x="114491" y="194500"/>
                  </a:lnTo>
                  <a:lnTo>
                    <a:pt x="135255" y="186214"/>
                  </a:lnTo>
                  <a:lnTo>
                    <a:pt x="122587" y="145637"/>
                  </a:lnTo>
                  <a:lnTo>
                    <a:pt x="118777" y="138589"/>
                  </a:lnTo>
                  <a:lnTo>
                    <a:pt x="114491" y="133826"/>
                  </a:lnTo>
                  <a:lnTo>
                    <a:pt x="144685" y="74295"/>
                  </a:lnTo>
                  <a:lnTo>
                    <a:pt x="156496" y="60865"/>
                  </a:lnTo>
                  <a:lnTo>
                    <a:pt x="172879" y="51911"/>
                  </a:lnTo>
                  <a:lnTo>
                    <a:pt x="244602" y="46958"/>
                  </a:lnTo>
                  <a:lnTo>
                    <a:pt x="261461" y="41624"/>
                  </a:lnTo>
                  <a:lnTo>
                    <a:pt x="337471" y="0"/>
                  </a:lnTo>
                  <a:lnTo>
                    <a:pt x="342138" y="22384"/>
                  </a:lnTo>
                  <a:lnTo>
                    <a:pt x="344710" y="26670"/>
                  </a:lnTo>
                  <a:lnTo>
                    <a:pt x="348901" y="25051"/>
                  </a:lnTo>
                  <a:lnTo>
                    <a:pt x="353473" y="27527"/>
                  </a:lnTo>
                  <a:lnTo>
                    <a:pt x="357950" y="42196"/>
                  </a:lnTo>
                  <a:lnTo>
                    <a:pt x="357283" y="50387"/>
                  </a:lnTo>
                  <a:lnTo>
                    <a:pt x="359188" y="59341"/>
                  </a:lnTo>
                  <a:lnTo>
                    <a:pt x="362522" y="67913"/>
                  </a:lnTo>
                  <a:lnTo>
                    <a:pt x="366236" y="74295"/>
                  </a:lnTo>
                  <a:lnTo>
                    <a:pt x="367665" y="78867"/>
                  </a:lnTo>
                  <a:lnTo>
                    <a:pt x="368522" y="101917"/>
                  </a:lnTo>
                  <a:lnTo>
                    <a:pt x="367570" y="109252"/>
                  </a:lnTo>
                  <a:lnTo>
                    <a:pt x="341090" y="126206"/>
                  </a:lnTo>
                  <a:lnTo>
                    <a:pt x="335566" y="131636"/>
                  </a:lnTo>
                  <a:lnTo>
                    <a:pt x="329756" y="134874"/>
                  </a:lnTo>
                  <a:lnTo>
                    <a:pt x="330803" y="139732"/>
                  </a:lnTo>
                  <a:lnTo>
                    <a:pt x="330803" y="144113"/>
                  </a:lnTo>
                  <a:cubicBezTo>
                    <a:pt x="330803" y="144113"/>
                    <a:pt x="326708" y="150019"/>
                    <a:pt x="326708" y="150019"/>
                  </a:cubicBezTo>
                  <a:lnTo>
                    <a:pt x="315468" y="159734"/>
                  </a:lnTo>
                  <a:lnTo>
                    <a:pt x="292132" y="170117"/>
                  </a:lnTo>
                  <a:lnTo>
                    <a:pt x="320802" y="183547"/>
                  </a:lnTo>
                  <a:lnTo>
                    <a:pt x="334328" y="185738"/>
                  </a:lnTo>
                  <a:lnTo>
                    <a:pt x="357092" y="181737"/>
                  </a:lnTo>
                  <a:lnTo>
                    <a:pt x="362807" y="188309"/>
                  </a:lnTo>
                  <a:lnTo>
                    <a:pt x="369475" y="196024"/>
                  </a:lnTo>
                  <a:lnTo>
                    <a:pt x="371570" y="200311"/>
                  </a:lnTo>
                  <a:lnTo>
                    <a:pt x="373094" y="222123"/>
                  </a:lnTo>
                  <a:lnTo>
                    <a:pt x="373094" y="234315"/>
                  </a:lnTo>
                  <a:lnTo>
                    <a:pt x="376523" y="243554"/>
                  </a:lnTo>
                  <a:lnTo>
                    <a:pt x="381953" y="267081"/>
                  </a:lnTo>
                  <a:lnTo>
                    <a:pt x="380143" y="268795"/>
                  </a:lnTo>
                  <a:lnTo>
                    <a:pt x="379095" y="276035"/>
                  </a:lnTo>
                  <a:lnTo>
                    <a:pt x="377381" y="279844"/>
                  </a:lnTo>
                  <a:lnTo>
                    <a:pt x="368332" y="284226"/>
                  </a:lnTo>
                  <a:lnTo>
                    <a:pt x="352520" y="299847"/>
                  </a:lnTo>
                  <a:lnTo>
                    <a:pt x="337280" y="322136"/>
                  </a:lnTo>
                  <a:lnTo>
                    <a:pt x="334994" y="331946"/>
                  </a:lnTo>
                  <a:lnTo>
                    <a:pt x="335852" y="334423"/>
                  </a:lnTo>
                  <a:lnTo>
                    <a:pt x="341186" y="337661"/>
                  </a:lnTo>
                  <a:lnTo>
                    <a:pt x="342138" y="346996"/>
                  </a:lnTo>
                  <a:lnTo>
                    <a:pt x="339471" y="355473"/>
                  </a:lnTo>
                  <a:lnTo>
                    <a:pt x="338233" y="361664"/>
                  </a:lnTo>
                  <a:lnTo>
                    <a:pt x="337947" y="364617"/>
                  </a:lnTo>
                  <a:lnTo>
                    <a:pt x="337757" y="367665"/>
                  </a:lnTo>
                  <a:lnTo>
                    <a:pt x="337757" y="379857"/>
                  </a:lnTo>
                  <a:cubicBezTo>
                    <a:pt x="337757" y="379857"/>
                    <a:pt x="337471" y="382715"/>
                    <a:pt x="337471" y="382715"/>
                  </a:cubicBezTo>
                  <a:lnTo>
                    <a:pt x="336709" y="385191"/>
                  </a:lnTo>
                  <a:lnTo>
                    <a:pt x="328994" y="390906"/>
                  </a:lnTo>
                  <a:lnTo>
                    <a:pt x="298799" y="401574"/>
                  </a:lnTo>
                  <a:lnTo>
                    <a:pt x="291084" y="401288"/>
                  </a:lnTo>
                  <a:lnTo>
                    <a:pt x="267748" y="392906"/>
                  </a:lnTo>
                  <a:lnTo>
                    <a:pt x="260414" y="397478"/>
                  </a:lnTo>
                  <a:lnTo>
                    <a:pt x="243078" y="403860"/>
                  </a:lnTo>
                  <a:lnTo>
                    <a:pt x="237077" y="404717"/>
                  </a:lnTo>
                  <a:lnTo>
                    <a:pt x="207264" y="403193"/>
                  </a:lnTo>
                  <a:lnTo>
                    <a:pt x="203264" y="403860"/>
                  </a:lnTo>
                  <a:lnTo>
                    <a:pt x="199358" y="407765"/>
                  </a:lnTo>
                  <a:lnTo>
                    <a:pt x="192310" y="413290"/>
                  </a:lnTo>
                  <a:lnTo>
                    <a:pt x="177165" y="413290"/>
                  </a:lnTo>
                  <a:cubicBezTo>
                    <a:pt x="177165" y="413290"/>
                    <a:pt x="179642" y="406146"/>
                    <a:pt x="179642" y="406146"/>
                  </a:cubicBezTo>
                  <a:lnTo>
                    <a:pt x="179642" y="402907"/>
                  </a:lnTo>
                  <a:cubicBezTo>
                    <a:pt x="179642" y="402907"/>
                    <a:pt x="179546" y="399859"/>
                    <a:pt x="179546" y="399859"/>
                  </a:cubicBezTo>
                  <a:lnTo>
                    <a:pt x="170878" y="397764"/>
                  </a:lnTo>
                  <a:lnTo>
                    <a:pt x="149352" y="390715"/>
                  </a:lnTo>
                  <a:lnTo>
                    <a:pt x="141827" y="392621"/>
                  </a:lnTo>
                  <a:lnTo>
                    <a:pt x="130778" y="391096"/>
                  </a:lnTo>
                  <a:lnTo>
                    <a:pt x="126778" y="391096"/>
                  </a:lnTo>
                  <a:cubicBezTo>
                    <a:pt x="126778" y="391096"/>
                    <a:pt x="121920" y="392621"/>
                    <a:pt x="121920" y="392621"/>
                  </a:cubicBezTo>
                  <a:lnTo>
                    <a:pt x="116015" y="399859"/>
                  </a:lnTo>
                  <a:lnTo>
                    <a:pt x="103061" y="411861"/>
                  </a:lnTo>
                  <a:lnTo>
                    <a:pt x="95536" y="413004"/>
                  </a:lnTo>
                  <a:lnTo>
                    <a:pt x="82010" y="423767"/>
                  </a:lnTo>
                  <a:lnTo>
                    <a:pt x="69247" y="420148"/>
                  </a:lnTo>
                  <a:lnTo>
                    <a:pt x="68008" y="432625"/>
                  </a:lnTo>
                  <a:lnTo>
                    <a:pt x="62675" y="437769"/>
                  </a:lnTo>
                  <a:lnTo>
                    <a:pt x="60960" y="453866"/>
                  </a:lnTo>
                  <a:lnTo>
                    <a:pt x="56579" y="465011"/>
                  </a:lnTo>
                  <a:lnTo>
                    <a:pt x="57150" y="483965"/>
                  </a:lnTo>
                  <a:lnTo>
                    <a:pt x="56007" y="494729"/>
                  </a:lnTo>
                  <a:lnTo>
                    <a:pt x="49149" y="502634"/>
                  </a:lnTo>
                  <a:lnTo>
                    <a:pt x="46196" y="510254"/>
                  </a:lnTo>
                  <a:lnTo>
                    <a:pt x="26384" y="515398"/>
                  </a:lnTo>
                  <a:lnTo>
                    <a:pt x="22098" y="505301"/>
                  </a:lnTo>
                  <a:lnTo>
                    <a:pt x="13430" y="498062"/>
                  </a:lnTo>
                  <a:lnTo>
                    <a:pt x="1429" y="493109"/>
                  </a:lnTo>
                  <a:lnTo>
                    <a:pt x="0" y="493109"/>
                  </a:lnTo>
                </a:path>
              </a:pathLst>
            </a:custGeom>
            <a:grpFill/>
            <a:ln w="2381" cap="sq">
              <a:noFill/>
              <a:prstDash val="solid"/>
              <a:bevel/>
            </a:ln>
          </p:spPr>
          <p:txBody>
            <a:bodyPr rtlCol="0" anchor="ctr"/>
            <a:lstStyle/>
            <a:p>
              <a:endParaRPr lang="cs-CZ"/>
            </a:p>
          </p:txBody>
        </p:sp>
        <p:sp>
          <p:nvSpPr>
            <p:cNvPr id="206" name="Freeform: Shape 205">
              <a:extLst>
                <a:ext uri="{FF2B5EF4-FFF2-40B4-BE49-F238E27FC236}">
                  <a16:creationId xmlns:a16="http://schemas.microsoft.com/office/drawing/2014/main" id="{7447C682-B2C8-AECC-634A-0B808D0514E1}"/>
                </a:ext>
              </a:extLst>
            </p:cNvPr>
            <p:cNvSpPr/>
            <p:nvPr/>
          </p:nvSpPr>
          <p:spPr>
            <a:xfrm>
              <a:off x="11787090" y="7642983"/>
              <a:ext cx="63722" cy="95726"/>
            </a:xfrm>
            <a:custGeom>
              <a:avLst/>
              <a:gdLst>
                <a:gd name="connsiteX0" fmla="*/ 95 w 63722"/>
                <a:gd name="connsiteY0" fmla="*/ 68485 h 95726"/>
                <a:gd name="connsiteX1" fmla="*/ 2477 w 63722"/>
                <a:gd name="connsiteY1" fmla="*/ 62008 h 95726"/>
                <a:gd name="connsiteX2" fmla="*/ 30290 w 63722"/>
                <a:gd name="connsiteY2" fmla="*/ 24956 h 95726"/>
                <a:gd name="connsiteX3" fmla="*/ 42958 w 63722"/>
                <a:gd name="connsiteY3" fmla="*/ 0 h 95726"/>
                <a:gd name="connsiteX4" fmla="*/ 47244 w 63722"/>
                <a:gd name="connsiteY4" fmla="*/ 4763 h 95726"/>
                <a:gd name="connsiteX5" fmla="*/ 51054 w 63722"/>
                <a:gd name="connsiteY5" fmla="*/ 11811 h 95726"/>
                <a:gd name="connsiteX6" fmla="*/ 63722 w 63722"/>
                <a:gd name="connsiteY6" fmla="*/ 52388 h 95726"/>
                <a:gd name="connsiteX7" fmla="*/ 42958 w 63722"/>
                <a:gd name="connsiteY7" fmla="*/ 60674 h 95726"/>
                <a:gd name="connsiteX8" fmla="*/ 44863 w 63722"/>
                <a:gd name="connsiteY8" fmla="*/ 85820 h 95726"/>
                <a:gd name="connsiteX9" fmla="*/ 31337 w 63722"/>
                <a:gd name="connsiteY9" fmla="*/ 81344 h 95726"/>
                <a:gd name="connsiteX10" fmla="*/ 21146 w 63722"/>
                <a:gd name="connsiteY10" fmla="*/ 94774 h 95726"/>
                <a:gd name="connsiteX11" fmla="*/ 11906 w 63722"/>
                <a:gd name="connsiteY11" fmla="*/ 95726 h 95726"/>
                <a:gd name="connsiteX12" fmla="*/ 6286 w 63722"/>
                <a:gd name="connsiteY12" fmla="*/ 83249 h 95726"/>
                <a:gd name="connsiteX13" fmla="*/ 0 w 63722"/>
                <a:gd name="connsiteY13" fmla="*/ 68485 h 9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722" h="95726">
                  <a:moveTo>
                    <a:pt x="95" y="68485"/>
                  </a:moveTo>
                  <a:lnTo>
                    <a:pt x="2477" y="62008"/>
                  </a:lnTo>
                  <a:lnTo>
                    <a:pt x="30290" y="24956"/>
                  </a:lnTo>
                  <a:lnTo>
                    <a:pt x="42958" y="0"/>
                  </a:lnTo>
                  <a:lnTo>
                    <a:pt x="47244" y="4763"/>
                  </a:lnTo>
                  <a:lnTo>
                    <a:pt x="51054" y="11811"/>
                  </a:lnTo>
                  <a:lnTo>
                    <a:pt x="63722" y="52388"/>
                  </a:lnTo>
                  <a:lnTo>
                    <a:pt x="42958" y="60674"/>
                  </a:lnTo>
                  <a:lnTo>
                    <a:pt x="44863" y="85820"/>
                  </a:lnTo>
                  <a:lnTo>
                    <a:pt x="31337" y="81344"/>
                  </a:lnTo>
                  <a:lnTo>
                    <a:pt x="21146" y="94774"/>
                  </a:lnTo>
                  <a:lnTo>
                    <a:pt x="11906" y="95726"/>
                  </a:lnTo>
                  <a:lnTo>
                    <a:pt x="6286" y="83249"/>
                  </a:lnTo>
                  <a:lnTo>
                    <a:pt x="0" y="68485"/>
                  </a:lnTo>
                </a:path>
              </a:pathLst>
            </a:custGeom>
            <a:grpFill/>
            <a:ln w="2381" cap="sq">
              <a:noFill/>
              <a:prstDash val="solid"/>
              <a:bevel/>
            </a:ln>
          </p:spPr>
          <p:txBody>
            <a:bodyPr rtlCol="0" anchor="ctr"/>
            <a:lstStyle/>
            <a:p>
              <a:endParaRPr lang="cs-CZ"/>
            </a:p>
          </p:txBody>
        </p:sp>
        <p:sp>
          <p:nvSpPr>
            <p:cNvPr id="207" name="Freeform: Shape 206">
              <a:extLst>
                <a:ext uri="{FF2B5EF4-FFF2-40B4-BE49-F238E27FC236}">
                  <a16:creationId xmlns:a16="http://schemas.microsoft.com/office/drawing/2014/main" id="{DDB49546-F126-9AA3-24E2-25423B865747}"/>
                </a:ext>
              </a:extLst>
            </p:cNvPr>
            <p:cNvSpPr/>
            <p:nvPr/>
          </p:nvSpPr>
          <p:spPr>
            <a:xfrm>
              <a:off x="12007594" y="7434958"/>
              <a:ext cx="213074" cy="262890"/>
            </a:xfrm>
            <a:custGeom>
              <a:avLst/>
              <a:gdLst>
                <a:gd name="connsiteX0" fmla="*/ 45530 w 213074"/>
                <a:gd name="connsiteY0" fmla="*/ 74295 h 262890"/>
                <a:gd name="connsiteX1" fmla="*/ 158115 w 213074"/>
                <a:gd name="connsiteY1" fmla="*/ 12478 h 262890"/>
                <a:gd name="connsiteX2" fmla="*/ 174593 w 213074"/>
                <a:gd name="connsiteY2" fmla="*/ 7239 h 262890"/>
                <a:gd name="connsiteX3" fmla="*/ 183547 w 213074"/>
                <a:gd name="connsiteY3" fmla="*/ 6572 h 262890"/>
                <a:gd name="connsiteX4" fmla="*/ 187928 w 213074"/>
                <a:gd name="connsiteY4" fmla="*/ 5048 h 262890"/>
                <a:gd name="connsiteX5" fmla="*/ 192691 w 213074"/>
                <a:gd name="connsiteY5" fmla="*/ 2095 h 262890"/>
                <a:gd name="connsiteX6" fmla="*/ 197834 w 213074"/>
                <a:gd name="connsiteY6" fmla="*/ 0 h 262890"/>
                <a:gd name="connsiteX7" fmla="*/ 203454 w 213074"/>
                <a:gd name="connsiteY7" fmla="*/ 1238 h 262890"/>
                <a:gd name="connsiteX8" fmla="*/ 207359 w 213074"/>
                <a:gd name="connsiteY8" fmla="*/ 3715 h 262890"/>
                <a:gd name="connsiteX9" fmla="*/ 207359 w 213074"/>
                <a:gd name="connsiteY9" fmla="*/ 4572 h 262890"/>
                <a:gd name="connsiteX10" fmla="*/ 205264 w 213074"/>
                <a:gd name="connsiteY10" fmla="*/ 6382 h 262890"/>
                <a:gd name="connsiteX11" fmla="*/ 203454 w 213074"/>
                <a:gd name="connsiteY11" fmla="*/ 11620 h 262890"/>
                <a:gd name="connsiteX12" fmla="*/ 199739 w 213074"/>
                <a:gd name="connsiteY12" fmla="*/ 39148 h 262890"/>
                <a:gd name="connsiteX13" fmla="*/ 198311 w 213074"/>
                <a:gd name="connsiteY13" fmla="*/ 69152 h 262890"/>
                <a:gd name="connsiteX14" fmla="*/ 190881 w 213074"/>
                <a:gd name="connsiteY14" fmla="*/ 62484 h 262890"/>
                <a:gd name="connsiteX15" fmla="*/ 191738 w 213074"/>
                <a:gd name="connsiteY15" fmla="*/ 104108 h 262890"/>
                <a:gd name="connsiteX16" fmla="*/ 206883 w 213074"/>
                <a:gd name="connsiteY16" fmla="*/ 132302 h 262890"/>
                <a:gd name="connsiteX17" fmla="*/ 207740 w 213074"/>
                <a:gd name="connsiteY17" fmla="*/ 158877 h 262890"/>
                <a:gd name="connsiteX18" fmla="*/ 213074 w 213074"/>
                <a:gd name="connsiteY18" fmla="*/ 187071 h 262890"/>
                <a:gd name="connsiteX19" fmla="*/ 182785 w 213074"/>
                <a:gd name="connsiteY19" fmla="*/ 190405 h 262890"/>
                <a:gd name="connsiteX20" fmla="*/ 165830 w 213074"/>
                <a:gd name="connsiteY20" fmla="*/ 216884 h 262890"/>
                <a:gd name="connsiteX21" fmla="*/ 155162 w 213074"/>
                <a:gd name="connsiteY21" fmla="*/ 251651 h 262890"/>
                <a:gd name="connsiteX22" fmla="*/ 134684 w 213074"/>
                <a:gd name="connsiteY22" fmla="*/ 246698 h 262890"/>
                <a:gd name="connsiteX23" fmla="*/ 117729 w 213074"/>
                <a:gd name="connsiteY23" fmla="*/ 253270 h 262890"/>
                <a:gd name="connsiteX24" fmla="*/ 105251 w 213074"/>
                <a:gd name="connsiteY24" fmla="*/ 253270 h 262890"/>
                <a:gd name="connsiteX25" fmla="*/ 96393 w 213074"/>
                <a:gd name="connsiteY25" fmla="*/ 236696 h 262890"/>
                <a:gd name="connsiteX26" fmla="*/ 79439 w 213074"/>
                <a:gd name="connsiteY26" fmla="*/ 241649 h 262890"/>
                <a:gd name="connsiteX27" fmla="*/ 70676 w 213074"/>
                <a:gd name="connsiteY27" fmla="*/ 262890 h 262890"/>
                <a:gd name="connsiteX28" fmla="*/ 64960 w 213074"/>
                <a:gd name="connsiteY28" fmla="*/ 256318 h 262890"/>
                <a:gd name="connsiteX29" fmla="*/ 42196 w 213074"/>
                <a:gd name="connsiteY29" fmla="*/ 260318 h 262890"/>
                <a:gd name="connsiteX30" fmla="*/ 28670 w 213074"/>
                <a:gd name="connsiteY30" fmla="*/ 258128 h 262890"/>
                <a:gd name="connsiteX31" fmla="*/ 0 w 213074"/>
                <a:gd name="connsiteY31" fmla="*/ 244697 h 262890"/>
                <a:gd name="connsiteX32" fmla="*/ 23336 w 213074"/>
                <a:gd name="connsiteY32" fmla="*/ 234315 h 262890"/>
                <a:gd name="connsiteX33" fmla="*/ 34576 w 213074"/>
                <a:gd name="connsiteY33" fmla="*/ 224600 h 262890"/>
                <a:gd name="connsiteX34" fmla="*/ 38767 w 213074"/>
                <a:gd name="connsiteY34" fmla="*/ 218694 h 262890"/>
                <a:gd name="connsiteX35" fmla="*/ 38767 w 213074"/>
                <a:gd name="connsiteY35" fmla="*/ 214312 h 262890"/>
                <a:gd name="connsiteX36" fmla="*/ 37624 w 213074"/>
                <a:gd name="connsiteY36" fmla="*/ 209455 h 262890"/>
                <a:gd name="connsiteX37" fmla="*/ 43434 w 213074"/>
                <a:gd name="connsiteY37" fmla="*/ 206216 h 262890"/>
                <a:gd name="connsiteX38" fmla="*/ 48958 w 213074"/>
                <a:gd name="connsiteY38" fmla="*/ 200787 h 262890"/>
                <a:gd name="connsiteX39" fmla="*/ 75438 w 213074"/>
                <a:gd name="connsiteY39" fmla="*/ 183833 h 262890"/>
                <a:gd name="connsiteX40" fmla="*/ 76391 w 213074"/>
                <a:gd name="connsiteY40" fmla="*/ 176498 h 262890"/>
                <a:gd name="connsiteX41" fmla="*/ 75533 w 213074"/>
                <a:gd name="connsiteY41" fmla="*/ 153448 h 262890"/>
                <a:gd name="connsiteX42" fmla="*/ 74105 w 213074"/>
                <a:gd name="connsiteY42" fmla="*/ 148876 h 262890"/>
                <a:gd name="connsiteX43" fmla="*/ 70390 w 213074"/>
                <a:gd name="connsiteY43" fmla="*/ 142494 h 262890"/>
                <a:gd name="connsiteX44" fmla="*/ 67056 w 213074"/>
                <a:gd name="connsiteY44" fmla="*/ 133922 h 262890"/>
                <a:gd name="connsiteX45" fmla="*/ 65151 w 213074"/>
                <a:gd name="connsiteY45" fmla="*/ 124968 h 262890"/>
                <a:gd name="connsiteX46" fmla="*/ 65818 w 213074"/>
                <a:gd name="connsiteY46" fmla="*/ 116777 h 262890"/>
                <a:gd name="connsiteX47" fmla="*/ 61341 w 213074"/>
                <a:gd name="connsiteY47" fmla="*/ 102108 h 262890"/>
                <a:gd name="connsiteX48" fmla="*/ 56769 w 213074"/>
                <a:gd name="connsiteY48" fmla="*/ 99632 h 262890"/>
                <a:gd name="connsiteX49" fmla="*/ 52578 w 213074"/>
                <a:gd name="connsiteY49" fmla="*/ 101251 h 262890"/>
                <a:gd name="connsiteX50" fmla="*/ 50006 w 213074"/>
                <a:gd name="connsiteY50" fmla="*/ 96964 h 262890"/>
                <a:gd name="connsiteX51" fmla="*/ 45339 w 213074"/>
                <a:gd name="connsiteY51" fmla="*/ 74581 h 2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13074" h="262890">
                  <a:moveTo>
                    <a:pt x="45530" y="74295"/>
                  </a:moveTo>
                  <a:lnTo>
                    <a:pt x="158115" y="12478"/>
                  </a:lnTo>
                  <a:lnTo>
                    <a:pt x="174593" y="7239"/>
                  </a:lnTo>
                  <a:lnTo>
                    <a:pt x="183547" y="6572"/>
                  </a:lnTo>
                  <a:lnTo>
                    <a:pt x="187928" y="5048"/>
                  </a:lnTo>
                  <a:lnTo>
                    <a:pt x="192691" y="2095"/>
                  </a:lnTo>
                  <a:lnTo>
                    <a:pt x="197834" y="0"/>
                  </a:lnTo>
                  <a:lnTo>
                    <a:pt x="203454" y="1238"/>
                  </a:lnTo>
                  <a:lnTo>
                    <a:pt x="207359" y="3715"/>
                  </a:lnTo>
                  <a:lnTo>
                    <a:pt x="207359" y="4572"/>
                  </a:lnTo>
                  <a:cubicBezTo>
                    <a:pt x="207359" y="4572"/>
                    <a:pt x="205264" y="6382"/>
                    <a:pt x="205264" y="6382"/>
                  </a:cubicBezTo>
                  <a:lnTo>
                    <a:pt x="203454" y="11620"/>
                  </a:lnTo>
                  <a:lnTo>
                    <a:pt x="199739" y="39148"/>
                  </a:lnTo>
                  <a:lnTo>
                    <a:pt x="198311" y="69152"/>
                  </a:lnTo>
                  <a:lnTo>
                    <a:pt x="190881" y="62484"/>
                  </a:lnTo>
                  <a:lnTo>
                    <a:pt x="191738" y="104108"/>
                  </a:lnTo>
                  <a:lnTo>
                    <a:pt x="206883" y="132302"/>
                  </a:lnTo>
                  <a:lnTo>
                    <a:pt x="207740" y="158877"/>
                  </a:lnTo>
                  <a:lnTo>
                    <a:pt x="213074" y="187071"/>
                  </a:lnTo>
                  <a:lnTo>
                    <a:pt x="182785" y="190405"/>
                  </a:lnTo>
                  <a:lnTo>
                    <a:pt x="165830" y="216884"/>
                  </a:lnTo>
                  <a:lnTo>
                    <a:pt x="155162" y="251651"/>
                  </a:lnTo>
                  <a:lnTo>
                    <a:pt x="134684" y="246698"/>
                  </a:lnTo>
                  <a:lnTo>
                    <a:pt x="117729" y="253270"/>
                  </a:lnTo>
                  <a:lnTo>
                    <a:pt x="105251" y="253270"/>
                  </a:lnTo>
                  <a:lnTo>
                    <a:pt x="96393" y="236696"/>
                  </a:lnTo>
                  <a:lnTo>
                    <a:pt x="79439" y="241649"/>
                  </a:lnTo>
                  <a:lnTo>
                    <a:pt x="70676" y="262890"/>
                  </a:lnTo>
                  <a:lnTo>
                    <a:pt x="64960" y="256318"/>
                  </a:lnTo>
                  <a:lnTo>
                    <a:pt x="42196" y="260318"/>
                  </a:lnTo>
                  <a:lnTo>
                    <a:pt x="28670" y="258128"/>
                  </a:lnTo>
                  <a:lnTo>
                    <a:pt x="0" y="244697"/>
                  </a:lnTo>
                  <a:lnTo>
                    <a:pt x="23336" y="234315"/>
                  </a:lnTo>
                  <a:lnTo>
                    <a:pt x="34576" y="224600"/>
                  </a:lnTo>
                  <a:lnTo>
                    <a:pt x="38767" y="218694"/>
                  </a:lnTo>
                  <a:lnTo>
                    <a:pt x="38767" y="214312"/>
                  </a:lnTo>
                  <a:cubicBezTo>
                    <a:pt x="38767" y="214312"/>
                    <a:pt x="37624" y="209455"/>
                    <a:pt x="37624" y="209455"/>
                  </a:cubicBezTo>
                  <a:lnTo>
                    <a:pt x="43434" y="206216"/>
                  </a:lnTo>
                  <a:lnTo>
                    <a:pt x="48958" y="200787"/>
                  </a:lnTo>
                  <a:lnTo>
                    <a:pt x="75438" y="183833"/>
                  </a:lnTo>
                  <a:lnTo>
                    <a:pt x="76391" y="176498"/>
                  </a:lnTo>
                  <a:lnTo>
                    <a:pt x="75533" y="153448"/>
                  </a:lnTo>
                  <a:lnTo>
                    <a:pt x="74105" y="148876"/>
                  </a:lnTo>
                  <a:lnTo>
                    <a:pt x="70390" y="142494"/>
                  </a:lnTo>
                  <a:lnTo>
                    <a:pt x="67056" y="133922"/>
                  </a:lnTo>
                  <a:lnTo>
                    <a:pt x="65151" y="124968"/>
                  </a:lnTo>
                  <a:lnTo>
                    <a:pt x="65818" y="116777"/>
                  </a:lnTo>
                  <a:lnTo>
                    <a:pt x="61341" y="102108"/>
                  </a:lnTo>
                  <a:lnTo>
                    <a:pt x="56769" y="99632"/>
                  </a:lnTo>
                  <a:lnTo>
                    <a:pt x="52578" y="101251"/>
                  </a:lnTo>
                  <a:lnTo>
                    <a:pt x="50006" y="96964"/>
                  </a:lnTo>
                  <a:lnTo>
                    <a:pt x="45339" y="74581"/>
                  </a:lnTo>
                </a:path>
              </a:pathLst>
            </a:custGeom>
            <a:grpFill/>
            <a:ln w="2381" cap="sq">
              <a:noFill/>
              <a:prstDash val="solid"/>
              <a:bevel/>
            </a:ln>
          </p:spPr>
          <p:txBody>
            <a:bodyPr rtlCol="0" anchor="ctr"/>
            <a:lstStyle/>
            <a:p>
              <a:endParaRPr lang="cs-CZ"/>
            </a:p>
          </p:txBody>
        </p:sp>
        <p:sp>
          <p:nvSpPr>
            <p:cNvPr id="208" name="Freeform: Shape 207">
              <a:extLst>
                <a:ext uri="{FF2B5EF4-FFF2-40B4-BE49-F238E27FC236}">
                  <a16:creationId xmlns:a16="http://schemas.microsoft.com/office/drawing/2014/main" id="{3372ECE2-F38D-3E6F-5B1F-1B65DD678561}"/>
                </a:ext>
              </a:extLst>
            </p:cNvPr>
            <p:cNvSpPr/>
            <p:nvPr/>
          </p:nvSpPr>
          <p:spPr>
            <a:xfrm>
              <a:off x="12198761" y="7497156"/>
              <a:ext cx="165925" cy="217170"/>
            </a:xfrm>
            <a:custGeom>
              <a:avLst/>
              <a:gdLst>
                <a:gd name="connsiteX0" fmla="*/ 7239 w 165925"/>
                <a:gd name="connsiteY0" fmla="*/ 6668 h 217170"/>
                <a:gd name="connsiteX1" fmla="*/ 8763 w 165925"/>
                <a:gd name="connsiteY1" fmla="*/ 21431 h 217170"/>
                <a:gd name="connsiteX2" fmla="*/ 12573 w 165925"/>
                <a:gd name="connsiteY2" fmla="*/ 32099 h 217170"/>
                <a:gd name="connsiteX3" fmla="*/ 34100 w 165925"/>
                <a:gd name="connsiteY3" fmla="*/ 64294 h 217170"/>
                <a:gd name="connsiteX4" fmla="*/ 120872 w 165925"/>
                <a:gd name="connsiteY4" fmla="*/ 140113 h 217170"/>
                <a:gd name="connsiteX5" fmla="*/ 148685 w 165925"/>
                <a:gd name="connsiteY5" fmla="*/ 175165 h 217170"/>
                <a:gd name="connsiteX6" fmla="*/ 165925 w 165925"/>
                <a:gd name="connsiteY6" fmla="*/ 190310 h 217170"/>
                <a:gd name="connsiteX7" fmla="*/ 148495 w 165925"/>
                <a:gd name="connsiteY7" fmla="*/ 197358 h 217170"/>
                <a:gd name="connsiteX8" fmla="*/ 142304 w 165925"/>
                <a:gd name="connsiteY8" fmla="*/ 215551 h 217170"/>
                <a:gd name="connsiteX9" fmla="*/ 127159 w 165925"/>
                <a:gd name="connsiteY9" fmla="*/ 217170 h 217170"/>
                <a:gd name="connsiteX10" fmla="*/ 108490 w 165925"/>
                <a:gd name="connsiteY10" fmla="*/ 207264 h 217170"/>
                <a:gd name="connsiteX11" fmla="*/ 99631 w 165925"/>
                <a:gd name="connsiteY11" fmla="*/ 192405 h 217170"/>
                <a:gd name="connsiteX12" fmla="*/ 67627 w 165925"/>
                <a:gd name="connsiteY12" fmla="*/ 156019 h 217170"/>
                <a:gd name="connsiteX13" fmla="*/ 53340 w 165925"/>
                <a:gd name="connsiteY13" fmla="*/ 172593 h 217170"/>
                <a:gd name="connsiteX14" fmla="*/ 42672 w 165925"/>
                <a:gd name="connsiteY14" fmla="*/ 157734 h 217170"/>
                <a:gd name="connsiteX15" fmla="*/ 48863 w 165925"/>
                <a:gd name="connsiteY15" fmla="*/ 139541 h 217170"/>
                <a:gd name="connsiteX16" fmla="*/ 22193 w 165925"/>
                <a:gd name="connsiteY16" fmla="*/ 124587 h 217170"/>
                <a:gd name="connsiteX17" fmla="*/ 16859 w 165925"/>
                <a:gd name="connsiteY17" fmla="*/ 96393 h 217170"/>
                <a:gd name="connsiteX18" fmla="*/ 16002 w 165925"/>
                <a:gd name="connsiteY18" fmla="*/ 69818 h 217170"/>
                <a:gd name="connsiteX19" fmla="*/ 857 w 165925"/>
                <a:gd name="connsiteY19" fmla="*/ 41624 h 217170"/>
                <a:gd name="connsiteX20" fmla="*/ 0 w 165925"/>
                <a:gd name="connsiteY20" fmla="*/ 0 h 217170"/>
                <a:gd name="connsiteX21" fmla="*/ 7429 w 165925"/>
                <a:gd name="connsiteY21" fmla="*/ 6668 h 217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5925" h="217170">
                  <a:moveTo>
                    <a:pt x="7239" y="6668"/>
                  </a:moveTo>
                  <a:lnTo>
                    <a:pt x="8763" y="21431"/>
                  </a:lnTo>
                  <a:lnTo>
                    <a:pt x="12573" y="32099"/>
                  </a:lnTo>
                  <a:lnTo>
                    <a:pt x="34100" y="64294"/>
                  </a:lnTo>
                  <a:lnTo>
                    <a:pt x="120872" y="140113"/>
                  </a:lnTo>
                  <a:lnTo>
                    <a:pt x="148685" y="175165"/>
                  </a:lnTo>
                  <a:lnTo>
                    <a:pt x="165925" y="190310"/>
                  </a:lnTo>
                  <a:lnTo>
                    <a:pt x="148495" y="197358"/>
                  </a:lnTo>
                  <a:lnTo>
                    <a:pt x="142304" y="215551"/>
                  </a:lnTo>
                  <a:lnTo>
                    <a:pt x="127159" y="217170"/>
                  </a:lnTo>
                  <a:lnTo>
                    <a:pt x="108490" y="207264"/>
                  </a:lnTo>
                  <a:lnTo>
                    <a:pt x="99631" y="192405"/>
                  </a:lnTo>
                  <a:lnTo>
                    <a:pt x="67627" y="156019"/>
                  </a:lnTo>
                  <a:lnTo>
                    <a:pt x="53340" y="172593"/>
                  </a:lnTo>
                  <a:lnTo>
                    <a:pt x="42672" y="157734"/>
                  </a:lnTo>
                  <a:lnTo>
                    <a:pt x="48863" y="139541"/>
                  </a:lnTo>
                  <a:lnTo>
                    <a:pt x="22193" y="124587"/>
                  </a:lnTo>
                  <a:lnTo>
                    <a:pt x="16859" y="96393"/>
                  </a:lnTo>
                  <a:lnTo>
                    <a:pt x="16002" y="69818"/>
                  </a:lnTo>
                  <a:lnTo>
                    <a:pt x="857" y="41624"/>
                  </a:lnTo>
                  <a:lnTo>
                    <a:pt x="0" y="0"/>
                  </a:lnTo>
                  <a:lnTo>
                    <a:pt x="7429" y="6668"/>
                  </a:lnTo>
                </a:path>
              </a:pathLst>
            </a:custGeom>
            <a:grpFill/>
            <a:ln w="2381" cap="sq">
              <a:noFill/>
              <a:prstDash val="solid"/>
              <a:bevel/>
            </a:ln>
          </p:spPr>
          <p:txBody>
            <a:bodyPr rtlCol="0" anchor="ctr"/>
            <a:lstStyle/>
            <a:p>
              <a:endParaRPr lang="cs-CZ"/>
            </a:p>
          </p:txBody>
        </p:sp>
        <p:sp>
          <p:nvSpPr>
            <p:cNvPr id="209" name="Freeform: Shape 208">
              <a:extLst>
                <a:ext uri="{FF2B5EF4-FFF2-40B4-BE49-F238E27FC236}">
                  <a16:creationId xmlns:a16="http://schemas.microsoft.com/office/drawing/2014/main" id="{B6CF32E3-6C8F-74EA-9834-A51D8DB0A45D}"/>
                </a:ext>
              </a:extLst>
            </p:cNvPr>
            <p:cNvSpPr/>
            <p:nvPr/>
          </p:nvSpPr>
          <p:spPr>
            <a:xfrm>
              <a:off x="12050552" y="7621552"/>
              <a:ext cx="347662" cy="356044"/>
            </a:xfrm>
            <a:custGeom>
              <a:avLst/>
              <a:gdLst>
                <a:gd name="connsiteX0" fmla="*/ 314134 w 347662"/>
                <a:gd name="connsiteY0" fmla="*/ 65913 h 356044"/>
                <a:gd name="connsiteX1" fmla="*/ 328517 w 347662"/>
                <a:gd name="connsiteY1" fmla="*/ 78486 h 356044"/>
                <a:gd name="connsiteX2" fmla="*/ 318992 w 347662"/>
                <a:gd name="connsiteY2" fmla="*/ 97727 h 356044"/>
                <a:gd name="connsiteX3" fmla="*/ 303848 w 347662"/>
                <a:gd name="connsiteY3" fmla="*/ 109252 h 356044"/>
                <a:gd name="connsiteX4" fmla="*/ 285179 w 347662"/>
                <a:gd name="connsiteY4" fmla="*/ 122492 h 356044"/>
                <a:gd name="connsiteX5" fmla="*/ 298513 w 347662"/>
                <a:gd name="connsiteY5" fmla="*/ 148876 h 356044"/>
                <a:gd name="connsiteX6" fmla="*/ 323469 w 347662"/>
                <a:gd name="connsiteY6" fmla="*/ 153829 h 356044"/>
                <a:gd name="connsiteX7" fmla="*/ 337757 w 347662"/>
                <a:gd name="connsiteY7" fmla="*/ 158782 h 356044"/>
                <a:gd name="connsiteX8" fmla="*/ 340423 w 347662"/>
                <a:gd name="connsiteY8" fmla="*/ 176879 h 356044"/>
                <a:gd name="connsiteX9" fmla="*/ 347663 w 347662"/>
                <a:gd name="connsiteY9" fmla="*/ 190976 h 356044"/>
                <a:gd name="connsiteX10" fmla="*/ 331851 w 347662"/>
                <a:gd name="connsiteY10" fmla="*/ 211360 h 356044"/>
                <a:gd name="connsiteX11" fmla="*/ 307562 w 347662"/>
                <a:gd name="connsiteY11" fmla="*/ 228029 h 356044"/>
                <a:gd name="connsiteX12" fmla="*/ 303562 w 347662"/>
                <a:gd name="connsiteY12" fmla="*/ 230505 h 356044"/>
                <a:gd name="connsiteX13" fmla="*/ 296418 w 347662"/>
                <a:gd name="connsiteY13" fmla="*/ 241745 h 356044"/>
                <a:gd name="connsiteX14" fmla="*/ 295561 w 347662"/>
                <a:gd name="connsiteY14" fmla="*/ 247174 h 356044"/>
                <a:gd name="connsiteX15" fmla="*/ 293465 w 347662"/>
                <a:gd name="connsiteY15" fmla="*/ 252889 h 356044"/>
                <a:gd name="connsiteX16" fmla="*/ 289369 w 347662"/>
                <a:gd name="connsiteY16" fmla="*/ 258509 h 356044"/>
                <a:gd name="connsiteX17" fmla="*/ 281750 w 347662"/>
                <a:gd name="connsiteY17" fmla="*/ 263843 h 356044"/>
                <a:gd name="connsiteX18" fmla="*/ 250603 w 347662"/>
                <a:gd name="connsiteY18" fmla="*/ 261747 h 356044"/>
                <a:gd name="connsiteX19" fmla="*/ 241554 w 347662"/>
                <a:gd name="connsiteY19" fmla="*/ 264223 h 356044"/>
                <a:gd name="connsiteX20" fmla="*/ 239173 w 347662"/>
                <a:gd name="connsiteY20" fmla="*/ 268034 h 356044"/>
                <a:gd name="connsiteX21" fmla="*/ 235744 w 347662"/>
                <a:gd name="connsiteY21" fmla="*/ 271844 h 356044"/>
                <a:gd name="connsiteX22" fmla="*/ 223171 w 347662"/>
                <a:gd name="connsiteY22" fmla="*/ 281654 h 356044"/>
                <a:gd name="connsiteX23" fmla="*/ 187642 w 347662"/>
                <a:gd name="connsiteY23" fmla="*/ 292132 h 356044"/>
                <a:gd name="connsiteX24" fmla="*/ 176689 w 347662"/>
                <a:gd name="connsiteY24" fmla="*/ 294227 h 356044"/>
                <a:gd name="connsiteX25" fmla="*/ 179737 w 347662"/>
                <a:gd name="connsiteY25" fmla="*/ 332232 h 356044"/>
                <a:gd name="connsiteX26" fmla="*/ 174403 w 347662"/>
                <a:gd name="connsiteY26" fmla="*/ 350711 h 356044"/>
                <a:gd name="connsiteX27" fmla="*/ 157163 w 347662"/>
                <a:gd name="connsiteY27" fmla="*/ 346043 h 356044"/>
                <a:gd name="connsiteX28" fmla="*/ 144780 w 347662"/>
                <a:gd name="connsiteY28" fmla="*/ 356045 h 356044"/>
                <a:gd name="connsiteX29" fmla="*/ 124777 w 347662"/>
                <a:gd name="connsiteY29" fmla="*/ 352139 h 356044"/>
                <a:gd name="connsiteX30" fmla="*/ 113824 w 347662"/>
                <a:gd name="connsiteY30" fmla="*/ 349282 h 356044"/>
                <a:gd name="connsiteX31" fmla="*/ 87630 w 347662"/>
                <a:gd name="connsiteY31" fmla="*/ 351473 h 356044"/>
                <a:gd name="connsiteX32" fmla="*/ 75819 w 347662"/>
                <a:gd name="connsiteY32" fmla="*/ 347948 h 356044"/>
                <a:gd name="connsiteX33" fmla="*/ 72009 w 347662"/>
                <a:gd name="connsiteY33" fmla="*/ 336423 h 356044"/>
                <a:gd name="connsiteX34" fmla="*/ 68104 w 347662"/>
                <a:gd name="connsiteY34" fmla="*/ 331661 h 356044"/>
                <a:gd name="connsiteX35" fmla="*/ 66866 w 347662"/>
                <a:gd name="connsiteY35" fmla="*/ 325184 h 356044"/>
                <a:gd name="connsiteX36" fmla="*/ 66866 w 347662"/>
                <a:gd name="connsiteY36" fmla="*/ 321564 h 356044"/>
                <a:gd name="connsiteX37" fmla="*/ 68199 w 347662"/>
                <a:gd name="connsiteY37" fmla="*/ 305657 h 356044"/>
                <a:gd name="connsiteX38" fmla="*/ 64770 w 347662"/>
                <a:gd name="connsiteY38" fmla="*/ 288512 h 356044"/>
                <a:gd name="connsiteX39" fmla="*/ 62674 w 347662"/>
                <a:gd name="connsiteY39" fmla="*/ 283178 h 356044"/>
                <a:gd name="connsiteX40" fmla="*/ 54388 w 347662"/>
                <a:gd name="connsiteY40" fmla="*/ 275749 h 356044"/>
                <a:gd name="connsiteX41" fmla="*/ 42863 w 347662"/>
                <a:gd name="connsiteY41" fmla="*/ 269748 h 356044"/>
                <a:gd name="connsiteX42" fmla="*/ 29146 w 347662"/>
                <a:gd name="connsiteY42" fmla="*/ 258127 h 356044"/>
                <a:gd name="connsiteX43" fmla="*/ 24098 w 347662"/>
                <a:gd name="connsiteY43" fmla="*/ 250698 h 356044"/>
                <a:gd name="connsiteX44" fmla="*/ 20955 w 347662"/>
                <a:gd name="connsiteY44" fmla="*/ 242506 h 356044"/>
                <a:gd name="connsiteX45" fmla="*/ 18193 w 347662"/>
                <a:gd name="connsiteY45" fmla="*/ 239744 h 356044"/>
                <a:gd name="connsiteX46" fmla="*/ 7144 w 347662"/>
                <a:gd name="connsiteY46" fmla="*/ 234506 h 356044"/>
                <a:gd name="connsiteX47" fmla="*/ 6191 w 347662"/>
                <a:gd name="connsiteY47" fmla="*/ 225171 h 356044"/>
                <a:gd name="connsiteX48" fmla="*/ 857 w 347662"/>
                <a:gd name="connsiteY48" fmla="*/ 221933 h 356044"/>
                <a:gd name="connsiteX49" fmla="*/ 0 w 347662"/>
                <a:gd name="connsiteY49" fmla="*/ 219456 h 356044"/>
                <a:gd name="connsiteX50" fmla="*/ 2286 w 347662"/>
                <a:gd name="connsiteY50" fmla="*/ 209645 h 356044"/>
                <a:gd name="connsiteX51" fmla="*/ 17526 w 347662"/>
                <a:gd name="connsiteY51" fmla="*/ 187357 h 356044"/>
                <a:gd name="connsiteX52" fmla="*/ 33338 w 347662"/>
                <a:gd name="connsiteY52" fmla="*/ 171736 h 356044"/>
                <a:gd name="connsiteX53" fmla="*/ 42386 w 347662"/>
                <a:gd name="connsiteY53" fmla="*/ 167354 h 356044"/>
                <a:gd name="connsiteX54" fmla="*/ 44101 w 347662"/>
                <a:gd name="connsiteY54" fmla="*/ 163544 h 356044"/>
                <a:gd name="connsiteX55" fmla="*/ 45148 w 347662"/>
                <a:gd name="connsiteY55" fmla="*/ 156305 h 356044"/>
                <a:gd name="connsiteX56" fmla="*/ 46958 w 347662"/>
                <a:gd name="connsiteY56" fmla="*/ 154591 h 356044"/>
                <a:gd name="connsiteX57" fmla="*/ 41529 w 347662"/>
                <a:gd name="connsiteY57" fmla="*/ 131064 h 356044"/>
                <a:gd name="connsiteX58" fmla="*/ 38100 w 347662"/>
                <a:gd name="connsiteY58" fmla="*/ 121825 h 356044"/>
                <a:gd name="connsiteX59" fmla="*/ 38100 w 347662"/>
                <a:gd name="connsiteY59" fmla="*/ 109633 h 356044"/>
                <a:gd name="connsiteX60" fmla="*/ 36576 w 347662"/>
                <a:gd name="connsiteY60" fmla="*/ 87821 h 356044"/>
                <a:gd name="connsiteX61" fmla="*/ 34480 w 347662"/>
                <a:gd name="connsiteY61" fmla="*/ 83534 h 356044"/>
                <a:gd name="connsiteX62" fmla="*/ 27813 w 347662"/>
                <a:gd name="connsiteY62" fmla="*/ 75819 h 356044"/>
                <a:gd name="connsiteX63" fmla="*/ 36576 w 347662"/>
                <a:gd name="connsiteY63" fmla="*/ 54578 h 356044"/>
                <a:gd name="connsiteX64" fmla="*/ 53530 w 347662"/>
                <a:gd name="connsiteY64" fmla="*/ 49625 h 356044"/>
                <a:gd name="connsiteX65" fmla="*/ 62389 w 347662"/>
                <a:gd name="connsiteY65" fmla="*/ 66199 h 356044"/>
                <a:gd name="connsiteX66" fmla="*/ 74867 w 347662"/>
                <a:gd name="connsiteY66" fmla="*/ 66199 h 356044"/>
                <a:gd name="connsiteX67" fmla="*/ 91821 w 347662"/>
                <a:gd name="connsiteY67" fmla="*/ 59627 h 356044"/>
                <a:gd name="connsiteX68" fmla="*/ 112300 w 347662"/>
                <a:gd name="connsiteY68" fmla="*/ 64580 h 356044"/>
                <a:gd name="connsiteX69" fmla="*/ 122968 w 347662"/>
                <a:gd name="connsiteY69" fmla="*/ 29813 h 356044"/>
                <a:gd name="connsiteX70" fmla="*/ 139922 w 347662"/>
                <a:gd name="connsiteY70" fmla="*/ 3334 h 356044"/>
                <a:gd name="connsiteX71" fmla="*/ 170212 w 347662"/>
                <a:gd name="connsiteY71" fmla="*/ 0 h 356044"/>
                <a:gd name="connsiteX72" fmla="*/ 196882 w 347662"/>
                <a:gd name="connsiteY72" fmla="*/ 14954 h 356044"/>
                <a:gd name="connsiteX73" fmla="*/ 190690 w 347662"/>
                <a:gd name="connsiteY73" fmla="*/ 33147 h 356044"/>
                <a:gd name="connsiteX74" fmla="*/ 201359 w 347662"/>
                <a:gd name="connsiteY74" fmla="*/ 48006 h 356044"/>
                <a:gd name="connsiteX75" fmla="*/ 215646 w 347662"/>
                <a:gd name="connsiteY75" fmla="*/ 31433 h 356044"/>
                <a:gd name="connsiteX76" fmla="*/ 247650 w 347662"/>
                <a:gd name="connsiteY76" fmla="*/ 67818 h 356044"/>
                <a:gd name="connsiteX77" fmla="*/ 256508 w 347662"/>
                <a:gd name="connsiteY77" fmla="*/ 82677 h 356044"/>
                <a:gd name="connsiteX78" fmla="*/ 275177 w 347662"/>
                <a:gd name="connsiteY78" fmla="*/ 92583 h 356044"/>
                <a:gd name="connsiteX79" fmla="*/ 290322 w 347662"/>
                <a:gd name="connsiteY79" fmla="*/ 90964 h 356044"/>
                <a:gd name="connsiteX80" fmla="*/ 296513 w 347662"/>
                <a:gd name="connsiteY80" fmla="*/ 72771 h 356044"/>
                <a:gd name="connsiteX81" fmla="*/ 313944 w 347662"/>
                <a:gd name="connsiteY81" fmla="*/ 65723 h 356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347662" h="356044">
                  <a:moveTo>
                    <a:pt x="314134" y="65913"/>
                  </a:moveTo>
                  <a:lnTo>
                    <a:pt x="328517" y="78486"/>
                  </a:lnTo>
                  <a:lnTo>
                    <a:pt x="318992" y="97727"/>
                  </a:lnTo>
                  <a:lnTo>
                    <a:pt x="303848" y="109252"/>
                  </a:lnTo>
                  <a:lnTo>
                    <a:pt x="285179" y="122492"/>
                  </a:lnTo>
                  <a:lnTo>
                    <a:pt x="298513" y="148876"/>
                  </a:lnTo>
                  <a:lnTo>
                    <a:pt x="323469" y="153829"/>
                  </a:lnTo>
                  <a:lnTo>
                    <a:pt x="337757" y="158782"/>
                  </a:lnTo>
                  <a:lnTo>
                    <a:pt x="340423" y="176879"/>
                  </a:lnTo>
                  <a:lnTo>
                    <a:pt x="347663" y="190976"/>
                  </a:lnTo>
                  <a:lnTo>
                    <a:pt x="331851" y="211360"/>
                  </a:lnTo>
                  <a:lnTo>
                    <a:pt x="307562" y="228029"/>
                  </a:lnTo>
                  <a:lnTo>
                    <a:pt x="303562" y="230505"/>
                  </a:lnTo>
                  <a:lnTo>
                    <a:pt x="296418" y="241745"/>
                  </a:lnTo>
                  <a:lnTo>
                    <a:pt x="295561" y="247174"/>
                  </a:lnTo>
                  <a:lnTo>
                    <a:pt x="293465" y="252889"/>
                  </a:lnTo>
                  <a:lnTo>
                    <a:pt x="289369" y="258509"/>
                  </a:lnTo>
                  <a:lnTo>
                    <a:pt x="281750" y="263843"/>
                  </a:lnTo>
                  <a:lnTo>
                    <a:pt x="250603" y="261747"/>
                  </a:lnTo>
                  <a:lnTo>
                    <a:pt x="241554" y="264223"/>
                  </a:lnTo>
                  <a:lnTo>
                    <a:pt x="239173" y="268034"/>
                  </a:lnTo>
                  <a:lnTo>
                    <a:pt x="235744" y="271844"/>
                  </a:lnTo>
                  <a:lnTo>
                    <a:pt x="223171" y="281654"/>
                  </a:lnTo>
                  <a:lnTo>
                    <a:pt x="187642" y="292132"/>
                  </a:lnTo>
                  <a:lnTo>
                    <a:pt x="176689" y="294227"/>
                  </a:lnTo>
                  <a:lnTo>
                    <a:pt x="179737" y="332232"/>
                  </a:lnTo>
                  <a:lnTo>
                    <a:pt x="174403" y="350711"/>
                  </a:lnTo>
                  <a:lnTo>
                    <a:pt x="157163" y="346043"/>
                  </a:lnTo>
                  <a:lnTo>
                    <a:pt x="144780" y="356045"/>
                  </a:lnTo>
                  <a:lnTo>
                    <a:pt x="124777" y="352139"/>
                  </a:lnTo>
                  <a:lnTo>
                    <a:pt x="113824" y="349282"/>
                  </a:lnTo>
                  <a:lnTo>
                    <a:pt x="87630" y="351473"/>
                  </a:lnTo>
                  <a:lnTo>
                    <a:pt x="75819" y="347948"/>
                  </a:lnTo>
                  <a:lnTo>
                    <a:pt x="72009" y="336423"/>
                  </a:lnTo>
                  <a:lnTo>
                    <a:pt x="68104" y="331661"/>
                  </a:lnTo>
                  <a:lnTo>
                    <a:pt x="66866" y="325184"/>
                  </a:lnTo>
                  <a:lnTo>
                    <a:pt x="66866" y="321564"/>
                  </a:lnTo>
                  <a:cubicBezTo>
                    <a:pt x="66866" y="321564"/>
                    <a:pt x="68199" y="305657"/>
                    <a:pt x="68199" y="305657"/>
                  </a:cubicBezTo>
                  <a:lnTo>
                    <a:pt x="64770" y="288512"/>
                  </a:lnTo>
                  <a:lnTo>
                    <a:pt x="62674" y="283178"/>
                  </a:lnTo>
                  <a:lnTo>
                    <a:pt x="54388" y="275749"/>
                  </a:lnTo>
                  <a:lnTo>
                    <a:pt x="42863" y="269748"/>
                  </a:lnTo>
                  <a:lnTo>
                    <a:pt x="29146" y="258127"/>
                  </a:lnTo>
                  <a:lnTo>
                    <a:pt x="24098" y="250698"/>
                  </a:lnTo>
                  <a:lnTo>
                    <a:pt x="20955" y="242506"/>
                  </a:lnTo>
                  <a:lnTo>
                    <a:pt x="18193" y="239744"/>
                  </a:lnTo>
                  <a:lnTo>
                    <a:pt x="7144" y="234506"/>
                  </a:lnTo>
                  <a:lnTo>
                    <a:pt x="6191" y="225171"/>
                  </a:lnTo>
                  <a:lnTo>
                    <a:pt x="857" y="221933"/>
                  </a:lnTo>
                  <a:lnTo>
                    <a:pt x="0" y="219456"/>
                  </a:lnTo>
                  <a:lnTo>
                    <a:pt x="2286" y="209645"/>
                  </a:lnTo>
                  <a:lnTo>
                    <a:pt x="17526" y="187357"/>
                  </a:lnTo>
                  <a:lnTo>
                    <a:pt x="33338" y="171736"/>
                  </a:lnTo>
                  <a:lnTo>
                    <a:pt x="42386" y="167354"/>
                  </a:lnTo>
                  <a:lnTo>
                    <a:pt x="44101" y="163544"/>
                  </a:lnTo>
                  <a:lnTo>
                    <a:pt x="45148" y="156305"/>
                  </a:lnTo>
                  <a:lnTo>
                    <a:pt x="46958" y="154591"/>
                  </a:lnTo>
                  <a:lnTo>
                    <a:pt x="41529" y="131064"/>
                  </a:lnTo>
                  <a:lnTo>
                    <a:pt x="38100" y="121825"/>
                  </a:lnTo>
                  <a:lnTo>
                    <a:pt x="38100" y="109633"/>
                  </a:lnTo>
                  <a:lnTo>
                    <a:pt x="36576" y="87821"/>
                  </a:lnTo>
                  <a:lnTo>
                    <a:pt x="34480" y="83534"/>
                  </a:lnTo>
                  <a:lnTo>
                    <a:pt x="27813" y="75819"/>
                  </a:lnTo>
                  <a:lnTo>
                    <a:pt x="36576" y="54578"/>
                  </a:lnTo>
                  <a:lnTo>
                    <a:pt x="53530" y="49625"/>
                  </a:lnTo>
                  <a:lnTo>
                    <a:pt x="62389" y="66199"/>
                  </a:lnTo>
                  <a:lnTo>
                    <a:pt x="74867" y="66199"/>
                  </a:lnTo>
                  <a:lnTo>
                    <a:pt x="91821" y="59627"/>
                  </a:lnTo>
                  <a:lnTo>
                    <a:pt x="112300" y="64580"/>
                  </a:lnTo>
                  <a:lnTo>
                    <a:pt x="122968" y="29813"/>
                  </a:lnTo>
                  <a:lnTo>
                    <a:pt x="139922" y="3334"/>
                  </a:lnTo>
                  <a:lnTo>
                    <a:pt x="170212" y="0"/>
                  </a:lnTo>
                  <a:lnTo>
                    <a:pt x="196882" y="14954"/>
                  </a:lnTo>
                  <a:lnTo>
                    <a:pt x="190690" y="33147"/>
                  </a:lnTo>
                  <a:lnTo>
                    <a:pt x="201359" y="48006"/>
                  </a:lnTo>
                  <a:lnTo>
                    <a:pt x="215646" y="31433"/>
                  </a:lnTo>
                  <a:lnTo>
                    <a:pt x="247650" y="67818"/>
                  </a:lnTo>
                  <a:lnTo>
                    <a:pt x="256508" y="82677"/>
                  </a:lnTo>
                  <a:lnTo>
                    <a:pt x="275177" y="92583"/>
                  </a:lnTo>
                  <a:lnTo>
                    <a:pt x="290322" y="90964"/>
                  </a:lnTo>
                  <a:lnTo>
                    <a:pt x="296513" y="72771"/>
                  </a:lnTo>
                  <a:lnTo>
                    <a:pt x="313944" y="65723"/>
                  </a:lnTo>
                </a:path>
              </a:pathLst>
            </a:custGeom>
            <a:solidFill>
              <a:srgbClr val="A8192D"/>
            </a:solidFill>
            <a:ln w="19050" cap="sq">
              <a:solidFill>
                <a:schemeClr val="bg1">
                  <a:lumMod val="95000"/>
                </a:schemeClr>
              </a:solidFill>
              <a:prstDash val="solid"/>
              <a:bevel/>
            </a:ln>
          </p:spPr>
          <p:txBody>
            <a:bodyPr rtlCol="0" anchor="ctr"/>
            <a:lstStyle/>
            <a:p>
              <a:endParaRPr lang="cs-CZ"/>
            </a:p>
          </p:txBody>
        </p:sp>
        <p:sp>
          <p:nvSpPr>
            <p:cNvPr id="210" name="Freeform: Shape 209">
              <a:extLst>
                <a:ext uri="{FF2B5EF4-FFF2-40B4-BE49-F238E27FC236}">
                  <a16:creationId xmlns:a16="http://schemas.microsoft.com/office/drawing/2014/main" id="{BC13F6F5-AC3A-7E34-CF0F-8A6630F5B98F}"/>
                </a:ext>
              </a:extLst>
            </p:cNvPr>
            <p:cNvSpPr/>
            <p:nvPr/>
          </p:nvSpPr>
          <p:spPr>
            <a:xfrm>
              <a:off x="12335635" y="7700038"/>
              <a:ext cx="93440" cy="112585"/>
            </a:xfrm>
            <a:custGeom>
              <a:avLst/>
              <a:gdLst>
                <a:gd name="connsiteX0" fmla="*/ 43339 w 93440"/>
                <a:gd name="connsiteY0" fmla="*/ 0 h 112585"/>
                <a:gd name="connsiteX1" fmla="*/ 63532 w 93440"/>
                <a:gd name="connsiteY1" fmla="*/ 11716 h 112585"/>
                <a:gd name="connsiteX2" fmla="*/ 76867 w 93440"/>
                <a:gd name="connsiteY2" fmla="*/ 14859 h 112585"/>
                <a:gd name="connsiteX3" fmla="*/ 81820 w 93440"/>
                <a:gd name="connsiteY3" fmla="*/ 17145 h 112585"/>
                <a:gd name="connsiteX4" fmla="*/ 82963 w 93440"/>
                <a:gd name="connsiteY4" fmla="*/ 22765 h 112585"/>
                <a:gd name="connsiteX5" fmla="*/ 83153 w 93440"/>
                <a:gd name="connsiteY5" fmla="*/ 29908 h 112585"/>
                <a:gd name="connsiteX6" fmla="*/ 84868 w 93440"/>
                <a:gd name="connsiteY6" fmla="*/ 37052 h 112585"/>
                <a:gd name="connsiteX7" fmla="*/ 93440 w 93440"/>
                <a:gd name="connsiteY7" fmla="*/ 54769 h 112585"/>
                <a:gd name="connsiteX8" fmla="*/ 80963 w 93440"/>
                <a:gd name="connsiteY8" fmla="*/ 59341 h 112585"/>
                <a:gd name="connsiteX9" fmla="*/ 78200 w 93440"/>
                <a:gd name="connsiteY9" fmla="*/ 64484 h 112585"/>
                <a:gd name="connsiteX10" fmla="*/ 75819 w 93440"/>
                <a:gd name="connsiteY10" fmla="*/ 73057 h 112585"/>
                <a:gd name="connsiteX11" fmla="*/ 75057 w 93440"/>
                <a:gd name="connsiteY11" fmla="*/ 93250 h 112585"/>
                <a:gd name="connsiteX12" fmla="*/ 62484 w 93440"/>
                <a:gd name="connsiteY12" fmla="*/ 112585 h 112585"/>
                <a:gd name="connsiteX13" fmla="*/ 55245 w 93440"/>
                <a:gd name="connsiteY13" fmla="*/ 98489 h 112585"/>
                <a:gd name="connsiteX14" fmla="*/ 52578 w 93440"/>
                <a:gd name="connsiteY14" fmla="*/ 80391 h 112585"/>
                <a:gd name="connsiteX15" fmla="*/ 38290 w 93440"/>
                <a:gd name="connsiteY15" fmla="*/ 75438 h 112585"/>
                <a:gd name="connsiteX16" fmla="*/ 13335 w 93440"/>
                <a:gd name="connsiteY16" fmla="*/ 70485 h 112585"/>
                <a:gd name="connsiteX17" fmla="*/ 0 w 93440"/>
                <a:gd name="connsiteY17" fmla="*/ 44101 h 112585"/>
                <a:gd name="connsiteX18" fmla="*/ 18669 w 93440"/>
                <a:gd name="connsiteY18" fmla="*/ 30861 h 112585"/>
                <a:gd name="connsiteX19" fmla="*/ 33814 w 93440"/>
                <a:gd name="connsiteY19" fmla="*/ 19336 h 112585"/>
                <a:gd name="connsiteX20" fmla="*/ 43339 w 93440"/>
                <a:gd name="connsiteY20" fmla="*/ 95 h 112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3440" h="112585">
                  <a:moveTo>
                    <a:pt x="43339" y="0"/>
                  </a:moveTo>
                  <a:lnTo>
                    <a:pt x="63532" y="11716"/>
                  </a:lnTo>
                  <a:lnTo>
                    <a:pt x="76867" y="14859"/>
                  </a:lnTo>
                  <a:lnTo>
                    <a:pt x="81820" y="17145"/>
                  </a:lnTo>
                  <a:lnTo>
                    <a:pt x="82963" y="22765"/>
                  </a:lnTo>
                  <a:lnTo>
                    <a:pt x="83153" y="29908"/>
                  </a:lnTo>
                  <a:lnTo>
                    <a:pt x="84868" y="37052"/>
                  </a:lnTo>
                  <a:lnTo>
                    <a:pt x="93440" y="54769"/>
                  </a:lnTo>
                  <a:lnTo>
                    <a:pt x="80963" y="59341"/>
                  </a:lnTo>
                  <a:lnTo>
                    <a:pt x="78200" y="64484"/>
                  </a:lnTo>
                  <a:lnTo>
                    <a:pt x="75819" y="73057"/>
                  </a:lnTo>
                  <a:lnTo>
                    <a:pt x="75057" y="93250"/>
                  </a:lnTo>
                  <a:lnTo>
                    <a:pt x="62484" y="112585"/>
                  </a:lnTo>
                  <a:lnTo>
                    <a:pt x="55245" y="98489"/>
                  </a:lnTo>
                  <a:lnTo>
                    <a:pt x="52578" y="80391"/>
                  </a:lnTo>
                  <a:lnTo>
                    <a:pt x="38290" y="75438"/>
                  </a:lnTo>
                  <a:lnTo>
                    <a:pt x="13335" y="70485"/>
                  </a:lnTo>
                  <a:lnTo>
                    <a:pt x="0" y="44101"/>
                  </a:lnTo>
                  <a:lnTo>
                    <a:pt x="18669" y="30861"/>
                  </a:lnTo>
                  <a:lnTo>
                    <a:pt x="33814" y="19336"/>
                  </a:lnTo>
                  <a:lnTo>
                    <a:pt x="43339" y="95"/>
                  </a:lnTo>
                </a:path>
              </a:pathLst>
            </a:custGeom>
            <a:grpFill/>
            <a:ln w="2381" cap="sq">
              <a:noFill/>
              <a:prstDash val="solid"/>
              <a:bevel/>
            </a:ln>
          </p:spPr>
          <p:txBody>
            <a:bodyPr rtlCol="0" anchor="ctr"/>
            <a:lstStyle/>
            <a:p>
              <a:endParaRPr lang="cs-CZ"/>
            </a:p>
          </p:txBody>
        </p:sp>
        <p:sp>
          <p:nvSpPr>
            <p:cNvPr id="211" name="Freeform: Shape 210">
              <a:extLst>
                <a:ext uri="{FF2B5EF4-FFF2-40B4-BE49-F238E27FC236}">
                  <a16:creationId xmlns:a16="http://schemas.microsoft.com/office/drawing/2014/main" id="{46C587F4-7EAF-0EEE-8401-748D8578BD5B}"/>
                </a:ext>
              </a:extLst>
            </p:cNvPr>
            <p:cNvSpPr/>
            <p:nvPr/>
          </p:nvSpPr>
          <p:spPr>
            <a:xfrm>
              <a:off x="12406215" y="7754617"/>
              <a:ext cx="186023" cy="292798"/>
            </a:xfrm>
            <a:custGeom>
              <a:avLst/>
              <a:gdLst>
                <a:gd name="connsiteX0" fmla="*/ 22955 w 186023"/>
                <a:gd name="connsiteY0" fmla="*/ 191 h 292798"/>
                <a:gd name="connsiteX1" fmla="*/ 24670 w 186023"/>
                <a:gd name="connsiteY1" fmla="*/ 3715 h 292798"/>
                <a:gd name="connsiteX2" fmla="*/ 28575 w 186023"/>
                <a:gd name="connsiteY2" fmla="*/ 15526 h 292798"/>
                <a:gd name="connsiteX3" fmla="*/ 31623 w 186023"/>
                <a:gd name="connsiteY3" fmla="*/ 29718 h 292798"/>
                <a:gd name="connsiteX4" fmla="*/ 34671 w 186023"/>
                <a:gd name="connsiteY4" fmla="*/ 55054 h 292798"/>
                <a:gd name="connsiteX5" fmla="*/ 38005 w 186023"/>
                <a:gd name="connsiteY5" fmla="*/ 68199 h 292798"/>
                <a:gd name="connsiteX6" fmla="*/ 43815 w 186023"/>
                <a:gd name="connsiteY6" fmla="*/ 73914 h 292798"/>
                <a:gd name="connsiteX7" fmla="*/ 47244 w 186023"/>
                <a:gd name="connsiteY7" fmla="*/ 80581 h 292798"/>
                <a:gd name="connsiteX8" fmla="*/ 58198 w 186023"/>
                <a:gd name="connsiteY8" fmla="*/ 147066 h 292798"/>
                <a:gd name="connsiteX9" fmla="*/ 62294 w 186023"/>
                <a:gd name="connsiteY9" fmla="*/ 158210 h 292798"/>
                <a:gd name="connsiteX10" fmla="*/ 67723 w 186023"/>
                <a:gd name="connsiteY10" fmla="*/ 162687 h 292798"/>
                <a:gd name="connsiteX11" fmla="*/ 74676 w 186023"/>
                <a:gd name="connsiteY11" fmla="*/ 165449 h 292798"/>
                <a:gd name="connsiteX12" fmla="*/ 93154 w 186023"/>
                <a:gd name="connsiteY12" fmla="*/ 187166 h 292798"/>
                <a:gd name="connsiteX13" fmla="*/ 125349 w 186023"/>
                <a:gd name="connsiteY13" fmla="*/ 200311 h 292798"/>
                <a:gd name="connsiteX14" fmla="*/ 158687 w 186023"/>
                <a:gd name="connsiteY14" fmla="*/ 206692 h 292798"/>
                <a:gd name="connsiteX15" fmla="*/ 163449 w 186023"/>
                <a:gd name="connsiteY15" fmla="*/ 210693 h 292798"/>
                <a:gd name="connsiteX16" fmla="*/ 182499 w 186023"/>
                <a:gd name="connsiteY16" fmla="*/ 238792 h 292798"/>
                <a:gd name="connsiteX17" fmla="*/ 186023 w 186023"/>
                <a:gd name="connsiteY17" fmla="*/ 241744 h 292798"/>
                <a:gd name="connsiteX18" fmla="*/ 184976 w 186023"/>
                <a:gd name="connsiteY18" fmla="*/ 242888 h 292798"/>
                <a:gd name="connsiteX19" fmla="*/ 155353 w 186023"/>
                <a:gd name="connsiteY19" fmla="*/ 256508 h 292798"/>
                <a:gd name="connsiteX20" fmla="*/ 149162 w 186023"/>
                <a:gd name="connsiteY20" fmla="*/ 264890 h 292798"/>
                <a:gd name="connsiteX21" fmla="*/ 145161 w 186023"/>
                <a:gd name="connsiteY21" fmla="*/ 269272 h 292798"/>
                <a:gd name="connsiteX22" fmla="*/ 145828 w 186023"/>
                <a:gd name="connsiteY22" fmla="*/ 271272 h 292798"/>
                <a:gd name="connsiteX23" fmla="*/ 146590 w 186023"/>
                <a:gd name="connsiteY23" fmla="*/ 274320 h 292798"/>
                <a:gd name="connsiteX24" fmla="*/ 132874 w 186023"/>
                <a:gd name="connsiteY24" fmla="*/ 281369 h 292798"/>
                <a:gd name="connsiteX25" fmla="*/ 105728 w 186023"/>
                <a:gd name="connsiteY25" fmla="*/ 292798 h 292798"/>
                <a:gd name="connsiteX26" fmla="*/ 68866 w 186023"/>
                <a:gd name="connsiteY26" fmla="*/ 288988 h 292798"/>
                <a:gd name="connsiteX27" fmla="*/ 38957 w 186023"/>
                <a:gd name="connsiteY27" fmla="*/ 278797 h 292798"/>
                <a:gd name="connsiteX28" fmla="*/ 18764 w 186023"/>
                <a:gd name="connsiteY28" fmla="*/ 285179 h 292798"/>
                <a:gd name="connsiteX29" fmla="*/ 16002 w 186023"/>
                <a:gd name="connsiteY29" fmla="*/ 274987 h 292798"/>
                <a:gd name="connsiteX30" fmla="*/ 29908 w 186023"/>
                <a:gd name="connsiteY30" fmla="*/ 260890 h 292798"/>
                <a:gd name="connsiteX31" fmla="*/ 37529 w 186023"/>
                <a:gd name="connsiteY31" fmla="*/ 251936 h 292798"/>
                <a:gd name="connsiteX32" fmla="*/ 26384 w 186023"/>
                <a:gd name="connsiteY32" fmla="*/ 239173 h 292798"/>
                <a:gd name="connsiteX33" fmla="*/ 29908 w 186023"/>
                <a:gd name="connsiteY33" fmla="*/ 220027 h 292798"/>
                <a:gd name="connsiteX34" fmla="*/ 43815 w 186023"/>
                <a:gd name="connsiteY34" fmla="*/ 200882 h 292798"/>
                <a:gd name="connsiteX35" fmla="*/ 50768 w 186023"/>
                <a:gd name="connsiteY35" fmla="*/ 181642 h 292798"/>
                <a:gd name="connsiteX36" fmla="*/ 40291 w 186023"/>
                <a:gd name="connsiteY36" fmla="*/ 153448 h 292798"/>
                <a:gd name="connsiteX37" fmla="*/ 19431 w 186023"/>
                <a:gd name="connsiteY37" fmla="*/ 140589 h 292798"/>
                <a:gd name="connsiteX38" fmla="*/ 4858 w 186023"/>
                <a:gd name="connsiteY38" fmla="*/ 130302 h 292798"/>
                <a:gd name="connsiteX39" fmla="*/ 0 w 186023"/>
                <a:gd name="connsiteY39" fmla="*/ 117443 h 292798"/>
                <a:gd name="connsiteX40" fmla="*/ 7620 w 186023"/>
                <a:gd name="connsiteY40" fmla="*/ 105918 h 292798"/>
                <a:gd name="connsiteX41" fmla="*/ 12478 w 186023"/>
                <a:gd name="connsiteY41" fmla="*/ 78962 h 292798"/>
                <a:gd name="connsiteX42" fmla="*/ 11049 w 186023"/>
                <a:gd name="connsiteY42" fmla="*/ 54578 h 292798"/>
                <a:gd name="connsiteX43" fmla="*/ 4667 w 186023"/>
                <a:gd name="connsiteY43" fmla="*/ 38481 h 292798"/>
                <a:gd name="connsiteX44" fmla="*/ 5429 w 186023"/>
                <a:gd name="connsiteY44" fmla="*/ 18288 h 292798"/>
                <a:gd name="connsiteX45" fmla="*/ 7810 w 186023"/>
                <a:gd name="connsiteY45" fmla="*/ 9716 h 292798"/>
                <a:gd name="connsiteX46" fmla="*/ 10573 w 186023"/>
                <a:gd name="connsiteY46" fmla="*/ 4572 h 292798"/>
                <a:gd name="connsiteX47" fmla="*/ 23051 w 186023"/>
                <a:gd name="connsiteY47" fmla="*/ 0 h 292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86023" h="292798">
                  <a:moveTo>
                    <a:pt x="22955" y="191"/>
                  </a:moveTo>
                  <a:lnTo>
                    <a:pt x="24670" y="3715"/>
                  </a:lnTo>
                  <a:lnTo>
                    <a:pt x="28575" y="15526"/>
                  </a:lnTo>
                  <a:lnTo>
                    <a:pt x="31623" y="29718"/>
                  </a:lnTo>
                  <a:lnTo>
                    <a:pt x="34671" y="55054"/>
                  </a:lnTo>
                  <a:lnTo>
                    <a:pt x="38005" y="68199"/>
                  </a:lnTo>
                  <a:lnTo>
                    <a:pt x="43815" y="73914"/>
                  </a:lnTo>
                  <a:lnTo>
                    <a:pt x="47244" y="80581"/>
                  </a:lnTo>
                  <a:lnTo>
                    <a:pt x="58198" y="147066"/>
                  </a:lnTo>
                  <a:lnTo>
                    <a:pt x="62294" y="158210"/>
                  </a:lnTo>
                  <a:lnTo>
                    <a:pt x="67723" y="162687"/>
                  </a:lnTo>
                  <a:lnTo>
                    <a:pt x="74676" y="165449"/>
                  </a:lnTo>
                  <a:lnTo>
                    <a:pt x="93154" y="187166"/>
                  </a:lnTo>
                  <a:lnTo>
                    <a:pt x="125349" y="200311"/>
                  </a:lnTo>
                  <a:lnTo>
                    <a:pt x="158687" y="206692"/>
                  </a:lnTo>
                  <a:lnTo>
                    <a:pt x="163449" y="210693"/>
                  </a:lnTo>
                  <a:lnTo>
                    <a:pt x="182499" y="238792"/>
                  </a:lnTo>
                  <a:lnTo>
                    <a:pt x="186023" y="241744"/>
                  </a:lnTo>
                  <a:lnTo>
                    <a:pt x="184976" y="242888"/>
                  </a:lnTo>
                  <a:lnTo>
                    <a:pt x="155353" y="256508"/>
                  </a:lnTo>
                  <a:lnTo>
                    <a:pt x="149162" y="264890"/>
                  </a:lnTo>
                  <a:lnTo>
                    <a:pt x="145161" y="269272"/>
                  </a:lnTo>
                  <a:lnTo>
                    <a:pt x="145828" y="271272"/>
                  </a:lnTo>
                  <a:lnTo>
                    <a:pt x="146590" y="274320"/>
                  </a:lnTo>
                  <a:lnTo>
                    <a:pt x="132874" y="281369"/>
                  </a:lnTo>
                  <a:lnTo>
                    <a:pt x="105728" y="292798"/>
                  </a:lnTo>
                  <a:lnTo>
                    <a:pt x="68866" y="288988"/>
                  </a:lnTo>
                  <a:lnTo>
                    <a:pt x="38957" y="278797"/>
                  </a:lnTo>
                  <a:lnTo>
                    <a:pt x="18764" y="285179"/>
                  </a:lnTo>
                  <a:lnTo>
                    <a:pt x="16002" y="274987"/>
                  </a:lnTo>
                  <a:lnTo>
                    <a:pt x="29908" y="260890"/>
                  </a:lnTo>
                  <a:lnTo>
                    <a:pt x="37529" y="251936"/>
                  </a:lnTo>
                  <a:lnTo>
                    <a:pt x="26384" y="239173"/>
                  </a:lnTo>
                  <a:lnTo>
                    <a:pt x="29908" y="220027"/>
                  </a:lnTo>
                  <a:lnTo>
                    <a:pt x="43815" y="200882"/>
                  </a:lnTo>
                  <a:lnTo>
                    <a:pt x="50768" y="181642"/>
                  </a:lnTo>
                  <a:lnTo>
                    <a:pt x="40291" y="153448"/>
                  </a:lnTo>
                  <a:lnTo>
                    <a:pt x="19431" y="140589"/>
                  </a:lnTo>
                  <a:lnTo>
                    <a:pt x="4858" y="130302"/>
                  </a:lnTo>
                  <a:lnTo>
                    <a:pt x="0" y="117443"/>
                  </a:lnTo>
                  <a:lnTo>
                    <a:pt x="7620" y="105918"/>
                  </a:lnTo>
                  <a:lnTo>
                    <a:pt x="12478" y="78962"/>
                  </a:lnTo>
                  <a:lnTo>
                    <a:pt x="11049" y="54578"/>
                  </a:lnTo>
                  <a:lnTo>
                    <a:pt x="4667" y="38481"/>
                  </a:lnTo>
                  <a:lnTo>
                    <a:pt x="5429" y="18288"/>
                  </a:lnTo>
                  <a:lnTo>
                    <a:pt x="7810" y="9716"/>
                  </a:lnTo>
                  <a:lnTo>
                    <a:pt x="10573" y="4572"/>
                  </a:lnTo>
                  <a:lnTo>
                    <a:pt x="23051" y="0"/>
                  </a:lnTo>
                </a:path>
              </a:pathLst>
            </a:custGeom>
            <a:grpFill/>
            <a:ln w="2381" cap="sq">
              <a:noFill/>
              <a:prstDash val="solid"/>
              <a:bevel/>
            </a:ln>
          </p:spPr>
          <p:txBody>
            <a:bodyPr rtlCol="0" anchor="ctr"/>
            <a:lstStyle/>
            <a:p>
              <a:endParaRPr lang="cs-CZ"/>
            </a:p>
          </p:txBody>
        </p:sp>
        <p:sp>
          <p:nvSpPr>
            <p:cNvPr id="212" name="Freeform: Shape 211">
              <a:extLst>
                <a:ext uri="{FF2B5EF4-FFF2-40B4-BE49-F238E27FC236}">
                  <a16:creationId xmlns:a16="http://schemas.microsoft.com/office/drawing/2014/main" id="{08E0E58E-8177-892F-5784-9FED852450B7}"/>
                </a:ext>
              </a:extLst>
            </p:cNvPr>
            <p:cNvSpPr/>
            <p:nvPr/>
          </p:nvSpPr>
          <p:spPr>
            <a:xfrm>
              <a:off x="12551090" y="7979025"/>
              <a:ext cx="187356" cy="59436"/>
            </a:xfrm>
            <a:custGeom>
              <a:avLst/>
              <a:gdLst>
                <a:gd name="connsiteX0" fmla="*/ 40958 w 187356"/>
                <a:gd name="connsiteY0" fmla="*/ 17335 h 59436"/>
                <a:gd name="connsiteX1" fmla="*/ 43529 w 187356"/>
                <a:gd name="connsiteY1" fmla="*/ 19526 h 59436"/>
                <a:gd name="connsiteX2" fmla="*/ 61817 w 187356"/>
                <a:gd name="connsiteY2" fmla="*/ 25337 h 59436"/>
                <a:gd name="connsiteX3" fmla="*/ 86392 w 187356"/>
                <a:gd name="connsiteY3" fmla="*/ 27908 h 59436"/>
                <a:gd name="connsiteX4" fmla="*/ 152972 w 187356"/>
                <a:gd name="connsiteY4" fmla="*/ 11525 h 59436"/>
                <a:gd name="connsiteX5" fmla="*/ 176689 w 187356"/>
                <a:gd name="connsiteY5" fmla="*/ 0 h 59436"/>
                <a:gd name="connsiteX6" fmla="*/ 177356 w 187356"/>
                <a:gd name="connsiteY6" fmla="*/ 286 h 59436"/>
                <a:gd name="connsiteX7" fmla="*/ 179546 w 187356"/>
                <a:gd name="connsiteY7" fmla="*/ 6668 h 59436"/>
                <a:gd name="connsiteX8" fmla="*/ 187357 w 187356"/>
                <a:gd name="connsiteY8" fmla="*/ 10668 h 59436"/>
                <a:gd name="connsiteX9" fmla="*/ 180689 w 187356"/>
                <a:gd name="connsiteY9" fmla="*/ 23813 h 59436"/>
                <a:gd name="connsiteX10" fmla="*/ 167450 w 187356"/>
                <a:gd name="connsiteY10" fmla="*/ 31433 h 59436"/>
                <a:gd name="connsiteX11" fmla="*/ 152114 w 187356"/>
                <a:gd name="connsiteY11" fmla="*/ 36576 h 59436"/>
                <a:gd name="connsiteX12" fmla="*/ 127730 w 187356"/>
                <a:gd name="connsiteY12" fmla="*/ 40386 h 59436"/>
                <a:gd name="connsiteX13" fmla="*/ 119348 w 187356"/>
                <a:gd name="connsiteY13" fmla="*/ 35243 h 59436"/>
                <a:gd name="connsiteX14" fmla="*/ 114491 w 187356"/>
                <a:gd name="connsiteY14" fmla="*/ 45434 h 59436"/>
                <a:gd name="connsiteX15" fmla="*/ 90773 w 187356"/>
                <a:gd name="connsiteY15" fmla="*/ 53054 h 59436"/>
                <a:gd name="connsiteX16" fmla="*/ 77534 w 187356"/>
                <a:gd name="connsiteY16" fmla="*/ 55626 h 59436"/>
                <a:gd name="connsiteX17" fmla="*/ 64294 w 187356"/>
                <a:gd name="connsiteY17" fmla="*/ 55626 h 59436"/>
                <a:gd name="connsiteX18" fmla="*/ 54578 w 187356"/>
                <a:gd name="connsiteY18" fmla="*/ 53054 h 59436"/>
                <a:gd name="connsiteX19" fmla="*/ 45530 w 187356"/>
                <a:gd name="connsiteY19" fmla="*/ 59436 h 59436"/>
                <a:gd name="connsiteX20" fmla="*/ 29528 w 187356"/>
                <a:gd name="connsiteY20" fmla="*/ 58198 h 59436"/>
                <a:gd name="connsiteX21" fmla="*/ 7239 w 187356"/>
                <a:gd name="connsiteY21" fmla="*/ 51149 h 59436"/>
                <a:gd name="connsiteX22" fmla="*/ 1429 w 187356"/>
                <a:gd name="connsiteY22" fmla="*/ 49816 h 59436"/>
                <a:gd name="connsiteX23" fmla="*/ 667 w 187356"/>
                <a:gd name="connsiteY23" fmla="*/ 46768 h 59436"/>
                <a:gd name="connsiteX24" fmla="*/ 0 w 187356"/>
                <a:gd name="connsiteY24" fmla="*/ 44768 h 59436"/>
                <a:gd name="connsiteX25" fmla="*/ 4001 w 187356"/>
                <a:gd name="connsiteY25" fmla="*/ 40386 h 59436"/>
                <a:gd name="connsiteX26" fmla="*/ 10192 w 187356"/>
                <a:gd name="connsiteY26" fmla="*/ 32004 h 59436"/>
                <a:gd name="connsiteX27" fmla="*/ 39815 w 187356"/>
                <a:gd name="connsiteY27" fmla="*/ 18383 h 59436"/>
                <a:gd name="connsiteX28" fmla="*/ 40862 w 187356"/>
                <a:gd name="connsiteY28" fmla="*/ 17240 h 5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87356" h="59436">
                  <a:moveTo>
                    <a:pt x="40958" y="17335"/>
                  </a:moveTo>
                  <a:lnTo>
                    <a:pt x="43529" y="19526"/>
                  </a:lnTo>
                  <a:lnTo>
                    <a:pt x="61817" y="25337"/>
                  </a:lnTo>
                  <a:lnTo>
                    <a:pt x="86392" y="27908"/>
                  </a:lnTo>
                  <a:lnTo>
                    <a:pt x="152972" y="11525"/>
                  </a:lnTo>
                  <a:lnTo>
                    <a:pt x="176689" y="0"/>
                  </a:lnTo>
                  <a:lnTo>
                    <a:pt x="177356" y="286"/>
                  </a:lnTo>
                  <a:lnTo>
                    <a:pt x="179546" y="6668"/>
                  </a:lnTo>
                  <a:lnTo>
                    <a:pt x="187357" y="10668"/>
                  </a:lnTo>
                  <a:lnTo>
                    <a:pt x="180689" y="23813"/>
                  </a:lnTo>
                  <a:lnTo>
                    <a:pt x="167450" y="31433"/>
                  </a:lnTo>
                  <a:lnTo>
                    <a:pt x="152114" y="36576"/>
                  </a:lnTo>
                  <a:lnTo>
                    <a:pt x="127730" y="40386"/>
                  </a:lnTo>
                  <a:lnTo>
                    <a:pt x="119348" y="35243"/>
                  </a:lnTo>
                  <a:lnTo>
                    <a:pt x="114491" y="45434"/>
                  </a:lnTo>
                  <a:lnTo>
                    <a:pt x="90773" y="53054"/>
                  </a:lnTo>
                  <a:lnTo>
                    <a:pt x="77534" y="55626"/>
                  </a:lnTo>
                  <a:lnTo>
                    <a:pt x="64294" y="55626"/>
                  </a:lnTo>
                  <a:lnTo>
                    <a:pt x="54578" y="53054"/>
                  </a:lnTo>
                  <a:lnTo>
                    <a:pt x="45530" y="59436"/>
                  </a:lnTo>
                  <a:lnTo>
                    <a:pt x="29528" y="58198"/>
                  </a:lnTo>
                  <a:lnTo>
                    <a:pt x="7239" y="51149"/>
                  </a:lnTo>
                  <a:lnTo>
                    <a:pt x="1429" y="49816"/>
                  </a:lnTo>
                  <a:lnTo>
                    <a:pt x="667" y="46768"/>
                  </a:lnTo>
                  <a:lnTo>
                    <a:pt x="0" y="44768"/>
                  </a:lnTo>
                  <a:lnTo>
                    <a:pt x="4001" y="40386"/>
                  </a:lnTo>
                  <a:lnTo>
                    <a:pt x="10192" y="32004"/>
                  </a:lnTo>
                  <a:lnTo>
                    <a:pt x="39815" y="18383"/>
                  </a:lnTo>
                  <a:lnTo>
                    <a:pt x="40862" y="17240"/>
                  </a:lnTo>
                </a:path>
              </a:pathLst>
            </a:custGeom>
            <a:grpFill/>
            <a:ln w="2381" cap="sq">
              <a:noFill/>
              <a:prstDash val="solid"/>
              <a:bevel/>
            </a:ln>
          </p:spPr>
          <p:txBody>
            <a:bodyPr rtlCol="0" anchor="ctr"/>
            <a:lstStyle/>
            <a:p>
              <a:endParaRPr lang="cs-CZ"/>
            </a:p>
          </p:txBody>
        </p:sp>
        <p:sp>
          <p:nvSpPr>
            <p:cNvPr id="213" name="Freeform: Shape 212">
              <a:extLst>
                <a:ext uri="{FF2B5EF4-FFF2-40B4-BE49-F238E27FC236}">
                  <a16:creationId xmlns:a16="http://schemas.microsoft.com/office/drawing/2014/main" id="{05BFAB5B-BF19-0FC5-BE30-BA7DE0446056}"/>
                </a:ext>
              </a:extLst>
            </p:cNvPr>
            <p:cNvSpPr/>
            <p:nvPr/>
          </p:nvSpPr>
          <p:spPr>
            <a:xfrm>
              <a:off x="12727684" y="7919971"/>
              <a:ext cx="153066" cy="154590"/>
            </a:xfrm>
            <a:custGeom>
              <a:avLst/>
              <a:gdLst>
                <a:gd name="connsiteX0" fmla="*/ 0 w 153066"/>
                <a:gd name="connsiteY0" fmla="*/ 59055 h 154590"/>
                <a:gd name="connsiteX1" fmla="*/ 10097 w 153066"/>
                <a:gd name="connsiteY1" fmla="*/ 54102 h 154590"/>
                <a:gd name="connsiteX2" fmla="*/ 25051 w 153066"/>
                <a:gd name="connsiteY2" fmla="*/ 41243 h 154590"/>
                <a:gd name="connsiteX3" fmla="*/ 32099 w 153066"/>
                <a:gd name="connsiteY3" fmla="*/ 30956 h 154590"/>
                <a:gd name="connsiteX4" fmla="*/ 37052 w 153066"/>
                <a:gd name="connsiteY4" fmla="*/ 21336 h 154590"/>
                <a:gd name="connsiteX5" fmla="*/ 42386 w 153066"/>
                <a:gd name="connsiteY5" fmla="*/ 14192 h 154590"/>
                <a:gd name="connsiteX6" fmla="*/ 57531 w 153066"/>
                <a:gd name="connsiteY6" fmla="*/ 9906 h 154590"/>
                <a:gd name="connsiteX7" fmla="*/ 72485 w 153066"/>
                <a:gd name="connsiteY7" fmla="*/ 0 h 154590"/>
                <a:gd name="connsiteX8" fmla="*/ 87535 w 153066"/>
                <a:gd name="connsiteY8" fmla="*/ 23717 h 154590"/>
                <a:gd name="connsiteX9" fmla="*/ 91726 w 153066"/>
                <a:gd name="connsiteY9" fmla="*/ 25717 h 154590"/>
                <a:gd name="connsiteX10" fmla="*/ 99060 w 153066"/>
                <a:gd name="connsiteY10" fmla="*/ 29242 h 154590"/>
                <a:gd name="connsiteX11" fmla="*/ 115824 w 153066"/>
                <a:gd name="connsiteY11" fmla="*/ 48101 h 154590"/>
                <a:gd name="connsiteX12" fmla="*/ 125730 w 153066"/>
                <a:gd name="connsiteY12" fmla="*/ 54483 h 154590"/>
                <a:gd name="connsiteX13" fmla="*/ 135255 w 153066"/>
                <a:gd name="connsiteY13" fmla="*/ 58960 h 154590"/>
                <a:gd name="connsiteX14" fmla="*/ 140494 w 153066"/>
                <a:gd name="connsiteY14" fmla="*/ 63627 h 154590"/>
                <a:gd name="connsiteX15" fmla="*/ 146209 w 153066"/>
                <a:gd name="connsiteY15" fmla="*/ 70009 h 154590"/>
                <a:gd name="connsiteX16" fmla="*/ 153067 w 153066"/>
                <a:gd name="connsiteY16" fmla="*/ 85725 h 154590"/>
                <a:gd name="connsiteX17" fmla="*/ 144875 w 153066"/>
                <a:gd name="connsiteY17" fmla="*/ 95345 h 154590"/>
                <a:gd name="connsiteX18" fmla="*/ 129064 w 153066"/>
                <a:gd name="connsiteY18" fmla="*/ 102203 h 154590"/>
                <a:gd name="connsiteX19" fmla="*/ 124396 w 153066"/>
                <a:gd name="connsiteY19" fmla="*/ 105823 h 154590"/>
                <a:gd name="connsiteX20" fmla="*/ 119825 w 153066"/>
                <a:gd name="connsiteY20" fmla="*/ 113348 h 154590"/>
                <a:gd name="connsiteX21" fmla="*/ 120587 w 153066"/>
                <a:gd name="connsiteY21" fmla="*/ 132112 h 154590"/>
                <a:gd name="connsiteX22" fmla="*/ 129159 w 153066"/>
                <a:gd name="connsiteY22" fmla="*/ 154305 h 154590"/>
                <a:gd name="connsiteX23" fmla="*/ 105156 w 153066"/>
                <a:gd name="connsiteY23" fmla="*/ 147828 h 154590"/>
                <a:gd name="connsiteX24" fmla="*/ 88963 w 153066"/>
                <a:gd name="connsiteY24" fmla="*/ 133350 h 154590"/>
                <a:gd name="connsiteX25" fmla="*/ 80105 w 153066"/>
                <a:gd name="connsiteY25" fmla="*/ 136208 h 154590"/>
                <a:gd name="connsiteX26" fmla="*/ 72104 w 153066"/>
                <a:gd name="connsiteY26" fmla="*/ 140303 h 154590"/>
                <a:gd name="connsiteX27" fmla="*/ 68866 w 153066"/>
                <a:gd name="connsiteY27" fmla="*/ 146685 h 154590"/>
                <a:gd name="connsiteX28" fmla="*/ 67056 w 153066"/>
                <a:gd name="connsiteY28" fmla="*/ 150304 h 154590"/>
                <a:gd name="connsiteX29" fmla="*/ 62675 w 153066"/>
                <a:gd name="connsiteY29" fmla="*/ 152019 h 154590"/>
                <a:gd name="connsiteX30" fmla="*/ 55912 w 153066"/>
                <a:gd name="connsiteY30" fmla="*/ 154591 h 154590"/>
                <a:gd name="connsiteX31" fmla="*/ 54102 w 153066"/>
                <a:gd name="connsiteY31" fmla="*/ 144875 h 154590"/>
                <a:gd name="connsiteX32" fmla="*/ 52483 w 153066"/>
                <a:gd name="connsiteY32" fmla="*/ 136112 h 154590"/>
                <a:gd name="connsiteX33" fmla="*/ 44006 w 153066"/>
                <a:gd name="connsiteY33" fmla="*/ 127825 h 154590"/>
                <a:gd name="connsiteX34" fmla="*/ 38672 w 153066"/>
                <a:gd name="connsiteY34" fmla="*/ 120967 h 154590"/>
                <a:gd name="connsiteX35" fmla="*/ 29242 w 153066"/>
                <a:gd name="connsiteY35" fmla="*/ 118015 h 154590"/>
                <a:gd name="connsiteX36" fmla="*/ 17240 w 153066"/>
                <a:gd name="connsiteY36" fmla="*/ 111157 h 154590"/>
                <a:gd name="connsiteX37" fmla="*/ 6001 w 153066"/>
                <a:gd name="connsiteY37" fmla="*/ 107252 h 154590"/>
                <a:gd name="connsiteX38" fmla="*/ 8573 w 153066"/>
                <a:gd name="connsiteY38" fmla="*/ 101441 h 154590"/>
                <a:gd name="connsiteX39" fmla="*/ 23908 w 153066"/>
                <a:gd name="connsiteY39" fmla="*/ 88678 h 154590"/>
                <a:gd name="connsiteX40" fmla="*/ 26099 w 153066"/>
                <a:gd name="connsiteY40" fmla="*/ 82582 h 154590"/>
                <a:gd name="connsiteX41" fmla="*/ 28766 w 153066"/>
                <a:gd name="connsiteY41" fmla="*/ 78200 h 154590"/>
                <a:gd name="connsiteX42" fmla="*/ 25527 w 153066"/>
                <a:gd name="connsiteY42" fmla="*/ 74390 h 154590"/>
                <a:gd name="connsiteX43" fmla="*/ 15812 w 153066"/>
                <a:gd name="connsiteY43" fmla="*/ 72104 h 154590"/>
                <a:gd name="connsiteX44" fmla="*/ 10668 w 153066"/>
                <a:gd name="connsiteY44" fmla="*/ 69437 h 154590"/>
                <a:gd name="connsiteX45" fmla="*/ 2858 w 153066"/>
                <a:gd name="connsiteY45" fmla="*/ 65437 h 154590"/>
                <a:gd name="connsiteX46" fmla="*/ 667 w 153066"/>
                <a:gd name="connsiteY46" fmla="*/ 59055 h 154590"/>
                <a:gd name="connsiteX47" fmla="*/ 0 w 153066"/>
                <a:gd name="connsiteY47" fmla="*/ 58769 h 154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53066" h="154590">
                  <a:moveTo>
                    <a:pt x="0" y="59055"/>
                  </a:moveTo>
                  <a:lnTo>
                    <a:pt x="10097" y="54102"/>
                  </a:lnTo>
                  <a:lnTo>
                    <a:pt x="25051" y="41243"/>
                  </a:lnTo>
                  <a:lnTo>
                    <a:pt x="32099" y="30956"/>
                  </a:lnTo>
                  <a:lnTo>
                    <a:pt x="37052" y="21336"/>
                  </a:lnTo>
                  <a:lnTo>
                    <a:pt x="42386" y="14192"/>
                  </a:lnTo>
                  <a:lnTo>
                    <a:pt x="57531" y="9906"/>
                  </a:lnTo>
                  <a:lnTo>
                    <a:pt x="72485" y="0"/>
                  </a:lnTo>
                  <a:lnTo>
                    <a:pt x="87535" y="23717"/>
                  </a:lnTo>
                  <a:lnTo>
                    <a:pt x="91726" y="25717"/>
                  </a:lnTo>
                  <a:lnTo>
                    <a:pt x="99060" y="29242"/>
                  </a:lnTo>
                  <a:lnTo>
                    <a:pt x="115824" y="48101"/>
                  </a:lnTo>
                  <a:lnTo>
                    <a:pt x="125730" y="54483"/>
                  </a:lnTo>
                  <a:lnTo>
                    <a:pt x="135255" y="58960"/>
                  </a:lnTo>
                  <a:lnTo>
                    <a:pt x="140494" y="63627"/>
                  </a:lnTo>
                  <a:lnTo>
                    <a:pt x="146209" y="70009"/>
                  </a:lnTo>
                  <a:lnTo>
                    <a:pt x="153067" y="85725"/>
                  </a:lnTo>
                  <a:lnTo>
                    <a:pt x="144875" y="95345"/>
                  </a:lnTo>
                  <a:lnTo>
                    <a:pt x="129064" y="102203"/>
                  </a:lnTo>
                  <a:lnTo>
                    <a:pt x="124396" y="105823"/>
                  </a:lnTo>
                  <a:lnTo>
                    <a:pt x="119825" y="113348"/>
                  </a:lnTo>
                  <a:lnTo>
                    <a:pt x="120587" y="132112"/>
                  </a:lnTo>
                  <a:lnTo>
                    <a:pt x="129159" y="154305"/>
                  </a:lnTo>
                  <a:lnTo>
                    <a:pt x="105156" y="147828"/>
                  </a:lnTo>
                  <a:lnTo>
                    <a:pt x="88963" y="133350"/>
                  </a:lnTo>
                  <a:lnTo>
                    <a:pt x="80105" y="136208"/>
                  </a:lnTo>
                  <a:lnTo>
                    <a:pt x="72104" y="140303"/>
                  </a:lnTo>
                  <a:lnTo>
                    <a:pt x="68866" y="146685"/>
                  </a:lnTo>
                  <a:lnTo>
                    <a:pt x="67056" y="150304"/>
                  </a:lnTo>
                  <a:lnTo>
                    <a:pt x="62675" y="152019"/>
                  </a:lnTo>
                  <a:lnTo>
                    <a:pt x="55912" y="154591"/>
                  </a:lnTo>
                  <a:lnTo>
                    <a:pt x="54102" y="144875"/>
                  </a:lnTo>
                  <a:lnTo>
                    <a:pt x="52483" y="136112"/>
                  </a:lnTo>
                  <a:lnTo>
                    <a:pt x="44006" y="127825"/>
                  </a:lnTo>
                  <a:lnTo>
                    <a:pt x="38672" y="120967"/>
                  </a:lnTo>
                  <a:lnTo>
                    <a:pt x="29242" y="118015"/>
                  </a:lnTo>
                  <a:lnTo>
                    <a:pt x="17240" y="111157"/>
                  </a:lnTo>
                  <a:lnTo>
                    <a:pt x="6001" y="107252"/>
                  </a:lnTo>
                  <a:lnTo>
                    <a:pt x="8573" y="101441"/>
                  </a:lnTo>
                  <a:lnTo>
                    <a:pt x="23908" y="88678"/>
                  </a:lnTo>
                  <a:lnTo>
                    <a:pt x="26099" y="82582"/>
                  </a:lnTo>
                  <a:lnTo>
                    <a:pt x="28766" y="78200"/>
                  </a:lnTo>
                  <a:lnTo>
                    <a:pt x="25527" y="74390"/>
                  </a:lnTo>
                  <a:lnTo>
                    <a:pt x="15812" y="72104"/>
                  </a:lnTo>
                  <a:lnTo>
                    <a:pt x="10668" y="69437"/>
                  </a:lnTo>
                  <a:lnTo>
                    <a:pt x="2858" y="65437"/>
                  </a:lnTo>
                  <a:lnTo>
                    <a:pt x="667" y="59055"/>
                  </a:lnTo>
                  <a:lnTo>
                    <a:pt x="0" y="58769"/>
                  </a:lnTo>
                </a:path>
              </a:pathLst>
            </a:custGeom>
            <a:grpFill/>
            <a:ln w="2381" cap="sq">
              <a:noFill/>
              <a:prstDash val="solid"/>
              <a:bevel/>
            </a:ln>
          </p:spPr>
          <p:txBody>
            <a:bodyPr rtlCol="0" anchor="ctr"/>
            <a:lstStyle/>
            <a:p>
              <a:endParaRPr lang="cs-CZ"/>
            </a:p>
          </p:txBody>
        </p:sp>
        <p:sp>
          <p:nvSpPr>
            <p:cNvPr id="214" name="Freeform: Shape 213">
              <a:extLst>
                <a:ext uri="{FF2B5EF4-FFF2-40B4-BE49-F238E27FC236}">
                  <a16:creationId xmlns:a16="http://schemas.microsoft.com/office/drawing/2014/main" id="{8175A97D-95A4-98A2-1BAF-51110B011155}"/>
                </a:ext>
              </a:extLst>
            </p:cNvPr>
            <p:cNvSpPr/>
            <p:nvPr/>
          </p:nvSpPr>
          <p:spPr>
            <a:xfrm>
              <a:off x="12800169" y="7840437"/>
              <a:ext cx="91820" cy="105441"/>
            </a:xfrm>
            <a:custGeom>
              <a:avLst/>
              <a:gdLst>
                <a:gd name="connsiteX0" fmla="*/ 0 w 91820"/>
                <a:gd name="connsiteY0" fmla="*/ 79629 h 105441"/>
                <a:gd name="connsiteX1" fmla="*/ 38100 w 91820"/>
                <a:gd name="connsiteY1" fmla="*/ 54578 h 105441"/>
                <a:gd name="connsiteX2" fmla="*/ 41434 w 91820"/>
                <a:gd name="connsiteY2" fmla="*/ 44386 h 105441"/>
                <a:gd name="connsiteX3" fmla="*/ 48958 w 91820"/>
                <a:gd name="connsiteY3" fmla="*/ 36100 h 105441"/>
                <a:gd name="connsiteX4" fmla="*/ 57721 w 91820"/>
                <a:gd name="connsiteY4" fmla="*/ 30385 h 105441"/>
                <a:gd name="connsiteX5" fmla="*/ 64484 w 91820"/>
                <a:gd name="connsiteY5" fmla="*/ 27813 h 105441"/>
                <a:gd name="connsiteX6" fmla="*/ 64484 w 91820"/>
                <a:gd name="connsiteY6" fmla="*/ 20098 h 105441"/>
                <a:gd name="connsiteX7" fmla="*/ 68485 w 91820"/>
                <a:gd name="connsiteY7" fmla="*/ 14954 h 105441"/>
                <a:gd name="connsiteX8" fmla="*/ 77819 w 91820"/>
                <a:gd name="connsiteY8" fmla="*/ 8192 h 105441"/>
                <a:gd name="connsiteX9" fmla="*/ 84868 w 91820"/>
                <a:gd name="connsiteY9" fmla="*/ 0 h 105441"/>
                <a:gd name="connsiteX10" fmla="*/ 91821 w 91820"/>
                <a:gd name="connsiteY10" fmla="*/ 11430 h 105441"/>
                <a:gd name="connsiteX11" fmla="*/ 89154 w 91820"/>
                <a:gd name="connsiteY11" fmla="*/ 26384 h 105441"/>
                <a:gd name="connsiteX12" fmla="*/ 87535 w 91820"/>
                <a:gd name="connsiteY12" fmla="*/ 51340 h 105441"/>
                <a:gd name="connsiteX13" fmla="*/ 81058 w 91820"/>
                <a:gd name="connsiteY13" fmla="*/ 62294 h 105441"/>
                <a:gd name="connsiteX14" fmla="*/ 59436 w 91820"/>
                <a:gd name="connsiteY14" fmla="*/ 72295 h 105441"/>
                <a:gd name="connsiteX15" fmla="*/ 56769 w 91820"/>
                <a:gd name="connsiteY15" fmla="*/ 89249 h 105441"/>
                <a:gd name="connsiteX16" fmla="*/ 52483 w 91820"/>
                <a:gd name="connsiteY16" fmla="*/ 100203 h 105441"/>
                <a:gd name="connsiteX17" fmla="*/ 46482 w 91820"/>
                <a:gd name="connsiteY17" fmla="*/ 91249 h 105441"/>
                <a:gd name="connsiteX18" fmla="*/ 19336 w 91820"/>
                <a:gd name="connsiteY18" fmla="*/ 105442 h 105441"/>
                <a:gd name="connsiteX19" fmla="*/ 15145 w 91820"/>
                <a:gd name="connsiteY19" fmla="*/ 103442 h 105441"/>
                <a:gd name="connsiteX20" fmla="*/ 95 w 91820"/>
                <a:gd name="connsiteY20" fmla="*/ 79724 h 105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1820" h="105441">
                  <a:moveTo>
                    <a:pt x="0" y="79629"/>
                  </a:moveTo>
                  <a:lnTo>
                    <a:pt x="38100" y="54578"/>
                  </a:lnTo>
                  <a:lnTo>
                    <a:pt x="41434" y="44386"/>
                  </a:lnTo>
                  <a:lnTo>
                    <a:pt x="48958" y="36100"/>
                  </a:lnTo>
                  <a:lnTo>
                    <a:pt x="57721" y="30385"/>
                  </a:lnTo>
                  <a:lnTo>
                    <a:pt x="64484" y="27813"/>
                  </a:lnTo>
                  <a:lnTo>
                    <a:pt x="64484" y="20098"/>
                  </a:lnTo>
                  <a:cubicBezTo>
                    <a:pt x="64484" y="20098"/>
                    <a:pt x="68485" y="14954"/>
                    <a:pt x="68485" y="14954"/>
                  </a:cubicBezTo>
                  <a:lnTo>
                    <a:pt x="77819" y="8192"/>
                  </a:lnTo>
                  <a:lnTo>
                    <a:pt x="84868" y="0"/>
                  </a:lnTo>
                  <a:lnTo>
                    <a:pt x="91821" y="11430"/>
                  </a:lnTo>
                  <a:lnTo>
                    <a:pt x="89154" y="26384"/>
                  </a:lnTo>
                  <a:lnTo>
                    <a:pt x="87535" y="51340"/>
                  </a:lnTo>
                  <a:lnTo>
                    <a:pt x="81058" y="62294"/>
                  </a:lnTo>
                  <a:lnTo>
                    <a:pt x="59436" y="72295"/>
                  </a:lnTo>
                  <a:lnTo>
                    <a:pt x="56769" y="89249"/>
                  </a:lnTo>
                  <a:lnTo>
                    <a:pt x="52483" y="100203"/>
                  </a:lnTo>
                  <a:lnTo>
                    <a:pt x="46482" y="91249"/>
                  </a:lnTo>
                  <a:lnTo>
                    <a:pt x="19336" y="105442"/>
                  </a:lnTo>
                  <a:lnTo>
                    <a:pt x="15145" y="103442"/>
                  </a:lnTo>
                  <a:lnTo>
                    <a:pt x="95" y="79724"/>
                  </a:lnTo>
                </a:path>
              </a:pathLst>
            </a:custGeom>
            <a:grpFill/>
            <a:ln w="2381" cap="sq">
              <a:noFill/>
              <a:prstDash val="solid"/>
              <a:bevel/>
            </a:ln>
          </p:spPr>
          <p:txBody>
            <a:bodyPr rtlCol="0" anchor="ctr"/>
            <a:lstStyle/>
            <a:p>
              <a:endParaRPr lang="cs-CZ"/>
            </a:p>
          </p:txBody>
        </p:sp>
        <p:sp>
          <p:nvSpPr>
            <p:cNvPr id="215" name="Freeform: Shape 214">
              <a:extLst>
                <a:ext uri="{FF2B5EF4-FFF2-40B4-BE49-F238E27FC236}">
                  <a16:creationId xmlns:a16="http://schemas.microsoft.com/office/drawing/2014/main" id="{4E455700-202D-0466-2750-5C00ED53B935}"/>
                </a:ext>
              </a:extLst>
            </p:cNvPr>
            <p:cNvSpPr/>
            <p:nvPr/>
          </p:nvSpPr>
          <p:spPr>
            <a:xfrm>
              <a:off x="12884942" y="7733471"/>
              <a:ext cx="61150" cy="119253"/>
            </a:xfrm>
            <a:custGeom>
              <a:avLst/>
              <a:gdLst>
                <a:gd name="connsiteX0" fmla="*/ 95 w 61150"/>
                <a:gd name="connsiteY0" fmla="*/ 106871 h 119253"/>
                <a:gd name="connsiteX1" fmla="*/ 18955 w 61150"/>
                <a:gd name="connsiteY1" fmla="*/ 84963 h 119253"/>
                <a:gd name="connsiteX2" fmla="*/ 27337 w 61150"/>
                <a:gd name="connsiteY2" fmla="*/ 64865 h 119253"/>
                <a:gd name="connsiteX3" fmla="*/ 30575 w 61150"/>
                <a:gd name="connsiteY3" fmla="*/ 36005 h 119253"/>
                <a:gd name="connsiteX4" fmla="*/ 29242 w 61150"/>
                <a:gd name="connsiteY4" fmla="*/ 2572 h 119253"/>
                <a:gd name="connsiteX5" fmla="*/ 28956 w 61150"/>
                <a:gd name="connsiteY5" fmla="*/ 0 h 119253"/>
                <a:gd name="connsiteX6" fmla="*/ 29051 w 61150"/>
                <a:gd name="connsiteY6" fmla="*/ 0 h 119253"/>
                <a:gd name="connsiteX7" fmla="*/ 31242 w 61150"/>
                <a:gd name="connsiteY7" fmla="*/ 2477 h 119253"/>
                <a:gd name="connsiteX8" fmla="*/ 36957 w 61150"/>
                <a:gd name="connsiteY8" fmla="*/ 10192 h 119253"/>
                <a:gd name="connsiteX9" fmla="*/ 38386 w 61150"/>
                <a:gd name="connsiteY9" fmla="*/ 14097 h 119253"/>
                <a:gd name="connsiteX10" fmla="*/ 39624 w 61150"/>
                <a:gd name="connsiteY10" fmla="*/ 20098 h 119253"/>
                <a:gd name="connsiteX11" fmla="*/ 38767 w 61150"/>
                <a:gd name="connsiteY11" fmla="*/ 28670 h 119253"/>
                <a:gd name="connsiteX12" fmla="*/ 37243 w 61150"/>
                <a:gd name="connsiteY12" fmla="*/ 35528 h 119253"/>
                <a:gd name="connsiteX13" fmla="*/ 37528 w 61150"/>
                <a:gd name="connsiteY13" fmla="*/ 38576 h 119253"/>
                <a:gd name="connsiteX14" fmla="*/ 37909 w 61150"/>
                <a:gd name="connsiteY14" fmla="*/ 40862 h 119253"/>
                <a:gd name="connsiteX15" fmla="*/ 46577 w 61150"/>
                <a:gd name="connsiteY15" fmla="*/ 37624 h 119253"/>
                <a:gd name="connsiteX16" fmla="*/ 50863 w 61150"/>
                <a:gd name="connsiteY16" fmla="*/ 38386 h 119253"/>
                <a:gd name="connsiteX17" fmla="*/ 56864 w 61150"/>
                <a:gd name="connsiteY17" fmla="*/ 56198 h 119253"/>
                <a:gd name="connsiteX18" fmla="*/ 61150 w 61150"/>
                <a:gd name="connsiteY18" fmla="*/ 79248 h 119253"/>
                <a:gd name="connsiteX19" fmla="*/ 44386 w 61150"/>
                <a:gd name="connsiteY19" fmla="*/ 81248 h 119253"/>
                <a:gd name="connsiteX20" fmla="*/ 16192 w 61150"/>
                <a:gd name="connsiteY20" fmla="*/ 119253 h 119253"/>
                <a:gd name="connsiteX21" fmla="*/ 6953 w 61150"/>
                <a:gd name="connsiteY21" fmla="*/ 118205 h 119253"/>
                <a:gd name="connsiteX22" fmla="*/ 0 w 61150"/>
                <a:gd name="connsiteY22" fmla="*/ 106775 h 119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1150" h="119253">
                  <a:moveTo>
                    <a:pt x="95" y="106871"/>
                  </a:moveTo>
                  <a:lnTo>
                    <a:pt x="18955" y="84963"/>
                  </a:lnTo>
                  <a:lnTo>
                    <a:pt x="27337" y="64865"/>
                  </a:lnTo>
                  <a:lnTo>
                    <a:pt x="30575" y="36005"/>
                  </a:lnTo>
                  <a:lnTo>
                    <a:pt x="29242" y="2572"/>
                  </a:lnTo>
                  <a:lnTo>
                    <a:pt x="28956" y="0"/>
                  </a:lnTo>
                  <a:lnTo>
                    <a:pt x="29051" y="0"/>
                  </a:lnTo>
                  <a:cubicBezTo>
                    <a:pt x="29051" y="0"/>
                    <a:pt x="31242" y="2477"/>
                    <a:pt x="31242" y="2477"/>
                  </a:cubicBezTo>
                  <a:lnTo>
                    <a:pt x="36957" y="10192"/>
                  </a:lnTo>
                  <a:lnTo>
                    <a:pt x="38386" y="14097"/>
                  </a:lnTo>
                  <a:lnTo>
                    <a:pt x="39624" y="20098"/>
                  </a:lnTo>
                  <a:lnTo>
                    <a:pt x="38767" y="28670"/>
                  </a:lnTo>
                  <a:lnTo>
                    <a:pt x="37243" y="35528"/>
                  </a:lnTo>
                  <a:lnTo>
                    <a:pt x="37528" y="38576"/>
                  </a:lnTo>
                  <a:lnTo>
                    <a:pt x="37909" y="40862"/>
                  </a:lnTo>
                  <a:lnTo>
                    <a:pt x="46577" y="37624"/>
                  </a:lnTo>
                  <a:lnTo>
                    <a:pt x="50863" y="38386"/>
                  </a:lnTo>
                  <a:lnTo>
                    <a:pt x="56864" y="56198"/>
                  </a:lnTo>
                  <a:lnTo>
                    <a:pt x="61150" y="79248"/>
                  </a:lnTo>
                  <a:lnTo>
                    <a:pt x="44386" y="81248"/>
                  </a:lnTo>
                  <a:lnTo>
                    <a:pt x="16192" y="119253"/>
                  </a:lnTo>
                  <a:lnTo>
                    <a:pt x="6953" y="118205"/>
                  </a:lnTo>
                  <a:lnTo>
                    <a:pt x="0" y="106775"/>
                  </a:lnTo>
                </a:path>
              </a:pathLst>
            </a:custGeom>
            <a:grpFill/>
            <a:ln w="2381" cap="sq">
              <a:noFill/>
              <a:prstDash val="solid"/>
              <a:bevel/>
            </a:ln>
          </p:spPr>
          <p:txBody>
            <a:bodyPr rtlCol="0" anchor="ctr"/>
            <a:lstStyle/>
            <a:p>
              <a:endParaRPr lang="cs-CZ"/>
            </a:p>
          </p:txBody>
        </p:sp>
        <p:sp>
          <p:nvSpPr>
            <p:cNvPr id="216" name="Freeform: Shape 215">
              <a:extLst>
                <a:ext uri="{FF2B5EF4-FFF2-40B4-BE49-F238E27FC236}">
                  <a16:creationId xmlns:a16="http://schemas.microsoft.com/office/drawing/2014/main" id="{81B61E12-DE7B-343C-4C3E-D3ED7DEAC3D3}"/>
                </a:ext>
              </a:extLst>
            </p:cNvPr>
            <p:cNvSpPr/>
            <p:nvPr/>
          </p:nvSpPr>
          <p:spPr>
            <a:xfrm>
              <a:off x="12909897" y="7426957"/>
              <a:ext cx="269747" cy="396716"/>
            </a:xfrm>
            <a:custGeom>
              <a:avLst/>
              <a:gdLst>
                <a:gd name="connsiteX0" fmla="*/ 3905 w 269747"/>
                <a:gd name="connsiteY0" fmla="*/ 306610 h 396716"/>
                <a:gd name="connsiteX1" fmla="*/ 0 w 269747"/>
                <a:gd name="connsiteY1" fmla="*/ 269081 h 396716"/>
                <a:gd name="connsiteX2" fmla="*/ 20479 w 269747"/>
                <a:gd name="connsiteY2" fmla="*/ 263461 h 396716"/>
                <a:gd name="connsiteX3" fmla="*/ 35623 w 269747"/>
                <a:gd name="connsiteY3" fmla="*/ 257461 h 396716"/>
                <a:gd name="connsiteX4" fmla="*/ 41624 w 269747"/>
                <a:gd name="connsiteY4" fmla="*/ 249460 h 396716"/>
                <a:gd name="connsiteX5" fmla="*/ 45434 w 269747"/>
                <a:gd name="connsiteY5" fmla="*/ 234410 h 396716"/>
                <a:gd name="connsiteX6" fmla="*/ 63817 w 269747"/>
                <a:gd name="connsiteY6" fmla="*/ 231362 h 396716"/>
                <a:gd name="connsiteX7" fmla="*/ 71438 w 269747"/>
                <a:gd name="connsiteY7" fmla="*/ 222313 h 396716"/>
                <a:gd name="connsiteX8" fmla="*/ 66580 w 269747"/>
                <a:gd name="connsiteY8" fmla="*/ 215265 h 396716"/>
                <a:gd name="connsiteX9" fmla="*/ 60103 w 269747"/>
                <a:gd name="connsiteY9" fmla="*/ 204216 h 396716"/>
                <a:gd name="connsiteX10" fmla="*/ 52483 w 269747"/>
                <a:gd name="connsiteY10" fmla="*/ 181070 h 396716"/>
                <a:gd name="connsiteX11" fmla="*/ 61722 w 269747"/>
                <a:gd name="connsiteY11" fmla="*/ 166973 h 396716"/>
                <a:gd name="connsiteX12" fmla="*/ 37338 w 269747"/>
                <a:gd name="connsiteY12" fmla="*/ 164973 h 396716"/>
                <a:gd name="connsiteX13" fmla="*/ 40005 w 269747"/>
                <a:gd name="connsiteY13" fmla="*/ 156877 h 396716"/>
                <a:gd name="connsiteX14" fmla="*/ 32385 w 269747"/>
                <a:gd name="connsiteY14" fmla="*/ 147828 h 396716"/>
                <a:gd name="connsiteX15" fmla="*/ 25337 w 269747"/>
                <a:gd name="connsiteY15" fmla="*/ 149828 h 396716"/>
                <a:gd name="connsiteX16" fmla="*/ 15050 w 269747"/>
                <a:gd name="connsiteY16" fmla="*/ 147828 h 396716"/>
                <a:gd name="connsiteX17" fmla="*/ 15621 w 269747"/>
                <a:gd name="connsiteY17" fmla="*/ 132683 h 396716"/>
                <a:gd name="connsiteX18" fmla="*/ 11335 w 269747"/>
                <a:gd name="connsiteY18" fmla="*/ 131635 h 396716"/>
                <a:gd name="connsiteX19" fmla="*/ 12383 w 269747"/>
                <a:gd name="connsiteY19" fmla="*/ 109442 h 396716"/>
                <a:gd name="connsiteX20" fmla="*/ 9144 w 269747"/>
                <a:gd name="connsiteY20" fmla="*/ 73057 h 396716"/>
                <a:gd name="connsiteX21" fmla="*/ 47054 w 269747"/>
                <a:gd name="connsiteY21" fmla="*/ 66961 h 396716"/>
                <a:gd name="connsiteX22" fmla="*/ 56769 w 269747"/>
                <a:gd name="connsiteY22" fmla="*/ 76105 h 396716"/>
                <a:gd name="connsiteX23" fmla="*/ 66008 w 269747"/>
                <a:gd name="connsiteY23" fmla="*/ 71056 h 396716"/>
                <a:gd name="connsiteX24" fmla="*/ 63817 w 269747"/>
                <a:gd name="connsiteY24" fmla="*/ 59912 h 396716"/>
                <a:gd name="connsiteX25" fmla="*/ 65437 w 269747"/>
                <a:gd name="connsiteY25" fmla="*/ 38671 h 396716"/>
                <a:gd name="connsiteX26" fmla="*/ 83344 w 269747"/>
                <a:gd name="connsiteY26" fmla="*/ 40672 h 396716"/>
                <a:gd name="connsiteX27" fmla="*/ 79534 w 269747"/>
                <a:gd name="connsiteY27" fmla="*/ 13240 h 396716"/>
                <a:gd name="connsiteX28" fmla="*/ 99060 w 269747"/>
                <a:gd name="connsiteY28" fmla="*/ 0 h 396716"/>
                <a:gd name="connsiteX29" fmla="*/ 115824 w 269747"/>
                <a:gd name="connsiteY29" fmla="*/ 7144 h 396716"/>
                <a:gd name="connsiteX30" fmla="*/ 121825 w 269747"/>
                <a:gd name="connsiteY30" fmla="*/ 15240 h 396716"/>
                <a:gd name="connsiteX31" fmla="*/ 137541 w 269747"/>
                <a:gd name="connsiteY31" fmla="*/ 28384 h 396716"/>
                <a:gd name="connsiteX32" fmla="*/ 157543 w 269747"/>
                <a:gd name="connsiteY32" fmla="*/ 27337 h 396716"/>
                <a:gd name="connsiteX33" fmla="*/ 168878 w 269747"/>
                <a:gd name="connsiteY33" fmla="*/ 37433 h 396716"/>
                <a:gd name="connsiteX34" fmla="*/ 167259 w 269747"/>
                <a:gd name="connsiteY34" fmla="*/ 51626 h 396716"/>
                <a:gd name="connsiteX35" fmla="*/ 169926 w 269747"/>
                <a:gd name="connsiteY35" fmla="*/ 75914 h 396716"/>
                <a:gd name="connsiteX36" fmla="*/ 193738 w 269747"/>
                <a:gd name="connsiteY36" fmla="*/ 86011 h 396716"/>
                <a:gd name="connsiteX37" fmla="*/ 189452 w 269747"/>
                <a:gd name="connsiteY37" fmla="*/ 106204 h 396716"/>
                <a:gd name="connsiteX38" fmla="*/ 188881 w 269747"/>
                <a:gd name="connsiteY38" fmla="*/ 136493 h 396716"/>
                <a:gd name="connsiteX39" fmla="*/ 194691 w 269747"/>
                <a:gd name="connsiteY39" fmla="*/ 147923 h 396716"/>
                <a:gd name="connsiteX40" fmla="*/ 202978 w 269747"/>
                <a:gd name="connsiteY40" fmla="*/ 156210 h 396716"/>
                <a:gd name="connsiteX41" fmla="*/ 209550 w 269747"/>
                <a:gd name="connsiteY41" fmla="*/ 155734 h 396716"/>
                <a:gd name="connsiteX42" fmla="*/ 229552 w 269747"/>
                <a:gd name="connsiteY42" fmla="*/ 150305 h 396716"/>
                <a:gd name="connsiteX43" fmla="*/ 237363 w 269747"/>
                <a:gd name="connsiteY43" fmla="*/ 151543 h 396716"/>
                <a:gd name="connsiteX44" fmla="*/ 244316 w 269747"/>
                <a:gd name="connsiteY44" fmla="*/ 156591 h 396716"/>
                <a:gd name="connsiteX45" fmla="*/ 253651 w 269747"/>
                <a:gd name="connsiteY45" fmla="*/ 171069 h 396716"/>
                <a:gd name="connsiteX46" fmla="*/ 255556 w 269747"/>
                <a:gd name="connsiteY46" fmla="*/ 178975 h 396716"/>
                <a:gd name="connsiteX47" fmla="*/ 255556 w 269747"/>
                <a:gd name="connsiteY47" fmla="*/ 183452 h 396716"/>
                <a:gd name="connsiteX48" fmla="*/ 253841 w 269747"/>
                <a:gd name="connsiteY48" fmla="*/ 185357 h 396716"/>
                <a:gd name="connsiteX49" fmla="*/ 254127 w 269747"/>
                <a:gd name="connsiteY49" fmla="*/ 186595 h 396716"/>
                <a:gd name="connsiteX50" fmla="*/ 256508 w 269747"/>
                <a:gd name="connsiteY50" fmla="*/ 188309 h 396716"/>
                <a:gd name="connsiteX51" fmla="*/ 261556 w 269747"/>
                <a:gd name="connsiteY51" fmla="*/ 187642 h 396716"/>
                <a:gd name="connsiteX52" fmla="*/ 267081 w 269747"/>
                <a:gd name="connsiteY52" fmla="*/ 188976 h 396716"/>
                <a:gd name="connsiteX53" fmla="*/ 269462 w 269747"/>
                <a:gd name="connsiteY53" fmla="*/ 191548 h 396716"/>
                <a:gd name="connsiteX54" fmla="*/ 269748 w 269747"/>
                <a:gd name="connsiteY54" fmla="*/ 194119 h 396716"/>
                <a:gd name="connsiteX55" fmla="*/ 266509 w 269747"/>
                <a:gd name="connsiteY55" fmla="*/ 196691 h 396716"/>
                <a:gd name="connsiteX56" fmla="*/ 259651 w 269747"/>
                <a:gd name="connsiteY56" fmla="*/ 198120 h 396716"/>
                <a:gd name="connsiteX57" fmla="*/ 256318 w 269747"/>
                <a:gd name="connsiteY57" fmla="*/ 202787 h 396716"/>
                <a:gd name="connsiteX58" fmla="*/ 253365 w 269747"/>
                <a:gd name="connsiteY58" fmla="*/ 209360 h 396716"/>
                <a:gd name="connsiteX59" fmla="*/ 240506 w 269747"/>
                <a:gd name="connsiteY59" fmla="*/ 214217 h 396716"/>
                <a:gd name="connsiteX60" fmla="*/ 236792 w 269747"/>
                <a:gd name="connsiteY60" fmla="*/ 220409 h 396716"/>
                <a:gd name="connsiteX61" fmla="*/ 231267 w 269747"/>
                <a:gd name="connsiteY61" fmla="*/ 224885 h 396716"/>
                <a:gd name="connsiteX62" fmla="*/ 227933 w 269747"/>
                <a:gd name="connsiteY62" fmla="*/ 230981 h 396716"/>
                <a:gd name="connsiteX63" fmla="*/ 191548 w 269747"/>
                <a:gd name="connsiteY63" fmla="*/ 254127 h 396716"/>
                <a:gd name="connsiteX64" fmla="*/ 187262 w 269747"/>
                <a:gd name="connsiteY64" fmla="*/ 259842 h 396716"/>
                <a:gd name="connsiteX65" fmla="*/ 175927 w 269747"/>
                <a:gd name="connsiteY65" fmla="*/ 260413 h 396716"/>
                <a:gd name="connsiteX66" fmla="*/ 162687 w 269747"/>
                <a:gd name="connsiteY66" fmla="*/ 255460 h 396716"/>
                <a:gd name="connsiteX67" fmla="*/ 157543 w 269747"/>
                <a:gd name="connsiteY67" fmla="*/ 256889 h 396716"/>
                <a:gd name="connsiteX68" fmla="*/ 157734 w 269747"/>
                <a:gd name="connsiteY68" fmla="*/ 260985 h 396716"/>
                <a:gd name="connsiteX69" fmla="*/ 170021 w 269747"/>
                <a:gd name="connsiteY69" fmla="*/ 272510 h 396716"/>
                <a:gd name="connsiteX70" fmla="*/ 138493 w 269747"/>
                <a:gd name="connsiteY70" fmla="*/ 271748 h 396716"/>
                <a:gd name="connsiteX71" fmla="*/ 137446 w 269747"/>
                <a:gd name="connsiteY71" fmla="*/ 261652 h 396716"/>
                <a:gd name="connsiteX72" fmla="*/ 114205 w 269747"/>
                <a:gd name="connsiteY72" fmla="*/ 276701 h 396716"/>
                <a:gd name="connsiteX73" fmla="*/ 119634 w 269747"/>
                <a:gd name="connsiteY73" fmla="*/ 305848 h 396716"/>
                <a:gd name="connsiteX74" fmla="*/ 112585 w 269747"/>
                <a:gd name="connsiteY74" fmla="*/ 320897 h 396716"/>
                <a:gd name="connsiteX75" fmla="*/ 94202 w 269747"/>
                <a:gd name="connsiteY75" fmla="*/ 326898 h 396716"/>
                <a:gd name="connsiteX76" fmla="*/ 98488 w 269747"/>
                <a:gd name="connsiteY76" fmla="*/ 340900 h 396716"/>
                <a:gd name="connsiteX77" fmla="*/ 113062 w 269747"/>
                <a:gd name="connsiteY77" fmla="*/ 350901 h 396716"/>
                <a:gd name="connsiteX78" fmla="*/ 121158 w 269747"/>
                <a:gd name="connsiteY78" fmla="*/ 382905 h 396716"/>
                <a:gd name="connsiteX79" fmla="*/ 123825 w 269747"/>
                <a:gd name="connsiteY79" fmla="*/ 393859 h 396716"/>
                <a:gd name="connsiteX80" fmla="*/ 111538 w 269747"/>
                <a:gd name="connsiteY80" fmla="*/ 396716 h 396716"/>
                <a:gd name="connsiteX81" fmla="*/ 96583 w 269747"/>
                <a:gd name="connsiteY81" fmla="*/ 386525 h 396716"/>
                <a:gd name="connsiteX82" fmla="*/ 88392 w 269747"/>
                <a:gd name="connsiteY82" fmla="*/ 366046 h 396716"/>
                <a:gd name="connsiteX83" fmla="*/ 80391 w 269747"/>
                <a:gd name="connsiteY83" fmla="*/ 356426 h 396716"/>
                <a:gd name="connsiteX84" fmla="*/ 75533 w 269747"/>
                <a:gd name="connsiteY84" fmla="*/ 351854 h 396716"/>
                <a:gd name="connsiteX85" fmla="*/ 71247 w 269747"/>
                <a:gd name="connsiteY85" fmla="*/ 349377 h 396716"/>
                <a:gd name="connsiteX86" fmla="*/ 70199 w 269747"/>
                <a:gd name="connsiteY86" fmla="*/ 347853 h 396716"/>
                <a:gd name="connsiteX87" fmla="*/ 69533 w 269747"/>
                <a:gd name="connsiteY87" fmla="*/ 344329 h 396716"/>
                <a:gd name="connsiteX88" fmla="*/ 66675 w 269747"/>
                <a:gd name="connsiteY88" fmla="*/ 334042 h 396716"/>
                <a:gd name="connsiteX89" fmla="*/ 60293 w 269747"/>
                <a:gd name="connsiteY89" fmla="*/ 329470 h 396716"/>
                <a:gd name="connsiteX90" fmla="*/ 30004 w 269747"/>
                <a:gd name="connsiteY90" fmla="*/ 345758 h 396716"/>
                <a:gd name="connsiteX91" fmla="*/ 25717 w 269747"/>
                <a:gd name="connsiteY91" fmla="*/ 344996 h 396716"/>
                <a:gd name="connsiteX92" fmla="*/ 21431 w 269747"/>
                <a:gd name="connsiteY92" fmla="*/ 344234 h 396716"/>
                <a:gd name="connsiteX93" fmla="*/ 12763 w 269747"/>
                <a:gd name="connsiteY93" fmla="*/ 347472 h 396716"/>
                <a:gd name="connsiteX94" fmla="*/ 12383 w 269747"/>
                <a:gd name="connsiteY94" fmla="*/ 345186 h 396716"/>
                <a:gd name="connsiteX95" fmla="*/ 12097 w 269747"/>
                <a:gd name="connsiteY95" fmla="*/ 342138 h 396716"/>
                <a:gd name="connsiteX96" fmla="*/ 13621 w 269747"/>
                <a:gd name="connsiteY96" fmla="*/ 335280 h 396716"/>
                <a:gd name="connsiteX97" fmla="*/ 14478 w 269747"/>
                <a:gd name="connsiteY97" fmla="*/ 326708 h 396716"/>
                <a:gd name="connsiteX98" fmla="*/ 13240 w 269747"/>
                <a:gd name="connsiteY98" fmla="*/ 320707 h 396716"/>
                <a:gd name="connsiteX99" fmla="*/ 11811 w 269747"/>
                <a:gd name="connsiteY99" fmla="*/ 316802 h 396716"/>
                <a:gd name="connsiteX100" fmla="*/ 6096 w 269747"/>
                <a:gd name="connsiteY100" fmla="*/ 309086 h 396716"/>
                <a:gd name="connsiteX101" fmla="*/ 3905 w 269747"/>
                <a:gd name="connsiteY101" fmla="*/ 306800 h 396716"/>
                <a:gd name="connsiteX102" fmla="*/ 3810 w 269747"/>
                <a:gd name="connsiteY102" fmla="*/ 306800 h 396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269747" h="396716">
                  <a:moveTo>
                    <a:pt x="3905" y="306610"/>
                  </a:moveTo>
                  <a:lnTo>
                    <a:pt x="0" y="269081"/>
                  </a:lnTo>
                  <a:lnTo>
                    <a:pt x="20479" y="263461"/>
                  </a:lnTo>
                  <a:lnTo>
                    <a:pt x="35623" y="257461"/>
                  </a:lnTo>
                  <a:lnTo>
                    <a:pt x="41624" y="249460"/>
                  </a:lnTo>
                  <a:lnTo>
                    <a:pt x="45434" y="234410"/>
                  </a:lnTo>
                  <a:lnTo>
                    <a:pt x="63817" y="231362"/>
                  </a:lnTo>
                  <a:lnTo>
                    <a:pt x="71438" y="222313"/>
                  </a:lnTo>
                  <a:lnTo>
                    <a:pt x="66580" y="215265"/>
                  </a:lnTo>
                  <a:lnTo>
                    <a:pt x="60103" y="204216"/>
                  </a:lnTo>
                  <a:lnTo>
                    <a:pt x="52483" y="181070"/>
                  </a:lnTo>
                  <a:lnTo>
                    <a:pt x="61722" y="166973"/>
                  </a:lnTo>
                  <a:lnTo>
                    <a:pt x="37338" y="164973"/>
                  </a:lnTo>
                  <a:lnTo>
                    <a:pt x="40005" y="156877"/>
                  </a:lnTo>
                  <a:lnTo>
                    <a:pt x="32385" y="147828"/>
                  </a:lnTo>
                  <a:lnTo>
                    <a:pt x="25337" y="149828"/>
                  </a:lnTo>
                  <a:lnTo>
                    <a:pt x="15050" y="147828"/>
                  </a:lnTo>
                  <a:lnTo>
                    <a:pt x="15621" y="132683"/>
                  </a:lnTo>
                  <a:lnTo>
                    <a:pt x="11335" y="131635"/>
                  </a:lnTo>
                  <a:lnTo>
                    <a:pt x="12383" y="109442"/>
                  </a:lnTo>
                  <a:lnTo>
                    <a:pt x="9144" y="73057"/>
                  </a:lnTo>
                  <a:lnTo>
                    <a:pt x="47054" y="66961"/>
                  </a:lnTo>
                  <a:lnTo>
                    <a:pt x="56769" y="76105"/>
                  </a:lnTo>
                  <a:lnTo>
                    <a:pt x="66008" y="71056"/>
                  </a:lnTo>
                  <a:lnTo>
                    <a:pt x="63817" y="59912"/>
                  </a:lnTo>
                  <a:lnTo>
                    <a:pt x="65437" y="38671"/>
                  </a:lnTo>
                  <a:lnTo>
                    <a:pt x="83344" y="40672"/>
                  </a:lnTo>
                  <a:lnTo>
                    <a:pt x="79534" y="13240"/>
                  </a:lnTo>
                  <a:lnTo>
                    <a:pt x="99060" y="0"/>
                  </a:lnTo>
                  <a:lnTo>
                    <a:pt x="115824" y="7144"/>
                  </a:lnTo>
                  <a:lnTo>
                    <a:pt x="121825" y="15240"/>
                  </a:lnTo>
                  <a:lnTo>
                    <a:pt x="137541" y="28384"/>
                  </a:lnTo>
                  <a:lnTo>
                    <a:pt x="157543" y="27337"/>
                  </a:lnTo>
                  <a:lnTo>
                    <a:pt x="168878" y="37433"/>
                  </a:lnTo>
                  <a:lnTo>
                    <a:pt x="167259" y="51626"/>
                  </a:lnTo>
                  <a:lnTo>
                    <a:pt x="169926" y="75914"/>
                  </a:lnTo>
                  <a:lnTo>
                    <a:pt x="193738" y="86011"/>
                  </a:lnTo>
                  <a:lnTo>
                    <a:pt x="189452" y="106204"/>
                  </a:lnTo>
                  <a:lnTo>
                    <a:pt x="188881" y="136493"/>
                  </a:lnTo>
                  <a:lnTo>
                    <a:pt x="194691" y="147923"/>
                  </a:lnTo>
                  <a:lnTo>
                    <a:pt x="202978" y="156210"/>
                  </a:lnTo>
                  <a:lnTo>
                    <a:pt x="209550" y="155734"/>
                  </a:lnTo>
                  <a:lnTo>
                    <a:pt x="229552" y="150305"/>
                  </a:lnTo>
                  <a:lnTo>
                    <a:pt x="237363" y="151543"/>
                  </a:lnTo>
                  <a:lnTo>
                    <a:pt x="244316" y="156591"/>
                  </a:lnTo>
                  <a:lnTo>
                    <a:pt x="253651" y="171069"/>
                  </a:lnTo>
                  <a:lnTo>
                    <a:pt x="255556" y="178975"/>
                  </a:lnTo>
                  <a:lnTo>
                    <a:pt x="255556" y="183452"/>
                  </a:lnTo>
                  <a:lnTo>
                    <a:pt x="253841" y="185357"/>
                  </a:lnTo>
                  <a:lnTo>
                    <a:pt x="254127" y="186595"/>
                  </a:lnTo>
                  <a:lnTo>
                    <a:pt x="256508" y="188309"/>
                  </a:lnTo>
                  <a:lnTo>
                    <a:pt x="261556" y="187642"/>
                  </a:lnTo>
                  <a:lnTo>
                    <a:pt x="267081" y="188976"/>
                  </a:lnTo>
                  <a:lnTo>
                    <a:pt x="269462" y="191548"/>
                  </a:lnTo>
                  <a:lnTo>
                    <a:pt x="269748" y="194119"/>
                  </a:lnTo>
                  <a:lnTo>
                    <a:pt x="266509" y="196691"/>
                  </a:lnTo>
                  <a:lnTo>
                    <a:pt x="259651" y="198120"/>
                  </a:lnTo>
                  <a:lnTo>
                    <a:pt x="256318" y="202787"/>
                  </a:lnTo>
                  <a:lnTo>
                    <a:pt x="253365" y="209360"/>
                  </a:lnTo>
                  <a:lnTo>
                    <a:pt x="240506" y="214217"/>
                  </a:lnTo>
                  <a:lnTo>
                    <a:pt x="236792" y="220409"/>
                  </a:lnTo>
                  <a:lnTo>
                    <a:pt x="231267" y="224885"/>
                  </a:lnTo>
                  <a:lnTo>
                    <a:pt x="227933" y="230981"/>
                  </a:lnTo>
                  <a:lnTo>
                    <a:pt x="191548" y="254127"/>
                  </a:lnTo>
                  <a:lnTo>
                    <a:pt x="187262" y="259842"/>
                  </a:lnTo>
                  <a:lnTo>
                    <a:pt x="175927" y="260413"/>
                  </a:lnTo>
                  <a:lnTo>
                    <a:pt x="162687" y="255460"/>
                  </a:lnTo>
                  <a:lnTo>
                    <a:pt x="157543" y="256889"/>
                  </a:lnTo>
                  <a:lnTo>
                    <a:pt x="157734" y="260985"/>
                  </a:lnTo>
                  <a:lnTo>
                    <a:pt x="170021" y="272510"/>
                  </a:lnTo>
                  <a:lnTo>
                    <a:pt x="138493" y="271748"/>
                  </a:lnTo>
                  <a:lnTo>
                    <a:pt x="137446" y="261652"/>
                  </a:lnTo>
                  <a:lnTo>
                    <a:pt x="114205" y="276701"/>
                  </a:lnTo>
                  <a:lnTo>
                    <a:pt x="119634" y="305848"/>
                  </a:lnTo>
                  <a:lnTo>
                    <a:pt x="112585" y="320897"/>
                  </a:lnTo>
                  <a:lnTo>
                    <a:pt x="94202" y="326898"/>
                  </a:lnTo>
                  <a:lnTo>
                    <a:pt x="98488" y="340900"/>
                  </a:lnTo>
                  <a:lnTo>
                    <a:pt x="113062" y="350901"/>
                  </a:lnTo>
                  <a:lnTo>
                    <a:pt x="121158" y="382905"/>
                  </a:lnTo>
                  <a:lnTo>
                    <a:pt x="123825" y="393859"/>
                  </a:lnTo>
                  <a:lnTo>
                    <a:pt x="111538" y="396716"/>
                  </a:lnTo>
                  <a:lnTo>
                    <a:pt x="96583" y="386525"/>
                  </a:lnTo>
                  <a:lnTo>
                    <a:pt x="88392" y="366046"/>
                  </a:lnTo>
                  <a:lnTo>
                    <a:pt x="80391" y="356426"/>
                  </a:lnTo>
                  <a:lnTo>
                    <a:pt x="75533" y="351854"/>
                  </a:lnTo>
                  <a:lnTo>
                    <a:pt x="71247" y="349377"/>
                  </a:lnTo>
                  <a:lnTo>
                    <a:pt x="70199" y="347853"/>
                  </a:lnTo>
                  <a:lnTo>
                    <a:pt x="69533" y="344329"/>
                  </a:lnTo>
                  <a:lnTo>
                    <a:pt x="66675" y="334042"/>
                  </a:lnTo>
                  <a:lnTo>
                    <a:pt x="60293" y="329470"/>
                  </a:lnTo>
                  <a:lnTo>
                    <a:pt x="30004" y="345758"/>
                  </a:lnTo>
                  <a:lnTo>
                    <a:pt x="25717" y="344996"/>
                  </a:lnTo>
                  <a:lnTo>
                    <a:pt x="21431" y="344234"/>
                  </a:lnTo>
                  <a:lnTo>
                    <a:pt x="12763" y="347472"/>
                  </a:lnTo>
                  <a:lnTo>
                    <a:pt x="12383" y="345186"/>
                  </a:lnTo>
                  <a:lnTo>
                    <a:pt x="12097" y="342138"/>
                  </a:lnTo>
                  <a:lnTo>
                    <a:pt x="13621" y="335280"/>
                  </a:lnTo>
                  <a:lnTo>
                    <a:pt x="14478" y="326708"/>
                  </a:lnTo>
                  <a:lnTo>
                    <a:pt x="13240" y="320707"/>
                  </a:lnTo>
                  <a:lnTo>
                    <a:pt x="11811" y="316802"/>
                  </a:lnTo>
                  <a:lnTo>
                    <a:pt x="6096" y="309086"/>
                  </a:lnTo>
                  <a:lnTo>
                    <a:pt x="3905" y="306800"/>
                  </a:lnTo>
                  <a:lnTo>
                    <a:pt x="3810" y="306800"/>
                  </a:lnTo>
                </a:path>
              </a:pathLst>
            </a:custGeom>
            <a:grpFill/>
            <a:ln w="2381" cap="sq">
              <a:noFill/>
              <a:prstDash val="solid"/>
              <a:bevel/>
            </a:ln>
          </p:spPr>
          <p:txBody>
            <a:bodyPr rtlCol="0" anchor="ctr"/>
            <a:lstStyle/>
            <a:p>
              <a:endParaRPr lang="cs-CZ"/>
            </a:p>
          </p:txBody>
        </p:sp>
        <p:sp>
          <p:nvSpPr>
            <p:cNvPr id="217" name="Freeform: Shape 216">
              <a:extLst>
                <a:ext uri="{FF2B5EF4-FFF2-40B4-BE49-F238E27FC236}">
                  <a16:creationId xmlns:a16="http://schemas.microsoft.com/office/drawing/2014/main" id="{B0B589CE-5533-C067-5CC4-C75384833C73}"/>
                </a:ext>
              </a:extLst>
            </p:cNvPr>
            <p:cNvSpPr/>
            <p:nvPr/>
          </p:nvSpPr>
          <p:spPr>
            <a:xfrm>
              <a:off x="13401673" y="7573070"/>
              <a:ext cx="260222" cy="220027"/>
            </a:xfrm>
            <a:custGeom>
              <a:avLst/>
              <a:gdLst>
                <a:gd name="connsiteX0" fmla="*/ 254603 w 260222"/>
                <a:gd name="connsiteY0" fmla="*/ 51054 h 220027"/>
                <a:gd name="connsiteX1" fmla="*/ 254413 w 260222"/>
                <a:gd name="connsiteY1" fmla="*/ 72485 h 220027"/>
                <a:gd name="connsiteX2" fmla="*/ 260223 w 260222"/>
                <a:gd name="connsiteY2" fmla="*/ 74009 h 220027"/>
                <a:gd name="connsiteX3" fmla="*/ 255079 w 260222"/>
                <a:gd name="connsiteY3" fmla="*/ 80486 h 220027"/>
                <a:gd name="connsiteX4" fmla="*/ 251841 w 260222"/>
                <a:gd name="connsiteY4" fmla="*/ 82868 h 220027"/>
                <a:gd name="connsiteX5" fmla="*/ 248602 w 260222"/>
                <a:gd name="connsiteY5" fmla="*/ 86773 h 220027"/>
                <a:gd name="connsiteX6" fmla="*/ 247555 w 260222"/>
                <a:gd name="connsiteY6" fmla="*/ 92107 h 220027"/>
                <a:gd name="connsiteX7" fmla="*/ 250412 w 260222"/>
                <a:gd name="connsiteY7" fmla="*/ 94774 h 220027"/>
                <a:gd name="connsiteX8" fmla="*/ 253460 w 260222"/>
                <a:gd name="connsiteY8" fmla="*/ 96774 h 220027"/>
                <a:gd name="connsiteX9" fmla="*/ 256032 w 260222"/>
                <a:gd name="connsiteY9" fmla="*/ 98965 h 220027"/>
                <a:gd name="connsiteX10" fmla="*/ 257556 w 260222"/>
                <a:gd name="connsiteY10" fmla="*/ 101918 h 220027"/>
                <a:gd name="connsiteX11" fmla="*/ 258127 w 260222"/>
                <a:gd name="connsiteY11" fmla="*/ 105728 h 220027"/>
                <a:gd name="connsiteX12" fmla="*/ 256032 w 260222"/>
                <a:gd name="connsiteY12" fmla="*/ 109823 h 220027"/>
                <a:gd name="connsiteX13" fmla="*/ 255079 w 260222"/>
                <a:gd name="connsiteY13" fmla="*/ 115919 h 220027"/>
                <a:gd name="connsiteX14" fmla="*/ 253936 w 260222"/>
                <a:gd name="connsiteY14" fmla="*/ 121349 h 220027"/>
                <a:gd name="connsiteX15" fmla="*/ 251174 w 260222"/>
                <a:gd name="connsiteY15" fmla="*/ 125730 h 220027"/>
                <a:gd name="connsiteX16" fmla="*/ 249745 w 260222"/>
                <a:gd name="connsiteY16" fmla="*/ 130588 h 220027"/>
                <a:gd name="connsiteX17" fmla="*/ 250698 w 260222"/>
                <a:gd name="connsiteY17" fmla="*/ 137541 h 220027"/>
                <a:gd name="connsiteX18" fmla="*/ 250984 w 260222"/>
                <a:gd name="connsiteY18" fmla="*/ 141161 h 220027"/>
                <a:gd name="connsiteX19" fmla="*/ 244792 w 260222"/>
                <a:gd name="connsiteY19" fmla="*/ 147638 h 220027"/>
                <a:gd name="connsiteX20" fmla="*/ 241363 w 260222"/>
                <a:gd name="connsiteY20" fmla="*/ 148400 h 220027"/>
                <a:gd name="connsiteX21" fmla="*/ 240792 w 260222"/>
                <a:gd name="connsiteY21" fmla="*/ 172688 h 220027"/>
                <a:gd name="connsiteX22" fmla="*/ 241173 w 260222"/>
                <a:gd name="connsiteY22" fmla="*/ 178499 h 220027"/>
                <a:gd name="connsiteX23" fmla="*/ 242411 w 260222"/>
                <a:gd name="connsiteY23" fmla="*/ 182213 h 220027"/>
                <a:gd name="connsiteX24" fmla="*/ 240601 w 260222"/>
                <a:gd name="connsiteY24" fmla="*/ 189071 h 220027"/>
                <a:gd name="connsiteX25" fmla="*/ 236410 w 260222"/>
                <a:gd name="connsiteY25" fmla="*/ 194405 h 220027"/>
                <a:gd name="connsiteX26" fmla="*/ 237077 w 260222"/>
                <a:gd name="connsiteY26" fmla="*/ 203073 h 220027"/>
                <a:gd name="connsiteX27" fmla="*/ 235267 w 260222"/>
                <a:gd name="connsiteY27" fmla="*/ 208121 h 220027"/>
                <a:gd name="connsiteX28" fmla="*/ 184023 w 260222"/>
                <a:gd name="connsiteY28" fmla="*/ 212027 h 220027"/>
                <a:gd name="connsiteX29" fmla="*/ 172688 w 260222"/>
                <a:gd name="connsiteY29" fmla="*/ 210788 h 220027"/>
                <a:gd name="connsiteX30" fmla="*/ 162782 w 260222"/>
                <a:gd name="connsiteY30" fmla="*/ 213646 h 220027"/>
                <a:gd name="connsiteX31" fmla="*/ 156115 w 260222"/>
                <a:gd name="connsiteY31" fmla="*/ 220028 h 220027"/>
                <a:gd name="connsiteX32" fmla="*/ 150304 w 260222"/>
                <a:gd name="connsiteY32" fmla="*/ 209455 h 220027"/>
                <a:gd name="connsiteX33" fmla="*/ 144113 w 260222"/>
                <a:gd name="connsiteY33" fmla="*/ 208217 h 220027"/>
                <a:gd name="connsiteX34" fmla="*/ 138303 w 260222"/>
                <a:gd name="connsiteY34" fmla="*/ 203740 h 220027"/>
                <a:gd name="connsiteX35" fmla="*/ 130016 w 260222"/>
                <a:gd name="connsiteY35" fmla="*/ 202121 h 220027"/>
                <a:gd name="connsiteX36" fmla="*/ 98488 w 260222"/>
                <a:gd name="connsiteY36" fmla="*/ 204502 h 220027"/>
                <a:gd name="connsiteX37" fmla="*/ 95917 w 260222"/>
                <a:gd name="connsiteY37" fmla="*/ 203264 h 220027"/>
                <a:gd name="connsiteX38" fmla="*/ 90868 w 260222"/>
                <a:gd name="connsiteY38" fmla="*/ 203264 h 220027"/>
                <a:gd name="connsiteX39" fmla="*/ 86582 w 260222"/>
                <a:gd name="connsiteY39" fmla="*/ 204788 h 220027"/>
                <a:gd name="connsiteX40" fmla="*/ 43624 w 260222"/>
                <a:gd name="connsiteY40" fmla="*/ 210217 h 220027"/>
                <a:gd name="connsiteX41" fmla="*/ 37528 w 260222"/>
                <a:gd name="connsiteY41" fmla="*/ 210979 h 220027"/>
                <a:gd name="connsiteX42" fmla="*/ 34004 w 260222"/>
                <a:gd name="connsiteY42" fmla="*/ 212789 h 220027"/>
                <a:gd name="connsiteX43" fmla="*/ 30766 w 260222"/>
                <a:gd name="connsiteY43" fmla="*/ 205931 h 220027"/>
                <a:gd name="connsiteX44" fmla="*/ 29242 w 260222"/>
                <a:gd name="connsiteY44" fmla="*/ 197358 h 220027"/>
                <a:gd name="connsiteX45" fmla="*/ 31528 w 260222"/>
                <a:gd name="connsiteY45" fmla="*/ 185452 h 220027"/>
                <a:gd name="connsiteX46" fmla="*/ 30670 w 260222"/>
                <a:gd name="connsiteY46" fmla="*/ 180880 h 220027"/>
                <a:gd name="connsiteX47" fmla="*/ 32004 w 260222"/>
                <a:gd name="connsiteY47" fmla="*/ 175832 h 220027"/>
                <a:gd name="connsiteX48" fmla="*/ 37147 w 260222"/>
                <a:gd name="connsiteY48" fmla="*/ 173450 h 220027"/>
                <a:gd name="connsiteX49" fmla="*/ 36481 w 260222"/>
                <a:gd name="connsiteY49" fmla="*/ 167640 h 220027"/>
                <a:gd name="connsiteX50" fmla="*/ 25051 w 260222"/>
                <a:gd name="connsiteY50" fmla="*/ 150590 h 220027"/>
                <a:gd name="connsiteX51" fmla="*/ 18288 w 260222"/>
                <a:gd name="connsiteY51" fmla="*/ 134398 h 220027"/>
                <a:gd name="connsiteX52" fmla="*/ 21812 w 260222"/>
                <a:gd name="connsiteY52" fmla="*/ 121920 h 220027"/>
                <a:gd name="connsiteX53" fmla="*/ 3524 w 260222"/>
                <a:gd name="connsiteY53" fmla="*/ 84677 h 220027"/>
                <a:gd name="connsiteX54" fmla="*/ 0 w 260222"/>
                <a:gd name="connsiteY54" fmla="*/ 75914 h 220027"/>
                <a:gd name="connsiteX55" fmla="*/ 6953 w 260222"/>
                <a:gd name="connsiteY55" fmla="*/ 70009 h 220027"/>
                <a:gd name="connsiteX56" fmla="*/ 8668 w 260222"/>
                <a:gd name="connsiteY56" fmla="*/ 65056 h 220027"/>
                <a:gd name="connsiteX57" fmla="*/ 23622 w 260222"/>
                <a:gd name="connsiteY57" fmla="*/ 52769 h 220027"/>
                <a:gd name="connsiteX58" fmla="*/ 46196 w 260222"/>
                <a:gd name="connsiteY58" fmla="*/ 50483 h 220027"/>
                <a:gd name="connsiteX59" fmla="*/ 69151 w 260222"/>
                <a:gd name="connsiteY59" fmla="*/ 54959 h 220027"/>
                <a:gd name="connsiteX60" fmla="*/ 92964 w 260222"/>
                <a:gd name="connsiteY60" fmla="*/ 60293 h 220027"/>
                <a:gd name="connsiteX61" fmla="*/ 108204 w 260222"/>
                <a:gd name="connsiteY61" fmla="*/ 67342 h 220027"/>
                <a:gd name="connsiteX62" fmla="*/ 117729 w 260222"/>
                <a:gd name="connsiteY62" fmla="*/ 53150 h 220027"/>
                <a:gd name="connsiteX63" fmla="*/ 117729 w 260222"/>
                <a:gd name="connsiteY63" fmla="*/ 38957 h 220027"/>
                <a:gd name="connsiteX64" fmla="*/ 112014 w 260222"/>
                <a:gd name="connsiteY64" fmla="*/ 28289 h 220027"/>
                <a:gd name="connsiteX65" fmla="*/ 124396 w 260222"/>
                <a:gd name="connsiteY65" fmla="*/ 14097 h 220027"/>
                <a:gd name="connsiteX66" fmla="*/ 152876 w 260222"/>
                <a:gd name="connsiteY66" fmla="*/ 7049 h 220027"/>
                <a:gd name="connsiteX67" fmla="*/ 170021 w 260222"/>
                <a:gd name="connsiteY67" fmla="*/ 7049 h 220027"/>
                <a:gd name="connsiteX68" fmla="*/ 181451 w 260222"/>
                <a:gd name="connsiteY68" fmla="*/ 0 h 220027"/>
                <a:gd name="connsiteX69" fmla="*/ 193834 w 260222"/>
                <a:gd name="connsiteY69" fmla="*/ 15907 h 220027"/>
                <a:gd name="connsiteX70" fmla="*/ 205264 w 260222"/>
                <a:gd name="connsiteY70" fmla="*/ 15907 h 220027"/>
                <a:gd name="connsiteX71" fmla="*/ 227171 w 260222"/>
                <a:gd name="connsiteY71" fmla="*/ 19431 h 220027"/>
                <a:gd name="connsiteX72" fmla="*/ 229076 w 260222"/>
                <a:gd name="connsiteY72" fmla="*/ 33623 h 220027"/>
                <a:gd name="connsiteX73" fmla="*/ 243364 w 260222"/>
                <a:gd name="connsiteY73" fmla="*/ 31814 h 220027"/>
                <a:gd name="connsiteX74" fmla="*/ 250984 w 260222"/>
                <a:gd name="connsiteY74" fmla="*/ 30004 h 220027"/>
                <a:gd name="connsiteX75" fmla="*/ 254889 w 260222"/>
                <a:gd name="connsiteY75" fmla="*/ 50578 h 220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60222" h="220027">
                  <a:moveTo>
                    <a:pt x="254603" y="51054"/>
                  </a:moveTo>
                  <a:lnTo>
                    <a:pt x="254413" y="72485"/>
                  </a:lnTo>
                  <a:lnTo>
                    <a:pt x="260223" y="74009"/>
                  </a:lnTo>
                  <a:lnTo>
                    <a:pt x="255079" y="80486"/>
                  </a:lnTo>
                  <a:lnTo>
                    <a:pt x="251841" y="82868"/>
                  </a:lnTo>
                  <a:lnTo>
                    <a:pt x="248602" y="86773"/>
                  </a:lnTo>
                  <a:lnTo>
                    <a:pt x="247555" y="92107"/>
                  </a:lnTo>
                  <a:lnTo>
                    <a:pt x="250412" y="94774"/>
                  </a:lnTo>
                  <a:lnTo>
                    <a:pt x="253460" y="96774"/>
                  </a:lnTo>
                  <a:lnTo>
                    <a:pt x="256032" y="98965"/>
                  </a:lnTo>
                  <a:lnTo>
                    <a:pt x="257556" y="101918"/>
                  </a:lnTo>
                  <a:lnTo>
                    <a:pt x="258127" y="105728"/>
                  </a:lnTo>
                  <a:lnTo>
                    <a:pt x="256032" y="109823"/>
                  </a:lnTo>
                  <a:lnTo>
                    <a:pt x="255079" y="115919"/>
                  </a:lnTo>
                  <a:lnTo>
                    <a:pt x="253936" y="121349"/>
                  </a:lnTo>
                  <a:lnTo>
                    <a:pt x="251174" y="125730"/>
                  </a:lnTo>
                  <a:lnTo>
                    <a:pt x="249745" y="130588"/>
                  </a:lnTo>
                  <a:lnTo>
                    <a:pt x="250698" y="137541"/>
                  </a:lnTo>
                  <a:lnTo>
                    <a:pt x="250984" y="141161"/>
                  </a:lnTo>
                  <a:lnTo>
                    <a:pt x="244792" y="147638"/>
                  </a:lnTo>
                  <a:lnTo>
                    <a:pt x="241363" y="148400"/>
                  </a:lnTo>
                  <a:lnTo>
                    <a:pt x="240792" y="172688"/>
                  </a:lnTo>
                  <a:lnTo>
                    <a:pt x="241173" y="178499"/>
                  </a:lnTo>
                  <a:lnTo>
                    <a:pt x="242411" y="182213"/>
                  </a:lnTo>
                  <a:lnTo>
                    <a:pt x="240601" y="189071"/>
                  </a:lnTo>
                  <a:lnTo>
                    <a:pt x="236410" y="194405"/>
                  </a:lnTo>
                  <a:lnTo>
                    <a:pt x="237077" y="203073"/>
                  </a:lnTo>
                  <a:lnTo>
                    <a:pt x="235267" y="208121"/>
                  </a:lnTo>
                  <a:lnTo>
                    <a:pt x="184023" y="212027"/>
                  </a:lnTo>
                  <a:lnTo>
                    <a:pt x="172688" y="210788"/>
                  </a:lnTo>
                  <a:lnTo>
                    <a:pt x="162782" y="213646"/>
                  </a:lnTo>
                  <a:lnTo>
                    <a:pt x="156115" y="220028"/>
                  </a:lnTo>
                  <a:lnTo>
                    <a:pt x="150304" y="209455"/>
                  </a:lnTo>
                  <a:lnTo>
                    <a:pt x="144113" y="208217"/>
                  </a:lnTo>
                  <a:lnTo>
                    <a:pt x="138303" y="203740"/>
                  </a:lnTo>
                  <a:lnTo>
                    <a:pt x="130016" y="202121"/>
                  </a:lnTo>
                  <a:lnTo>
                    <a:pt x="98488" y="204502"/>
                  </a:lnTo>
                  <a:lnTo>
                    <a:pt x="95917" y="203264"/>
                  </a:lnTo>
                  <a:lnTo>
                    <a:pt x="90868" y="203264"/>
                  </a:lnTo>
                  <a:cubicBezTo>
                    <a:pt x="90868" y="203264"/>
                    <a:pt x="86582" y="204788"/>
                    <a:pt x="86582" y="204788"/>
                  </a:cubicBezTo>
                  <a:lnTo>
                    <a:pt x="43624" y="210217"/>
                  </a:lnTo>
                  <a:lnTo>
                    <a:pt x="37528" y="210979"/>
                  </a:lnTo>
                  <a:lnTo>
                    <a:pt x="34004" y="212789"/>
                  </a:lnTo>
                  <a:lnTo>
                    <a:pt x="30766" y="205931"/>
                  </a:lnTo>
                  <a:lnTo>
                    <a:pt x="29242" y="197358"/>
                  </a:lnTo>
                  <a:lnTo>
                    <a:pt x="31528" y="185452"/>
                  </a:lnTo>
                  <a:lnTo>
                    <a:pt x="30670" y="180880"/>
                  </a:lnTo>
                  <a:lnTo>
                    <a:pt x="32004" y="175832"/>
                  </a:lnTo>
                  <a:lnTo>
                    <a:pt x="37147" y="173450"/>
                  </a:lnTo>
                  <a:lnTo>
                    <a:pt x="36481" y="167640"/>
                  </a:lnTo>
                  <a:lnTo>
                    <a:pt x="25051" y="150590"/>
                  </a:lnTo>
                  <a:lnTo>
                    <a:pt x="18288" y="134398"/>
                  </a:lnTo>
                  <a:lnTo>
                    <a:pt x="21812" y="121920"/>
                  </a:lnTo>
                  <a:lnTo>
                    <a:pt x="3524" y="84677"/>
                  </a:lnTo>
                  <a:lnTo>
                    <a:pt x="0" y="75914"/>
                  </a:lnTo>
                  <a:lnTo>
                    <a:pt x="6953" y="70009"/>
                  </a:lnTo>
                  <a:lnTo>
                    <a:pt x="8668" y="65056"/>
                  </a:lnTo>
                  <a:lnTo>
                    <a:pt x="23622" y="52769"/>
                  </a:lnTo>
                  <a:lnTo>
                    <a:pt x="46196" y="50483"/>
                  </a:lnTo>
                  <a:lnTo>
                    <a:pt x="69151" y="54959"/>
                  </a:lnTo>
                  <a:lnTo>
                    <a:pt x="92964" y="60293"/>
                  </a:lnTo>
                  <a:lnTo>
                    <a:pt x="108204" y="67342"/>
                  </a:lnTo>
                  <a:lnTo>
                    <a:pt x="117729" y="53150"/>
                  </a:lnTo>
                  <a:lnTo>
                    <a:pt x="117729" y="38957"/>
                  </a:lnTo>
                  <a:lnTo>
                    <a:pt x="112014" y="28289"/>
                  </a:lnTo>
                  <a:lnTo>
                    <a:pt x="124396" y="14097"/>
                  </a:lnTo>
                  <a:lnTo>
                    <a:pt x="152876" y="7049"/>
                  </a:lnTo>
                  <a:lnTo>
                    <a:pt x="170021" y="7049"/>
                  </a:lnTo>
                  <a:lnTo>
                    <a:pt x="181451" y="0"/>
                  </a:lnTo>
                  <a:lnTo>
                    <a:pt x="193834" y="15907"/>
                  </a:lnTo>
                  <a:lnTo>
                    <a:pt x="205264" y="15907"/>
                  </a:lnTo>
                  <a:lnTo>
                    <a:pt x="227171" y="19431"/>
                  </a:lnTo>
                  <a:lnTo>
                    <a:pt x="229076" y="33623"/>
                  </a:lnTo>
                  <a:lnTo>
                    <a:pt x="243364" y="31814"/>
                  </a:lnTo>
                  <a:lnTo>
                    <a:pt x="250984" y="30004"/>
                  </a:lnTo>
                  <a:lnTo>
                    <a:pt x="254889" y="50578"/>
                  </a:lnTo>
                </a:path>
              </a:pathLst>
            </a:custGeom>
            <a:grpFill/>
            <a:ln w="2381" cap="sq">
              <a:noFill/>
              <a:prstDash val="solid"/>
              <a:bevel/>
            </a:ln>
          </p:spPr>
          <p:txBody>
            <a:bodyPr rtlCol="0" anchor="ctr"/>
            <a:lstStyle/>
            <a:p>
              <a:endParaRPr lang="cs-CZ"/>
            </a:p>
          </p:txBody>
        </p:sp>
        <p:sp>
          <p:nvSpPr>
            <p:cNvPr id="218" name="Freeform: Shape 217">
              <a:extLst>
                <a:ext uri="{FF2B5EF4-FFF2-40B4-BE49-F238E27FC236}">
                  <a16:creationId xmlns:a16="http://schemas.microsoft.com/office/drawing/2014/main" id="{04EEAE38-DDE1-66E1-3EA9-F727824AB7B3}"/>
                </a:ext>
              </a:extLst>
            </p:cNvPr>
            <p:cNvSpPr/>
            <p:nvPr/>
          </p:nvSpPr>
          <p:spPr>
            <a:xfrm>
              <a:off x="13896497" y="7778905"/>
              <a:ext cx="286893" cy="359473"/>
            </a:xfrm>
            <a:custGeom>
              <a:avLst/>
              <a:gdLst>
                <a:gd name="connsiteX0" fmla="*/ 166021 w 286893"/>
                <a:gd name="connsiteY0" fmla="*/ 286 h 359473"/>
                <a:gd name="connsiteX1" fmla="*/ 186023 w 286893"/>
                <a:gd name="connsiteY1" fmla="*/ 15907 h 359473"/>
                <a:gd name="connsiteX2" fmla="*/ 207264 w 286893"/>
                <a:gd name="connsiteY2" fmla="*/ 7906 h 359473"/>
                <a:gd name="connsiteX3" fmla="*/ 217551 w 286893"/>
                <a:gd name="connsiteY3" fmla="*/ 8096 h 359473"/>
                <a:gd name="connsiteX4" fmla="*/ 201644 w 286893"/>
                <a:gd name="connsiteY4" fmla="*/ 29623 h 359473"/>
                <a:gd name="connsiteX5" fmla="*/ 193643 w 286893"/>
                <a:gd name="connsiteY5" fmla="*/ 52578 h 359473"/>
                <a:gd name="connsiteX6" fmla="*/ 184785 w 286893"/>
                <a:gd name="connsiteY6" fmla="*/ 90202 h 359473"/>
                <a:gd name="connsiteX7" fmla="*/ 205168 w 286893"/>
                <a:gd name="connsiteY7" fmla="*/ 122872 h 359473"/>
                <a:gd name="connsiteX8" fmla="*/ 228219 w 286893"/>
                <a:gd name="connsiteY8" fmla="*/ 147352 h 359473"/>
                <a:gd name="connsiteX9" fmla="*/ 238887 w 286893"/>
                <a:gd name="connsiteY9" fmla="*/ 148971 h 359473"/>
                <a:gd name="connsiteX10" fmla="*/ 243364 w 286893"/>
                <a:gd name="connsiteY10" fmla="*/ 176689 h 359473"/>
                <a:gd name="connsiteX11" fmla="*/ 257556 w 286893"/>
                <a:gd name="connsiteY11" fmla="*/ 173450 h 359473"/>
                <a:gd name="connsiteX12" fmla="*/ 273558 w 286893"/>
                <a:gd name="connsiteY12" fmla="*/ 176689 h 359473"/>
                <a:gd name="connsiteX13" fmla="*/ 276225 w 286893"/>
                <a:gd name="connsiteY13" fmla="*/ 191357 h 359473"/>
                <a:gd name="connsiteX14" fmla="*/ 286893 w 286893"/>
                <a:gd name="connsiteY14" fmla="*/ 212503 h 359473"/>
                <a:gd name="connsiteX15" fmla="*/ 266509 w 286893"/>
                <a:gd name="connsiteY15" fmla="*/ 215741 h 359473"/>
                <a:gd name="connsiteX16" fmla="*/ 230124 w 286893"/>
                <a:gd name="connsiteY16" fmla="*/ 236887 h 359473"/>
                <a:gd name="connsiteX17" fmla="*/ 237173 w 286893"/>
                <a:gd name="connsiteY17" fmla="*/ 251555 h 359473"/>
                <a:gd name="connsiteX18" fmla="*/ 220313 w 286893"/>
                <a:gd name="connsiteY18" fmla="*/ 266224 h 359473"/>
                <a:gd name="connsiteX19" fmla="*/ 200787 w 286893"/>
                <a:gd name="connsiteY19" fmla="*/ 264605 h 359473"/>
                <a:gd name="connsiteX20" fmla="*/ 190119 w 286893"/>
                <a:gd name="connsiteY20" fmla="*/ 274320 h 359473"/>
                <a:gd name="connsiteX21" fmla="*/ 197167 w 286893"/>
                <a:gd name="connsiteY21" fmla="*/ 287274 h 359473"/>
                <a:gd name="connsiteX22" fmla="*/ 201740 w 286893"/>
                <a:gd name="connsiteY22" fmla="*/ 309563 h 359473"/>
                <a:gd name="connsiteX23" fmla="*/ 194405 w 286893"/>
                <a:gd name="connsiteY23" fmla="*/ 310610 h 359473"/>
                <a:gd name="connsiteX24" fmla="*/ 188309 w 286893"/>
                <a:gd name="connsiteY24" fmla="*/ 314801 h 359473"/>
                <a:gd name="connsiteX25" fmla="*/ 181927 w 286893"/>
                <a:gd name="connsiteY25" fmla="*/ 321469 h 359473"/>
                <a:gd name="connsiteX26" fmla="*/ 180023 w 286893"/>
                <a:gd name="connsiteY26" fmla="*/ 324326 h 359473"/>
                <a:gd name="connsiteX27" fmla="*/ 181546 w 286893"/>
                <a:gd name="connsiteY27" fmla="*/ 327089 h 359473"/>
                <a:gd name="connsiteX28" fmla="*/ 177070 w 286893"/>
                <a:gd name="connsiteY28" fmla="*/ 331851 h 359473"/>
                <a:gd name="connsiteX29" fmla="*/ 174403 w 286893"/>
                <a:gd name="connsiteY29" fmla="*/ 332422 h 359473"/>
                <a:gd name="connsiteX30" fmla="*/ 172307 w 286893"/>
                <a:gd name="connsiteY30" fmla="*/ 331470 h 359473"/>
                <a:gd name="connsiteX31" fmla="*/ 171259 w 286893"/>
                <a:gd name="connsiteY31" fmla="*/ 329756 h 359473"/>
                <a:gd name="connsiteX32" fmla="*/ 168878 w 286893"/>
                <a:gd name="connsiteY32" fmla="*/ 329756 h 359473"/>
                <a:gd name="connsiteX33" fmla="*/ 166021 w 286893"/>
                <a:gd name="connsiteY33" fmla="*/ 331756 h 359473"/>
                <a:gd name="connsiteX34" fmla="*/ 163259 w 286893"/>
                <a:gd name="connsiteY34" fmla="*/ 336423 h 359473"/>
                <a:gd name="connsiteX35" fmla="*/ 163259 w 286893"/>
                <a:gd name="connsiteY35" fmla="*/ 342043 h 359473"/>
                <a:gd name="connsiteX36" fmla="*/ 162020 w 286893"/>
                <a:gd name="connsiteY36" fmla="*/ 346043 h 359473"/>
                <a:gd name="connsiteX37" fmla="*/ 163259 w 286893"/>
                <a:gd name="connsiteY37" fmla="*/ 358331 h 359473"/>
                <a:gd name="connsiteX38" fmla="*/ 160115 w 286893"/>
                <a:gd name="connsiteY38" fmla="*/ 359474 h 359473"/>
                <a:gd name="connsiteX39" fmla="*/ 122492 w 286893"/>
                <a:gd name="connsiteY39" fmla="*/ 354901 h 359473"/>
                <a:gd name="connsiteX40" fmla="*/ 100298 w 286893"/>
                <a:gd name="connsiteY40" fmla="*/ 351663 h 359473"/>
                <a:gd name="connsiteX41" fmla="*/ 90392 w 286893"/>
                <a:gd name="connsiteY41" fmla="*/ 339185 h 359473"/>
                <a:gd name="connsiteX42" fmla="*/ 79629 w 286893"/>
                <a:gd name="connsiteY42" fmla="*/ 341471 h 359473"/>
                <a:gd name="connsiteX43" fmla="*/ 75057 w 286893"/>
                <a:gd name="connsiteY43" fmla="*/ 339757 h 359473"/>
                <a:gd name="connsiteX44" fmla="*/ 65056 w 286893"/>
                <a:gd name="connsiteY44" fmla="*/ 340709 h 359473"/>
                <a:gd name="connsiteX45" fmla="*/ 54102 w 286893"/>
                <a:gd name="connsiteY45" fmla="*/ 343472 h 359473"/>
                <a:gd name="connsiteX46" fmla="*/ 50387 w 286893"/>
                <a:gd name="connsiteY46" fmla="*/ 346996 h 359473"/>
                <a:gd name="connsiteX47" fmla="*/ 40386 w 286893"/>
                <a:gd name="connsiteY47" fmla="*/ 346329 h 359473"/>
                <a:gd name="connsiteX48" fmla="*/ 34671 w 286893"/>
                <a:gd name="connsiteY48" fmla="*/ 342614 h 359473"/>
                <a:gd name="connsiteX49" fmla="*/ 21622 w 286893"/>
                <a:gd name="connsiteY49" fmla="*/ 342995 h 359473"/>
                <a:gd name="connsiteX50" fmla="*/ 14668 w 286893"/>
                <a:gd name="connsiteY50" fmla="*/ 340424 h 359473"/>
                <a:gd name="connsiteX51" fmla="*/ 0 w 286893"/>
                <a:gd name="connsiteY51" fmla="*/ 325088 h 359473"/>
                <a:gd name="connsiteX52" fmla="*/ 6096 w 286893"/>
                <a:gd name="connsiteY52" fmla="*/ 318611 h 359473"/>
                <a:gd name="connsiteX53" fmla="*/ 9715 w 286893"/>
                <a:gd name="connsiteY53" fmla="*/ 314039 h 359473"/>
                <a:gd name="connsiteX54" fmla="*/ 20383 w 286893"/>
                <a:gd name="connsiteY54" fmla="*/ 300514 h 359473"/>
                <a:gd name="connsiteX55" fmla="*/ 21526 w 286893"/>
                <a:gd name="connsiteY55" fmla="*/ 296799 h 359473"/>
                <a:gd name="connsiteX56" fmla="*/ 22098 w 286893"/>
                <a:gd name="connsiteY56" fmla="*/ 291465 h 359473"/>
                <a:gd name="connsiteX57" fmla="*/ 42005 w 286893"/>
                <a:gd name="connsiteY57" fmla="*/ 287369 h 359473"/>
                <a:gd name="connsiteX58" fmla="*/ 60674 w 286893"/>
                <a:gd name="connsiteY58" fmla="*/ 293846 h 359473"/>
                <a:gd name="connsiteX59" fmla="*/ 92583 w 286893"/>
                <a:gd name="connsiteY59" fmla="*/ 303562 h 359473"/>
                <a:gd name="connsiteX60" fmla="*/ 105918 w 286893"/>
                <a:gd name="connsiteY60" fmla="*/ 303562 h 359473"/>
                <a:gd name="connsiteX61" fmla="*/ 115633 w 286893"/>
                <a:gd name="connsiteY61" fmla="*/ 279178 h 359473"/>
                <a:gd name="connsiteX62" fmla="*/ 131635 w 286893"/>
                <a:gd name="connsiteY62" fmla="*/ 264509 h 359473"/>
                <a:gd name="connsiteX63" fmla="*/ 141351 w 286893"/>
                <a:gd name="connsiteY63" fmla="*/ 256413 h 359473"/>
                <a:gd name="connsiteX64" fmla="*/ 157258 w 286893"/>
                <a:gd name="connsiteY64" fmla="*/ 249936 h 359473"/>
                <a:gd name="connsiteX65" fmla="*/ 150209 w 286893"/>
                <a:gd name="connsiteY65" fmla="*/ 218980 h 359473"/>
                <a:gd name="connsiteX66" fmla="*/ 139541 w 286893"/>
                <a:gd name="connsiteY66" fmla="*/ 223838 h 359473"/>
                <a:gd name="connsiteX67" fmla="*/ 129826 w 286893"/>
                <a:gd name="connsiteY67" fmla="*/ 223838 h 359473"/>
                <a:gd name="connsiteX68" fmla="*/ 127159 w 286893"/>
                <a:gd name="connsiteY68" fmla="*/ 209169 h 359473"/>
                <a:gd name="connsiteX69" fmla="*/ 140494 w 286893"/>
                <a:gd name="connsiteY69" fmla="*/ 204311 h 359473"/>
                <a:gd name="connsiteX70" fmla="*/ 150209 w 286893"/>
                <a:gd name="connsiteY70" fmla="*/ 186404 h 359473"/>
                <a:gd name="connsiteX71" fmla="*/ 154686 w 286893"/>
                <a:gd name="connsiteY71" fmla="*/ 160306 h 359473"/>
                <a:gd name="connsiteX72" fmla="*/ 146685 w 286893"/>
                <a:gd name="connsiteY72" fmla="*/ 157067 h 359473"/>
                <a:gd name="connsiteX73" fmla="*/ 133350 w 286893"/>
                <a:gd name="connsiteY73" fmla="*/ 158687 h 359473"/>
                <a:gd name="connsiteX74" fmla="*/ 104965 w 286893"/>
                <a:gd name="connsiteY74" fmla="*/ 148876 h 359473"/>
                <a:gd name="connsiteX75" fmla="*/ 85439 w 286893"/>
                <a:gd name="connsiteY75" fmla="*/ 140684 h 359473"/>
                <a:gd name="connsiteX76" fmla="*/ 73914 w 286893"/>
                <a:gd name="connsiteY76" fmla="*/ 143923 h 359473"/>
                <a:gd name="connsiteX77" fmla="*/ 65913 w 286893"/>
                <a:gd name="connsiteY77" fmla="*/ 139065 h 359473"/>
                <a:gd name="connsiteX78" fmla="*/ 65913 w 286893"/>
                <a:gd name="connsiteY78" fmla="*/ 122682 h 359473"/>
                <a:gd name="connsiteX79" fmla="*/ 47244 w 286893"/>
                <a:gd name="connsiteY79" fmla="*/ 124301 h 359473"/>
                <a:gd name="connsiteX80" fmla="*/ 30956 w 286893"/>
                <a:gd name="connsiteY80" fmla="*/ 122396 h 359473"/>
                <a:gd name="connsiteX81" fmla="*/ 53150 w 286893"/>
                <a:gd name="connsiteY81" fmla="*/ 92869 h 359473"/>
                <a:gd name="connsiteX82" fmla="*/ 63341 w 286893"/>
                <a:gd name="connsiteY82" fmla="*/ 82582 h 359473"/>
                <a:gd name="connsiteX83" fmla="*/ 78486 w 286893"/>
                <a:gd name="connsiteY83" fmla="*/ 61341 h 359473"/>
                <a:gd name="connsiteX84" fmla="*/ 88773 w 286893"/>
                <a:gd name="connsiteY84" fmla="*/ 42101 h 359473"/>
                <a:gd name="connsiteX85" fmla="*/ 99631 w 286893"/>
                <a:gd name="connsiteY85" fmla="*/ 40862 h 359473"/>
                <a:gd name="connsiteX86" fmla="*/ 106108 w 286893"/>
                <a:gd name="connsiteY86" fmla="*/ 36005 h 359473"/>
                <a:gd name="connsiteX87" fmla="*/ 113633 w 286893"/>
                <a:gd name="connsiteY87" fmla="*/ 36290 h 359473"/>
                <a:gd name="connsiteX88" fmla="*/ 116967 w 286893"/>
                <a:gd name="connsiteY88" fmla="*/ 32957 h 359473"/>
                <a:gd name="connsiteX89" fmla="*/ 118967 w 286893"/>
                <a:gd name="connsiteY89" fmla="*/ 30194 h 359473"/>
                <a:gd name="connsiteX90" fmla="*/ 121634 w 286893"/>
                <a:gd name="connsiteY90" fmla="*/ 27623 h 359473"/>
                <a:gd name="connsiteX91" fmla="*/ 124396 w 286893"/>
                <a:gd name="connsiteY91" fmla="*/ 25813 h 359473"/>
                <a:gd name="connsiteX92" fmla="*/ 135160 w 286893"/>
                <a:gd name="connsiteY92" fmla="*/ 27432 h 359473"/>
                <a:gd name="connsiteX93" fmla="*/ 154686 w 286893"/>
                <a:gd name="connsiteY93" fmla="*/ 5239 h 359473"/>
                <a:gd name="connsiteX94" fmla="*/ 165925 w 286893"/>
                <a:gd name="connsiteY94" fmla="*/ 0 h 359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286893" h="359473">
                  <a:moveTo>
                    <a:pt x="166021" y="286"/>
                  </a:moveTo>
                  <a:lnTo>
                    <a:pt x="186023" y="15907"/>
                  </a:lnTo>
                  <a:lnTo>
                    <a:pt x="207264" y="7906"/>
                  </a:lnTo>
                  <a:lnTo>
                    <a:pt x="217551" y="8096"/>
                  </a:lnTo>
                  <a:lnTo>
                    <a:pt x="201644" y="29623"/>
                  </a:lnTo>
                  <a:lnTo>
                    <a:pt x="193643" y="52578"/>
                  </a:lnTo>
                  <a:lnTo>
                    <a:pt x="184785" y="90202"/>
                  </a:lnTo>
                  <a:lnTo>
                    <a:pt x="205168" y="122872"/>
                  </a:lnTo>
                  <a:lnTo>
                    <a:pt x="228219" y="147352"/>
                  </a:lnTo>
                  <a:lnTo>
                    <a:pt x="238887" y="148971"/>
                  </a:lnTo>
                  <a:lnTo>
                    <a:pt x="243364" y="176689"/>
                  </a:lnTo>
                  <a:lnTo>
                    <a:pt x="257556" y="173450"/>
                  </a:lnTo>
                  <a:lnTo>
                    <a:pt x="273558" y="176689"/>
                  </a:lnTo>
                  <a:lnTo>
                    <a:pt x="276225" y="191357"/>
                  </a:lnTo>
                  <a:lnTo>
                    <a:pt x="286893" y="212503"/>
                  </a:lnTo>
                  <a:lnTo>
                    <a:pt x="266509" y="215741"/>
                  </a:lnTo>
                  <a:lnTo>
                    <a:pt x="230124" y="236887"/>
                  </a:lnTo>
                  <a:lnTo>
                    <a:pt x="237173" y="251555"/>
                  </a:lnTo>
                  <a:lnTo>
                    <a:pt x="220313" y="266224"/>
                  </a:lnTo>
                  <a:lnTo>
                    <a:pt x="200787" y="264605"/>
                  </a:lnTo>
                  <a:lnTo>
                    <a:pt x="190119" y="274320"/>
                  </a:lnTo>
                  <a:lnTo>
                    <a:pt x="197167" y="287274"/>
                  </a:lnTo>
                  <a:lnTo>
                    <a:pt x="201740" y="309563"/>
                  </a:lnTo>
                  <a:lnTo>
                    <a:pt x="194405" y="310610"/>
                  </a:lnTo>
                  <a:lnTo>
                    <a:pt x="188309" y="314801"/>
                  </a:lnTo>
                  <a:lnTo>
                    <a:pt x="181927" y="321469"/>
                  </a:lnTo>
                  <a:lnTo>
                    <a:pt x="180023" y="324326"/>
                  </a:lnTo>
                  <a:lnTo>
                    <a:pt x="181546" y="327089"/>
                  </a:lnTo>
                  <a:lnTo>
                    <a:pt x="177070" y="331851"/>
                  </a:lnTo>
                  <a:lnTo>
                    <a:pt x="174403" y="332422"/>
                  </a:lnTo>
                  <a:lnTo>
                    <a:pt x="172307" y="331470"/>
                  </a:lnTo>
                  <a:lnTo>
                    <a:pt x="171259" y="329756"/>
                  </a:lnTo>
                  <a:lnTo>
                    <a:pt x="168878" y="329756"/>
                  </a:lnTo>
                  <a:cubicBezTo>
                    <a:pt x="168878" y="329756"/>
                    <a:pt x="166021" y="331756"/>
                    <a:pt x="166021" y="331756"/>
                  </a:cubicBezTo>
                  <a:lnTo>
                    <a:pt x="163259" y="336423"/>
                  </a:lnTo>
                  <a:lnTo>
                    <a:pt x="163259" y="342043"/>
                  </a:lnTo>
                  <a:cubicBezTo>
                    <a:pt x="163259" y="342043"/>
                    <a:pt x="162020" y="346043"/>
                    <a:pt x="162020" y="346043"/>
                  </a:cubicBezTo>
                  <a:lnTo>
                    <a:pt x="163259" y="358331"/>
                  </a:lnTo>
                  <a:lnTo>
                    <a:pt x="160115" y="359474"/>
                  </a:lnTo>
                  <a:lnTo>
                    <a:pt x="122492" y="354901"/>
                  </a:lnTo>
                  <a:lnTo>
                    <a:pt x="100298" y="351663"/>
                  </a:lnTo>
                  <a:lnTo>
                    <a:pt x="90392" y="339185"/>
                  </a:lnTo>
                  <a:lnTo>
                    <a:pt x="79629" y="341471"/>
                  </a:lnTo>
                  <a:lnTo>
                    <a:pt x="75057" y="339757"/>
                  </a:lnTo>
                  <a:lnTo>
                    <a:pt x="65056" y="340709"/>
                  </a:lnTo>
                  <a:lnTo>
                    <a:pt x="54102" y="343472"/>
                  </a:lnTo>
                  <a:lnTo>
                    <a:pt x="50387" y="346996"/>
                  </a:lnTo>
                  <a:lnTo>
                    <a:pt x="40386" y="346329"/>
                  </a:lnTo>
                  <a:lnTo>
                    <a:pt x="34671" y="342614"/>
                  </a:lnTo>
                  <a:lnTo>
                    <a:pt x="21622" y="342995"/>
                  </a:lnTo>
                  <a:lnTo>
                    <a:pt x="14668" y="340424"/>
                  </a:lnTo>
                  <a:lnTo>
                    <a:pt x="0" y="325088"/>
                  </a:lnTo>
                  <a:lnTo>
                    <a:pt x="6096" y="318611"/>
                  </a:lnTo>
                  <a:lnTo>
                    <a:pt x="9715" y="314039"/>
                  </a:lnTo>
                  <a:lnTo>
                    <a:pt x="20383" y="300514"/>
                  </a:lnTo>
                  <a:lnTo>
                    <a:pt x="21526" y="296799"/>
                  </a:lnTo>
                  <a:lnTo>
                    <a:pt x="22098" y="291465"/>
                  </a:lnTo>
                  <a:lnTo>
                    <a:pt x="42005" y="287369"/>
                  </a:lnTo>
                  <a:lnTo>
                    <a:pt x="60674" y="293846"/>
                  </a:lnTo>
                  <a:lnTo>
                    <a:pt x="92583" y="303562"/>
                  </a:lnTo>
                  <a:lnTo>
                    <a:pt x="105918" y="303562"/>
                  </a:lnTo>
                  <a:lnTo>
                    <a:pt x="115633" y="279178"/>
                  </a:lnTo>
                  <a:lnTo>
                    <a:pt x="131635" y="264509"/>
                  </a:lnTo>
                  <a:lnTo>
                    <a:pt x="141351" y="256413"/>
                  </a:lnTo>
                  <a:lnTo>
                    <a:pt x="157258" y="249936"/>
                  </a:lnTo>
                  <a:lnTo>
                    <a:pt x="150209" y="218980"/>
                  </a:lnTo>
                  <a:lnTo>
                    <a:pt x="139541" y="223838"/>
                  </a:lnTo>
                  <a:lnTo>
                    <a:pt x="129826" y="223838"/>
                  </a:lnTo>
                  <a:lnTo>
                    <a:pt x="127159" y="209169"/>
                  </a:lnTo>
                  <a:lnTo>
                    <a:pt x="140494" y="204311"/>
                  </a:lnTo>
                  <a:lnTo>
                    <a:pt x="150209" y="186404"/>
                  </a:lnTo>
                  <a:lnTo>
                    <a:pt x="154686" y="160306"/>
                  </a:lnTo>
                  <a:lnTo>
                    <a:pt x="146685" y="157067"/>
                  </a:lnTo>
                  <a:lnTo>
                    <a:pt x="133350" y="158687"/>
                  </a:lnTo>
                  <a:lnTo>
                    <a:pt x="104965" y="148876"/>
                  </a:lnTo>
                  <a:lnTo>
                    <a:pt x="85439" y="140684"/>
                  </a:lnTo>
                  <a:lnTo>
                    <a:pt x="73914" y="143923"/>
                  </a:lnTo>
                  <a:lnTo>
                    <a:pt x="65913" y="139065"/>
                  </a:lnTo>
                  <a:lnTo>
                    <a:pt x="65913" y="122682"/>
                  </a:lnTo>
                  <a:lnTo>
                    <a:pt x="47244" y="124301"/>
                  </a:lnTo>
                  <a:lnTo>
                    <a:pt x="30956" y="122396"/>
                  </a:lnTo>
                  <a:lnTo>
                    <a:pt x="53150" y="92869"/>
                  </a:lnTo>
                  <a:lnTo>
                    <a:pt x="63341" y="82582"/>
                  </a:lnTo>
                  <a:lnTo>
                    <a:pt x="78486" y="61341"/>
                  </a:lnTo>
                  <a:lnTo>
                    <a:pt x="88773" y="42101"/>
                  </a:lnTo>
                  <a:lnTo>
                    <a:pt x="99631" y="40862"/>
                  </a:lnTo>
                  <a:lnTo>
                    <a:pt x="106108" y="36005"/>
                  </a:lnTo>
                  <a:lnTo>
                    <a:pt x="113633" y="36290"/>
                  </a:lnTo>
                  <a:lnTo>
                    <a:pt x="116967" y="32957"/>
                  </a:lnTo>
                  <a:lnTo>
                    <a:pt x="118967" y="30194"/>
                  </a:lnTo>
                  <a:lnTo>
                    <a:pt x="121634" y="27623"/>
                  </a:lnTo>
                  <a:lnTo>
                    <a:pt x="124396" y="25813"/>
                  </a:lnTo>
                  <a:lnTo>
                    <a:pt x="135160" y="27432"/>
                  </a:lnTo>
                  <a:lnTo>
                    <a:pt x="154686" y="5239"/>
                  </a:lnTo>
                  <a:lnTo>
                    <a:pt x="165925" y="0"/>
                  </a:lnTo>
                </a:path>
              </a:pathLst>
            </a:custGeom>
            <a:grpFill/>
            <a:ln w="2381" cap="sq">
              <a:noFill/>
              <a:prstDash val="solid"/>
              <a:bevel/>
            </a:ln>
          </p:spPr>
          <p:txBody>
            <a:bodyPr rtlCol="0" anchor="ctr"/>
            <a:lstStyle/>
            <a:p>
              <a:endParaRPr lang="cs-CZ"/>
            </a:p>
          </p:txBody>
        </p:sp>
        <p:sp>
          <p:nvSpPr>
            <p:cNvPr id="219" name="Freeform: Shape 218">
              <a:extLst>
                <a:ext uri="{FF2B5EF4-FFF2-40B4-BE49-F238E27FC236}">
                  <a16:creationId xmlns:a16="http://schemas.microsoft.com/office/drawing/2014/main" id="{0C4D32BC-EA1D-D1AE-FB4D-4FB2C84430BF}"/>
                </a:ext>
              </a:extLst>
            </p:cNvPr>
            <p:cNvSpPr/>
            <p:nvPr/>
          </p:nvSpPr>
          <p:spPr>
            <a:xfrm>
              <a:off x="13344237" y="7440101"/>
              <a:ext cx="186594" cy="200691"/>
            </a:xfrm>
            <a:custGeom>
              <a:avLst/>
              <a:gdLst>
                <a:gd name="connsiteX0" fmla="*/ 85344 w 186594"/>
                <a:gd name="connsiteY0" fmla="*/ 132683 h 200691"/>
                <a:gd name="connsiteX1" fmla="*/ 78010 w 186594"/>
                <a:gd name="connsiteY1" fmla="*/ 128111 h 200691"/>
                <a:gd name="connsiteX2" fmla="*/ 83534 w 186594"/>
                <a:gd name="connsiteY2" fmla="*/ 118967 h 200691"/>
                <a:gd name="connsiteX3" fmla="*/ 76867 w 186594"/>
                <a:gd name="connsiteY3" fmla="*/ 108776 h 200691"/>
                <a:gd name="connsiteX4" fmla="*/ 72009 w 186594"/>
                <a:gd name="connsiteY4" fmla="*/ 99631 h 200691"/>
                <a:gd name="connsiteX5" fmla="*/ 59817 w 186594"/>
                <a:gd name="connsiteY5" fmla="*/ 97346 h 200691"/>
                <a:gd name="connsiteX6" fmla="*/ 47054 w 186594"/>
                <a:gd name="connsiteY6" fmla="*/ 96203 h 200691"/>
                <a:gd name="connsiteX7" fmla="*/ 31718 w 186594"/>
                <a:gd name="connsiteY7" fmla="*/ 100679 h 200691"/>
                <a:gd name="connsiteX8" fmla="*/ 23813 w 186594"/>
                <a:gd name="connsiteY8" fmla="*/ 96774 h 200691"/>
                <a:gd name="connsiteX9" fmla="*/ 9144 w 186594"/>
                <a:gd name="connsiteY9" fmla="*/ 89535 h 200691"/>
                <a:gd name="connsiteX10" fmla="*/ 0 w 186594"/>
                <a:gd name="connsiteY10" fmla="*/ 77343 h 200691"/>
                <a:gd name="connsiteX11" fmla="*/ 7906 w 186594"/>
                <a:gd name="connsiteY11" fmla="*/ 68008 h 200691"/>
                <a:gd name="connsiteX12" fmla="*/ 35433 w 186594"/>
                <a:gd name="connsiteY12" fmla="*/ 60960 h 200691"/>
                <a:gd name="connsiteX13" fmla="*/ 35433 w 186594"/>
                <a:gd name="connsiteY13" fmla="*/ 40386 h 200691"/>
                <a:gd name="connsiteX14" fmla="*/ 39719 w 186594"/>
                <a:gd name="connsiteY14" fmla="*/ 32385 h 200691"/>
                <a:gd name="connsiteX15" fmla="*/ 43339 w 186594"/>
                <a:gd name="connsiteY15" fmla="*/ 24384 h 200691"/>
                <a:gd name="connsiteX16" fmla="*/ 62865 w 186594"/>
                <a:gd name="connsiteY16" fmla="*/ 23241 h 200691"/>
                <a:gd name="connsiteX17" fmla="*/ 69628 w 186594"/>
                <a:gd name="connsiteY17" fmla="*/ 10668 h 200691"/>
                <a:gd name="connsiteX18" fmla="*/ 87725 w 186594"/>
                <a:gd name="connsiteY18" fmla="*/ 16002 h 200691"/>
                <a:gd name="connsiteX19" fmla="*/ 131445 w 186594"/>
                <a:gd name="connsiteY19" fmla="*/ 0 h 200691"/>
                <a:gd name="connsiteX20" fmla="*/ 123825 w 186594"/>
                <a:gd name="connsiteY20" fmla="*/ 33814 h 200691"/>
                <a:gd name="connsiteX21" fmla="*/ 135255 w 186594"/>
                <a:gd name="connsiteY21" fmla="*/ 35623 h 200691"/>
                <a:gd name="connsiteX22" fmla="*/ 136208 w 186594"/>
                <a:gd name="connsiteY22" fmla="*/ 49816 h 200691"/>
                <a:gd name="connsiteX23" fmla="*/ 186595 w 186594"/>
                <a:gd name="connsiteY23" fmla="*/ 58674 h 200691"/>
                <a:gd name="connsiteX24" fmla="*/ 182785 w 186594"/>
                <a:gd name="connsiteY24" fmla="*/ 74676 h 200691"/>
                <a:gd name="connsiteX25" fmla="*/ 175165 w 186594"/>
                <a:gd name="connsiteY25" fmla="*/ 96012 h 200691"/>
                <a:gd name="connsiteX26" fmla="*/ 164687 w 186594"/>
                <a:gd name="connsiteY26" fmla="*/ 104870 h 200691"/>
                <a:gd name="connsiteX27" fmla="*/ 142780 w 186594"/>
                <a:gd name="connsiteY27" fmla="*/ 108395 h 200691"/>
                <a:gd name="connsiteX28" fmla="*/ 152305 w 186594"/>
                <a:gd name="connsiteY28" fmla="*/ 119063 h 200691"/>
                <a:gd name="connsiteX29" fmla="*/ 153257 w 186594"/>
                <a:gd name="connsiteY29" fmla="*/ 133255 h 200691"/>
                <a:gd name="connsiteX30" fmla="*/ 147542 w 186594"/>
                <a:gd name="connsiteY30" fmla="*/ 147447 h 200691"/>
                <a:gd name="connsiteX31" fmla="*/ 150400 w 186594"/>
                <a:gd name="connsiteY31" fmla="*/ 161639 h 200691"/>
                <a:gd name="connsiteX32" fmla="*/ 169450 w 186594"/>
                <a:gd name="connsiteY32" fmla="*/ 161639 h 200691"/>
                <a:gd name="connsiteX33" fmla="*/ 175165 w 186594"/>
                <a:gd name="connsiteY33" fmla="*/ 172307 h 200691"/>
                <a:gd name="connsiteX34" fmla="*/ 175165 w 186594"/>
                <a:gd name="connsiteY34" fmla="*/ 186500 h 200691"/>
                <a:gd name="connsiteX35" fmla="*/ 165640 w 186594"/>
                <a:gd name="connsiteY35" fmla="*/ 200692 h 200691"/>
                <a:gd name="connsiteX36" fmla="*/ 150400 w 186594"/>
                <a:gd name="connsiteY36" fmla="*/ 193643 h 200691"/>
                <a:gd name="connsiteX37" fmla="*/ 126587 w 186594"/>
                <a:gd name="connsiteY37" fmla="*/ 188309 h 200691"/>
                <a:gd name="connsiteX38" fmla="*/ 103632 w 186594"/>
                <a:gd name="connsiteY38" fmla="*/ 183833 h 200691"/>
                <a:gd name="connsiteX39" fmla="*/ 121253 w 186594"/>
                <a:gd name="connsiteY39" fmla="*/ 165640 h 200691"/>
                <a:gd name="connsiteX40" fmla="*/ 116396 w 186594"/>
                <a:gd name="connsiteY40" fmla="*/ 156591 h 200691"/>
                <a:gd name="connsiteX41" fmla="*/ 104585 w 186594"/>
                <a:gd name="connsiteY41" fmla="*/ 162020 h 200691"/>
                <a:gd name="connsiteX42" fmla="*/ 90773 w 186594"/>
                <a:gd name="connsiteY42" fmla="*/ 158877 h 200691"/>
                <a:gd name="connsiteX43" fmla="*/ 87154 w 186594"/>
                <a:gd name="connsiteY43" fmla="*/ 149828 h 200691"/>
                <a:gd name="connsiteX44" fmla="*/ 101822 w 186594"/>
                <a:gd name="connsiteY44" fmla="*/ 148685 h 200691"/>
                <a:gd name="connsiteX45" fmla="*/ 106108 w 186594"/>
                <a:gd name="connsiteY45" fmla="*/ 145256 h 200691"/>
                <a:gd name="connsiteX46" fmla="*/ 94583 w 186594"/>
                <a:gd name="connsiteY46" fmla="*/ 132778 h 200691"/>
                <a:gd name="connsiteX47" fmla="*/ 85439 w 186594"/>
                <a:gd name="connsiteY47" fmla="*/ 132778 h 200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86594" h="200691">
                  <a:moveTo>
                    <a:pt x="85344" y="132683"/>
                  </a:moveTo>
                  <a:lnTo>
                    <a:pt x="78010" y="128111"/>
                  </a:lnTo>
                  <a:lnTo>
                    <a:pt x="83534" y="118967"/>
                  </a:lnTo>
                  <a:lnTo>
                    <a:pt x="76867" y="108776"/>
                  </a:lnTo>
                  <a:lnTo>
                    <a:pt x="72009" y="99631"/>
                  </a:lnTo>
                  <a:lnTo>
                    <a:pt x="59817" y="97346"/>
                  </a:lnTo>
                  <a:lnTo>
                    <a:pt x="47054" y="96203"/>
                  </a:lnTo>
                  <a:lnTo>
                    <a:pt x="31718" y="100679"/>
                  </a:lnTo>
                  <a:lnTo>
                    <a:pt x="23813" y="96774"/>
                  </a:lnTo>
                  <a:lnTo>
                    <a:pt x="9144" y="89535"/>
                  </a:lnTo>
                  <a:lnTo>
                    <a:pt x="0" y="77343"/>
                  </a:lnTo>
                  <a:lnTo>
                    <a:pt x="7906" y="68008"/>
                  </a:lnTo>
                  <a:lnTo>
                    <a:pt x="35433" y="60960"/>
                  </a:lnTo>
                  <a:lnTo>
                    <a:pt x="35433" y="40386"/>
                  </a:lnTo>
                  <a:lnTo>
                    <a:pt x="39719" y="32385"/>
                  </a:lnTo>
                  <a:lnTo>
                    <a:pt x="43339" y="24384"/>
                  </a:lnTo>
                  <a:lnTo>
                    <a:pt x="62865" y="23241"/>
                  </a:lnTo>
                  <a:lnTo>
                    <a:pt x="69628" y="10668"/>
                  </a:lnTo>
                  <a:lnTo>
                    <a:pt x="87725" y="16002"/>
                  </a:lnTo>
                  <a:lnTo>
                    <a:pt x="131445" y="0"/>
                  </a:lnTo>
                  <a:lnTo>
                    <a:pt x="123825" y="33814"/>
                  </a:lnTo>
                  <a:lnTo>
                    <a:pt x="135255" y="35623"/>
                  </a:lnTo>
                  <a:lnTo>
                    <a:pt x="136208" y="49816"/>
                  </a:lnTo>
                  <a:lnTo>
                    <a:pt x="186595" y="58674"/>
                  </a:lnTo>
                  <a:lnTo>
                    <a:pt x="182785" y="74676"/>
                  </a:lnTo>
                  <a:lnTo>
                    <a:pt x="175165" y="96012"/>
                  </a:lnTo>
                  <a:lnTo>
                    <a:pt x="164687" y="104870"/>
                  </a:lnTo>
                  <a:lnTo>
                    <a:pt x="142780" y="108395"/>
                  </a:lnTo>
                  <a:lnTo>
                    <a:pt x="152305" y="119063"/>
                  </a:lnTo>
                  <a:lnTo>
                    <a:pt x="153257" y="133255"/>
                  </a:lnTo>
                  <a:lnTo>
                    <a:pt x="147542" y="147447"/>
                  </a:lnTo>
                  <a:lnTo>
                    <a:pt x="150400" y="161639"/>
                  </a:lnTo>
                  <a:lnTo>
                    <a:pt x="169450" y="161639"/>
                  </a:lnTo>
                  <a:lnTo>
                    <a:pt x="175165" y="172307"/>
                  </a:lnTo>
                  <a:lnTo>
                    <a:pt x="175165" y="186500"/>
                  </a:lnTo>
                  <a:lnTo>
                    <a:pt x="165640" y="200692"/>
                  </a:lnTo>
                  <a:lnTo>
                    <a:pt x="150400" y="193643"/>
                  </a:lnTo>
                  <a:lnTo>
                    <a:pt x="126587" y="188309"/>
                  </a:lnTo>
                  <a:lnTo>
                    <a:pt x="103632" y="183833"/>
                  </a:lnTo>
                  <a:lnTo>
                    <a:pt x="121253" y="165640"/>
                  </a:lnTo>
                  <a:lnTo>
                    <a:pt x="116396" y="156591"/>
                  </a:lnTo>
                  <a:lnTo>
                    <a:pt x="104585" y="162020"/>
                  </a:lnTo>
                  <a:lnTo>
                    <a:pt x="90773" y="158877"/>
                  </a:lnTo>
                  <a:lnTo>
                    <a:pt x="87154" y="149828"/>
                  </a:lnTo>
                  <a:lnTo>
                    <a:pt x="101822" y="148685"/>
                  </a:lnTo>
                  <a:lnTo>
                    <a:pt x="106108" y="145256"/>
                  </a:lnTo>
                  <a:lnTo>
                    <a:pt x="94583" y="132778"/>
                  </a:lnTo>
                  <a:lnTo>
                    <a:pt x="85439" y="132778"/>
                  </a:lnTo>
                </a:path>
              </a:pathLst>
            </a:custGeom>
            <a:grpFill/>
            <a:ln w="2381" cap="sq">
              <a:noFill/>
              <a:prstDash val="solid"/>
              <a:bevel/>
            </a:ln>
          </p:spPr>
          <p:txBody>
            <a:bodyPr rtlCol="0" anchor="ctr"/>
            <a:lstStyle/>
            <a:p>
              <a:endParaRPr lang="cs-CZ"/>
            </a:p>
          </p:txBody>
        </p:sp>
        <p:sp>
          <p:nvSpPr>
            <p:cNvPr id="220" name="Freeform: Shape 219">
              <a:extLst>
                <a:ext uri="{FF2B5EF4-FFF2-40B4-BE49-F238E27FC236}">
                  <a16:creationId xmlns:a16="http://schemas.microsoft.com/office/drawing/2014/main" id="{D0AECC8B-2D32-F2EE-A298-6EF739E8B1B9}"/>
                </a:ext>
              </a:extLst>
            </p:cNvPr>
            <p:cNvSpPr/>
            <p:nvPr/>
          </p:nvSpPr>
          <p:spPr>
            <a:xfrm>
              <a:off x="13292040" y="7536399"/>
              <a:ext cx="173259" cy="132111"/>
            </a:xfrm>
            <a:custGeom>
              <a:avLst/>
              <a:gdLst>
                <a:gd name="connsiteX0" fmla="*/ 99155 w 173259"/>
                <a:gd name="connsiteY0" fmla="*/ 0 h 132111"/>
                <a:gd name="connsiteX1" fmla="*/ 111919 w 173259"/>
                <a:gd name="connsiteY1" fmla="*/ 1143 h 132111"/>
                <a:gd name="connsiteX2" fmla="*/ 124111 w 173259"/>
                <a:gd name="connsiteY2" fmla="*/ 3429 h 132111"/>
                <a:gd name="connsiteX3" fmla="*/ 128969 w 173259"/>
                <a:gd name="connsiteY3" fmla="*/ 12573 h 132111"/>
                <a:gd name="connsiteX4" fmla="*/ 135636 w 173259"/>
                <a:gd name="connsiteY4" fmla="*/ 22765 h 132111"/>
                <a:gd name="connsiteX5" fmla="*/ 130112 w 173259"/>
                <a:gd name="connsiteY5" fmla="*/ 31909 h 132111"/>
                <a:gd name="connsiteX6" fmla="*/ 137446 w 173259"/>
                <a:gd name="connsiteY6" fmla="*/ 36481 h 132111"/>
                <a:gd name="connsiteX7" fmla="*/ 146590 w 173259"/>
                <a:gd name="connsiteY7" fmla="*/ 36481 h 132111"/>
                <a:gd name="connsiteX8" fmla="*/ 158115 w 173259"/>
                <a:gd name="connsiteY8" fmla="*/ 48958 h 132111"/>
                <a:gd name="connsiteX9" fmla="*/ 153829 w 173259"/>
                <a:gd name="connsiteY9" fmla="*/ 52388 h 132111"/>
                <a:gd name="connsiteX10" fmla="*/ 139160 w 173259"/>
                <a:gd name="connsiteY10" fmla="*/ 53530 h 132111"/>
                <a:gd name="connsiteX11" fmla="*/ 142780 w 173259"/>
                <a:gd name="connsiteY11" fmla="*/ 62579 h 132111"/>
                <a:gd name="connsiteX12" fmla="*/ 156591 w 173259"/>
                <a:gd name="connsiteY12" fmla="*/ 65723 h 132111"/>
                <a:gd name="connsiteX13" fmla="*/ 168402 w 173259"/>
                <a:gd name="connsiteY13" fmla="*/ 60293 h 132111"/>
                <a:gd name="connsiteX14" fmla="*/ 173260 w 173259"/>
                <a:gd name="connsiteY14" fmla="*/ 69342 h 132111"/>
                <a:gd name="connsiteX15" fmla="*/ 155638 w 173259"/>
                <a:gd name="connsiteY15" fmla="*/ 87535 h 132111"/>
                <a:gd name="connsiteX16" fmla="*/ 133064 w 173259"/>
                <a:gd name="connsiteY16" fmla="*/ 89821 h 132111"/>
                <a:gd name="connsiteX17" fmla="*/ 118110 w 173259"/>
                <a:gd name="connsiteY17" fmla="*/ 102108 h 132111"/>
                <a:gd name="connsiteX18" fmla="*/ 116396 w 173259"/>
                <a:gd name="connsiteY18" fmla="*/ 107061 h 132111"/>
                <a:gd name="connsiteX19" fmla="*/ 109442 w 173259"/>
                <a:gd name="connsiteY19" fmla="*/ 112967 h 132111"/>
                <a:gd name="connsiteX20" fmla="*/ 87821 w 173259"/>
                <a:gd name="connsiteY20" fmla="*/ 110014 h 132111"/>
                <a:gd name="connsiteX21" fmla="*/ 71723 w 173259"/>
                <a:gd name="connsiteY21" fmla="*/ 122777 h 132111"/>
                <a:gd name="connsiteX22" fmla="*/ 66484 w 173259"/>
                <a:gd name="connsiteY22" fmla="*/ 129635 h 132111"/>
                <a:gd name="connsiteX23" fmla="*/ 58388 w 173259"/>
                <a:gd name="connsiteY23" fmla="*/ 132112 h 132111"/>
                <a:gd name="connsiteX24" fmla="*/ 55531 w 173259"/>
                <a:gd name="connsiteY24" fmla="*/ 129921 h 132111"/>
                <a:gd name="connsiteX25" fmla="*/ 51625 w 173259"/>
                <a:gd name="connsiteY25" fmla="*/ 125730 h 132111"/>
                <a:gd name="connsiteX26" fmla="*/ 48101 w 173259"/>
                <a:gd name="connsiteY26" fmla="*/ 123444 h 132111"/>
                <a:gd name="connsiteX27" fmla="*/ 38005 w 173259"/>
                <a:gd name="connsiteY27" fmla="*/ 128969 h 132111"/>
                <a:gd name="connsiteX28" fmla="*/ 17145 w 173259"/>
                <a:gd name="connsiteY28" fmla="*/ 125444 h 132111"/>
                <a:gd name="connsiteX29" fmla="*/ 8477 w 173259"/>
                <a:gd name="connsiteY29" fmla="*/ 129921 h 132111"/>
                <a:gd name="connsiteX30" fmla="*/ 6096 w 173259"/>
                <a:gd name="connsiteY30" fmla="*/ 112586 h 132111"/>
                <a:gd name="connsiteX31" fmla="*/ 571 w 173259"/>
                <a:gd name="connsiteY31" fmla="*/ 98965 h 132111"/>
                <a:gd name="connsiteX32" fmla="*/ 0 w 173259"/>
                <a:gd name="connsiteY32" fmla="*/ 80772 h 132111"/>
                <a:gd name="connsiteX33" fmla="*/ 7334 w 173259"/>
                <a:gd name="connsiteY33" fmla="*/ 80772 h 132111"/>
                <a:gd name="connsiteX34" fmla="*/ 21336 w 173259"/>
                <a:gd name="connsiteY34" fmla="*/ 83058 h 132111"/>
                <a:gd name="connsiteX35" fmla="*/ 29242 w 173259"/>
                <a:gd name="connsiteY35" fmla="*/ 76200 h 132111"/>
                <a:gd name="connsiteX36" fmla="*/ 31052 w 173259"/>
                <a:gd name="connsiteY36" fmla="*/ 60293 h 132111"/>
                <a:gd name="connsiteX37" fmla="*/ 40196 w 173259"/>
                <a:gd name="connsiteY37" fmla="*/ 52388 h 132111"/>
                <a:gd name="connsiteX38" fmla="*/ 50578 w 173259"/>
                <a:gd name="connsiteY38" fmla="*/ 38767 h 132111"/>
                <a:gd name="connsiteX39" fmla="*/ 62198 w 173259"/>
                <a:gd name="connsiteY39" fmla="*/ 26289 h 132111"/>
                <a:gd name="connsiteX40" fmla="*/ 74962 w 173259"/>
                <a:gd name="connsiteY40" fmla="*/ 20574 h 132111"/>
                <a:gd name="connsiteX41" fmla="*/ 83344 w 173259"/>
                <a:gd name="connsiteY41" fmla="*/ 4572 h 132111"/>
                <a:gd name="connsiteX42" fmla="*/ 98679 w 173259"/>
                <a:gd name="connsiteY42" fmla="*/ 95 h 132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3259" h="132111">
                  <a:moveTo>
                    <a:pt x="99155" y="0"/>
                  </a:moveTo>
                  <a:lnTo>
                    <a:pt x="111919" y="1143"/>
                  </a:lnTo>
                  <a:lnTo>
                    <a:pt x="124111" y="3429"/>
                  </a:lnTo>
                  <a:lnTo>
                    <a:pt x="128969" y="12573"/>
                  </a:lnTo>
                  <a:lnTo>
                    <a:pt x="135636" y="22765"/>
                  </a:lnTo>
                  <a:lnTo>
                    <a:pt x="130112" y="31909"/>
                  </a:lnTo>
                  <a:lnTo>
                    <a:pt x="137446" y="36481"/>
                  </a:lnTo>
                  <a:lnTo>
                    <a:pt x="146590" y="36481"/>
                  </a:lnTo>
                  <a:lnTo>
                    <a:pt x="158115" y="48958"/>
                  </a:lnTo>
                  <a:lnTo>
                    <a:pt x="153829" y="52388"/>
                  </a:lnTo>
                  <a:lnTo>
                    <a:pt x="139160" y="53530"/>
                  </a:lnTo>
                  <a:lnTo>
                    <a:pt x="142780" y="62579"/>
                  </a:lnTo>
                  <a:lnTo>
                    <a:pt x="156591" y="65723"/>
                  </a:lnTo>
                  <a:lnTo>
                    <a:pt x="168402" y="60293"/>
                  </a:lnTo>
                  <a:lnTo>
                    <a:pt x="173260" y="69342"/>
                  </a:lnTo>
                  <a:lnTo>
                    <a:pt x="155638" y="87535"/>
                  </a:lnTo>
                  <a:lnTo>
                    <a:pt x="133064" y="89821"/>
                  </a:lnTo>
                  <a:lnTo>
                    <a:pt x="118110" y="102108"/>
                  </a:lnTo>
                  <a:lnTo>
                    <a:pt x="116396" y="107061"/>
                  </a:lnTo>
                  <a:lnTo>
                    <a:pt x="109442" y="112967"/>
                  </a:lnTo>
                  <a:lnTo>
                    <a:pt x="87821" y="110014"/>
                  </a:lnTo>
                  <a:lnTo>
                    <a:pt x="71723" y="122777"/>
                  </a:lnTo>
                  <a:lnTo>
                    <a:pt x="66484" y="129635"/>
                  </a:lnTo>
                  <a:lnTo>
                    <a:pt x="58388" y="132112"/>
                  </a:lnTo>
                  <a:lnTo>
                    <a:pt x="55531" y="129921"/>
                  </a:lnTo>
                  <a:lnTo>
                    <a:pt x="51625" y="125730"/>
                  </a:lnTo>
                  <a:lnTo>
                    <a:pt x="48101" y="123444"/>
                  </a:lnTo>
                  <a:lnTo>
                    <a:pt x="38005" y="128969"/>
                  </a:lnTo>
                  <a:lnTo>
                    <a:pt x="17145" y="125444"/>
                  </a:lnTo>
                  <a:lnTo>
                    <a:pt x="8477" y="129921"/>
                  </a:lnTo>
                  <a:lnTo>
                    <a:pt x="6096" y="112586"/>
                  </a:lnTo>
                  <a:lnTo>
                    <a:pt x="571" y="98965"/>
                  </a:lnTo>
                  <a:lnTo>
                    <a:pt x="0" y="80772"/>
                  </a:lnTo>
                  <a:lnTo>
                    <a:pt x="7334" y="80772"/>
                  </a:lnTo>
                  <a:lnTo>
                    <a:pt x="21336" y="83058"/>
                  </a:lnTo>
                  <a:lnTo>
                    <a:pt x="29242" y="76200"/>
                  </a:lnTo>
                  <a:lnTo>
                    <a:pt x="31052" y="60293"/>
                  </a:lnTo>
                  <a:lnTo>
                    <a:pt x="40196" y="52388"/>
                  </a:lnTo>
                  <a:lnTo>
                    <a:pt x="50578" y="38767"/>
                  </a:lnTo>
                  <a:lnTo>
                    <a:pt x="62198" y="26289"/>
                  </a:lnTo>
                  <a:lnTo>
                    <a:pt x="74962" y="20574"/>
                  </a:lnTo>
                  <a:lnTo>
                    <a:pt x="83344" y="4572"/>
                  </a:lnTo>
                  <a:lnTo>
                    <a:pt x="98679" y="95"/>
                  </a:lnTo>
                </a:path>
              </a:pathLst>
            </a:custGeom>
            <a:grpFill/>
            <a:ln w="2381" cap="sq">
              <a:noFill/>
              <a:prstDash val="solid"/>
              <a:bevel/>
            </a:ln>
          </p:spPr>
          <p:txBody>
            <a:bodyPr rtlCol="0" anchor="ctr"/>
            <a:lstStyle/>
            <a:p>
              <a:endParaRPr lang="cs-CZ"/>
            </a:p>
          </p:txBody>
        </p:sp>
        <p:sp>
          <p:nvSpPr>
            <p:cNvPr id="221" name="Freeform: Shape 220">
              <a:extLst>
                <a:ext uri="{FF2B5EF4-FFF2-40B4-BE49-F238E27FC236}">
                  <a16:creationId xmlns:a16="http://schemas.microsoft.com/office/drawing/2014/main" id="{779AFF85-4520-EB8F-2089-0F1531E0AD5C}"/>
                </a:ext>
              </a:extLst>
            </p:cNvPr>
            <p:cNvSpPr/>
            <p:nvPr/>
          </p:nvSpPr>
          <p:spPr>
            <a:xfrm>
              <a:off x="13152499" y="7373426"/>
              <a:ext cx="261175" cy="223265"/>
            </a:xfrm>
            <a:custGeom>
              <a:avLst/>
              <a:gdLst>
                <a:gd name="connsiteX0" fmla="*/ 208312 w 261175"/>
                <a:gd name="connsiteY0" fmla="*/ 37529 h 223265"/>
                <a:gd name="connsiteX1" fmla="*/ 212979 w 261175"/>
                <a:gd name="connsiteY1" fmla="*/ 44672 h 223265"/>
                <a:gd name="connsiteX2" fmla="*/ 225266 w 261175"/>
                <a:gd name="connsiteY2" fmla="*/ 51245 h 223265"/>
                <a:gd name="connsiteX3" fmla="*/ 233172 w 261175"/>
                <a:gd name="connsiteY3" fmla="*/ 62675 h 223265"/>
                <a:gd name="connsiteX4" fmla="*/ 250222 w 261175"/>
                <a:gd name="connsiteY4" fmla="*/ 68390 h 223265"/>
                <a:gd name="connsiteX5" fmla="*/ 261175 w 261175"/>
                <a:gd name="connsiteY5" fmla="*/ 77534 h 223265"/>
                <a:gd name="connsiteX6" fmla="*/ 254413 w 261175"/>
                <a:gd name="connsiteY6" fmla="*/ 90107 h 223265"/>
                <a:gd name="connsiteX7" fmla="*/ 234887 w 261175"/>
                <a:gd name="connsiteY7" fmla="*/ 91250 h 223265"/>
                <a:gd name="connsiteX8" fmla="*/ 231267 w 261175"/>
                <a:gd name="connsiteY8" fmla="*/ 99251 h 223265"/>
                <a:gd name="connsiteX9" fmla="*/ 226981 w 261175"/>
                <a:gd name="connsiteY9" fmla="*/ 107252 h 223265"/>
                <a:gd name="connsiteX10" fmla="*/ 226981 w 261175"/>
                <a:gd name="connsiteY10" fmla="*/ 127826 h 223265"/>
                <a:gd name="connsiteX11" fmla="*/ 199454 w 261175"/>
                <a:gd name="connsiteY11" fmla="*/ 134874 h 223265"/>
                <a:gd name="connsiteX12" fmla="*/ 191548 w 261175"/>
                <a:gd name="connsiteY12" fmla="*/ 144209 h 223265"/>
                <a:gd name="connsiteX13" fmla="*/ 200692 w 261175"/>
                <a:gd name="connsiteY13" fmla="*/ 156401 h 223265"/>
                <a:gd name="connsiteX14" fmla="*/ 215360 w 261175"/>
                <a:gd name="connsiteY14" fmla="*/ 163640 h 223265"/>
                <a:gd name="connsiteX15" fmla="*/ 223266 w 261175"/>
                <a:gd name="connsiteY15" fmla="*/ 167545 h 223265"/>
                <a:gd name="connsiteX16" fmla="*/ 214884 w 261175"/>
                <a:gd name="connsiteY16" fmla="*/ 183547 h 223265"/>
                <a:gd name="connsiteX17" fmla="*/ 202121 w 261175"/>
                <a:gd name="connsiteY17" fmla="*/ 189262 h 223265"/>
                <a:gd name="connsiteX18" fmla="*/ 190500 w 261175"/>
                <a:gd name="connsiteY18" fmla="*/ 201740 h 223265"/>
                <a:gd name="connsiteX19" fmla="*/ 180118 w 261175"/>
                <a:gd name="connsiteY19" fmla="*/ 215360 h 223265"/>
                <a:gd name="connsiteX20" fmla="*/ 170974 w 261175"/>
                <a:gd name="connsiteY20" fmla="*/ 223266 h 223265"/>
                <a:gd name="connsiteX21" fmla="*/ 164211 w 261175"/>
                <a:gd name="connsiteY21" fmla="*/ 209645 h 223265"/>
                <a:gd name="connsiteX22" fmla="*/ 153257 w 261175"/>
                <a:gd name="connsiteY22" fmla="*/ 209645 h 223265"/>
                <a:gd name="connsiteX23" fmla="*/ 140494 w 261175"/>
                <a:gd name="connsiteY23" fmla="*/ 214217 h 223265"/>
                <a:gd name="connsiteX24" fmla="*/ 130112 w 261175"/>
                <a:gd name="connsiteY24" fmla="*/ 201740 h 223265"/>
                <a:gd name="connsiteX25" fmla="*/ 114871 w 261175"/>
                <a:gd name="connsiteY25" fmla="*/ 188119 h 223265"/>
                <a:gd name="connsiteX26" fmla="*/ 101441 w 261175"/>
                <a:gd name="connsiteY26" fmla="*/ 182404 h 223265"/>
                <a:gd name="connsiteX27" fmla="*/ 97822 w 261175"/>
                <a:gd name="connsiteY27" fmla="*/ 166497 h 223265"/>
                <a:gd name="connsiteX28" fmla="*/ 83153 w 261175"/>
                <a:gd name="connsiteY28" fmla="*/ 149447 h 223265"/>
                <a:gd name="connsiteX29" fmla="*/ 80772 w 261175"/>
                <a:gd name="connsiteY29" fmla="*/ 142589 h 223265"/>
                <a:gd name="connsiteX30" fmla="*/ 70390 w 261175"/>
                <a:gd name="connsiteY30" fmla="*/ 138017 h 223265"/>
                <a:gd name="connsiteX31" fmla="*/ 66770 w 261175"/>
                <a:gd name="connsiteY31" fmla="*/ 124301 h 223265"/>
                <a:gd name="connsiteX32" fmla="*/ 54007 w 261175"/>
                <a:gd name="connsiteY32" fmla="*/ 132302 h 223265"/>
                <a:gd name="connsiteX33" fmla="*/ 40576 w 261175"/>
                <a:gd name="connsiteY33" fmla="*/ 139160 h 223265"/>
                <a:gd name="connsiteX34" fmla="*/ 29623 w 261175"/>
                <a:gd name="connsiteY34" fmla="*/ 139160 h 223265"/>
                <a:gd name="connsiteX35" fmla="*/ 26289 w 261175"/>
                <a:gd name="connsiteY35" fmla="*/ 123539 h 223265"/>
                <a:gd name="connsiteX36" fmla="*/ 29051 w 261175"/>
                <a:gd name="connsiteY36" fmla="*/ 113633 h 223265"/>
                <a:gd name="connsiteX37" fmla="*/ 25051 w 261175"/>
                <a:gd name="connsiteY37" fmla="*/ 107347 h 223265"/>
                <a:gd name="connsiteX38" fmla="*/ 22574 w 261175"/>
                <a:gd name="connsiteY38" fmla="*/ 100775 h 223265"/>
                <a:gd name="connsiteX39" fmla="*/ 22765 w 261175"/>
                <a:gd name="connsiteY39" fmla="*/ 94488 h 223265"/>
                <a:gd name="connsiteX40" fmla="*/ 24384 w 261175"/>
                <a:gd name="connsiteY40" fmla="*/ 89630 h 223265"/>
                <a:gd name="connsiteX41" fmla="*/ 27146 w 261175"/>
                <a:gd name="connsiteY41" fmla="*/ 85344 h 223265"/>
                <a:gd name="connsiteX42" fmla="*/ 28575 w 261175"/>
                <a:gd name="connsiteY42" fmla="*/ 82391 h 223265"/>
                <a:gd name="connsiteX43" fmla="*/ 31623 w 261175"/>
                <a:gd name="connsiteY43" fmla="*/ 78962 h 223265"/>
                <a:gd name="connsiteX44" fmla="*/ 25717 w 261175"/>
                <a:gd name="connsiteY44" fmla="*/ 65723 h 223265"/>
                <a:gd name="connsiteX45" fmla="*/ 23241 w 261175"/>
                <a:gd name="connsiteY45" fmla="*/ 56197 h 223265"/>
                <a:gd name="connsiteX46" fmla="*/ 0 w 261175"/>
                <a:gd name="connsiteY46" fmla="*/ 34766 h 223265"/>
                <a:gd name="connsiteX47" fmla="*/ 6477 w 261175"/>
                <a:gd name="connsiteY47" fmla="*/ 21717 h 223265"/>
                <a:gd name="connsiteX48" fmla="*/ 16859 w 261175"/>
                <a:gd name="connsiteY48" fmla="*/ 22860 h 223265"/>
                <a:gd name="connsiteX49" fmla="*/ 29051 w 261175"/>
                <a:gd name="connsiteY49" fmla="*/ 22860 h 223265"/>
                <a:gd name="connsiteX50" fmla="*/ 36957 w 261175"/>
                <a:gd name="connsiteY50" fmla="*/ 32004 h 223265"/>
                <a:gd name="connsiteX51" fmla="*/ 43053 w 261175"/>
                <a:gd name="connsiteY51" fmla="*/ 33147 h 223265"/>
                <a:gd name="connsiteX52" fmla="*/ 44863 w 261175"/>
                <a:gd name="connsiteY52" fmla="*/ 26289 h 223265"/>
                <a:gd name="connsiteX53" fmla="*/ 41243 w 261175"/>
                <a:gd name="connsiteY53" fmla="*/ 12573 h 223265"/>
                <a:gd name="connsiteX54" fmla="*/ 36957 w 261175"/>
                <a:gd name="connsiteY54" fmla="*/ 4572 h 223265"/>
                <a:gd name="connsiteX55" fmla="*/ 48577 w 261175"/>
                <a:gd name="connsiteY55" fmla="*/ 0 h 223265"/>
                <a:gd name="connsiteX56" fmla="*/ 54673 w 261175"/>
                <a:gd name="connsiteY56" fmla="*/ 8001 h 223265"/>
                <a:gd name="connsiteX57" fmla="*/ 80296 w 261175"/>
                <a:gd name="connsiteY57" fmla="*/ 28575 h 223265"/>
                <a:gd name="connsiteX58" fmla="*/ 88868 w 261175"/>
                <a:gd name="connsiteY58" fmla="*/ 32004 h 223265"/>
                <a:gd name="connsiteX59" fmla="*/ 97441 w 261175"/>
                <a:gd name="connsiteY59" fmla="*/ 35433 h 223265"/>
                <a:gd name="connsiteX60" fmla="*/ 98679 w 261175"/>
                <a:gd name="connsiteY60" fmla="*/ 48006 h 223265"/>
                <a:gd name="connsiteX61" fmla="*/ 115157 w 261175"/>
                <a:gd name="connsiteY61" fmla="*/ 44577 h 223265"/>
                <a:gd name="connsiteX62" fmla="*/ 140779 w 261175"/>
                <a:gd name="connsiteY62" fmla="*/ 41148 h 223265"/>
                <a:gd name="connsiteX63" fmla="*/ 170688 w 261175"/>
                <a:gd name="connsiteY63" fmla="*/ 40005 h 223265"/>
                <a:gd name="connsiteX64" fmla="*/ 185928 w 261175"/>
                <a:gd name="connsiteY64" fmla="*/ 40005 h 223265"/>
                <a:gd name="connsiteX65" fmla="*/ 208693 w 261175"/>
                <a:gd name="connsiteY65" fmla="*/ 37814 h 22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61175" h="223265">
                  <a:moveTo>
                    <a:pt x="208312" y="37529"/>
                  </a:moveTo>
                  <a:lnTo>
                    <a:pt x="212979" y="44672"/>
                  </a:lnTo>
                  <a:lnTo>
                    <a:pt x="225266" y="51245"/>
                  </a:lnTo>
                  <a:lnTo>
                    <a:pt x="233172" y="62675"/>
                  </a:lnTo>
                  <a:lnTo>
                    <a:pt x="250222" y="68390"/>
                  </a:lnTo>
                  <a:lnTo>
                    <a:pt x="261175" y="77534"/>
                  </a:lnTo>
                  <a:lnTo>
                    <a:pt x="254413" y="90107"/>
                  </a:lnTo>
                  <a:lnTo>
                    <a:pt x="234887" y="91250"/>
                  </a:lnTo>
                  <a:lnTo>
                    <a:pt x="231267" y="99251"/>
                  </a:lnTo>
                  <a:lnTo>
                    <a:pt x="226981" y="107252"/>
                  </a:lnTo>
                  <a:lnTo>
                    <a:pt x="226981" y="127826"/>
                  </a:lnTo>
                  <a:lnTo>
                    <a:pt x="199454" y="134874"/>
                  </a:lnTo>
                  <a:lnTo>
                    <a:pt x="191548" y="144209"/>
                  </a:lnTo>
                  <a:lnTo>
                    <a:pt x="200692" y="156401"/>
                  </a:lnTo>
                  <a:lnTo>
                    <a:pt x="215360" y="163640"/>
                  </a:lnTo>
                  <a:lnTo>
                    <a:pt x="223266" y="167545"/>
                  </a:lnTo>
                  <a:lnTo>
                    <a:pt x="214884" y="183547"/>
                  </a:lnTo>
                  <a:lnTo>
                    <a:pt x="202121" y="189262"/>
                  </a:lnTo>
                  <a:lnTo>
                    <a:pt x="190500" y="201740"/>
                  </a:lnTo>
                  <a:lnTo>
                    <a:pt x="180118" y="215360"/>
                  </a:lnTo>
                  <a:lnTo>
                    <a:pt x="170974" y="223266"/>
                  </a:lnTo>
                  <a:lnTo>
                    <a:pt x="164211" y="209645"/>
                  </a:lnTo>
                  <a:lnTo>
                    <a:pt x="153257" y="209645"/>
                  </a:lnTo>
                  <a:lnTo>
                    <a:pt x="140494" y="214217"/>
                  </a:lnTo>
                  <a:lnTo>
                    <a:pt x="130112" y="201740"/>
                  </a:lnTo>
                  <a:lnTo>
                    <a:pt x="114871" y="188119"/>
                  </a:lnTo>
                  <a:lnTo>
                    <a:pt x="101441" y="182404"/>
                  </a:lnTo>
                  <a:lnTo>
                    <a:pt x="97822" y="166497"/>
                  </a:lnTo>
                  <a:lnTo>
                    <a:pt x="83153" y="149447"/>
                  </a:lnTo>
                  <a:lnTo>
                    <a:pt x="80772" y="142589"/>
                  </a:lnTo>
                  <a:lnTo>
                    <a:pt x="70390" y="138017"/>
                  </a:lnTo>
                  <a:lnTo>
                    <a:pt x="66770" y="124301"/>
                  </a:lnTo>
                  <a:lnTo>
                    <a:pt x="54007" y="132302"/>
                  </a:lnTo>
                  <a:lnTo>
                    <a:pt x="40576" y="139160"/>
                  </a:lnTo>
                  <a:lnTo>
                    <a:pt x="29623" y="139160"/>
                  </a:lnTo>
                  <a:lnTo>
                    <a:pt x="26289" y="123539"/>
                  </a:lnTo>
                  <a:lnTo>
                    <a:pt x="29051" y="113633"/>
                  </a:lnTo>
                  <a:lnTo>
                    <a:pt x="25051" y="107347"/>
                  </a:lnTo>
                  <a:lnTo>
                    <a:pt x="22574" y="100775"/>
                  </a:lnTo>
                  <a:lnTo>
                    <a:pt x="22765" y="94488"/>
                  </a:lnTo>
                  <a:lnTo>
                    <a:pt x="24384" y="89630"/>
                  </a:lnTo>
                  <a:lnTo>
                    <a:pt x="27146" y="85344"/>
                  </a:lnTo>
                  <a:lnTo>
                    <a:pt x="28575" y="82391"/>
                  </a:lnTo>
                  <a:lnTo>
                    <a:pt x="31623" y="78962"/>
                  </a:lnTo>
                  <a:lnTo>
                    <a:pt x="25717" y="65723"/>
                  </a:lnTo>
                  <a:lnTo>
                    <a:pt x="23241" y="56197"/>
                  </a:lnTo>
                  <a:lnTo>
                    <a:pt x="0" y="34766"/>
                  </a:lnTo>
                  <a:lnTo>
                    <a:pt x="6477" y="21717"/>
                  </a:lnTo>
                  <a:lnTo>
                    <a:pt x="16859" y="22860"/>
                  </a:lnTo>
                  <a:lnTo>
                    <a:pt x="29051" y="22860"/>
                  </a:lnTo>
                  <a:lnTo>
                    <a:pt x="36957" y="32004"/>
                  </a:lnTo>
                  <a:lnTo>
                    <a:pt x="43053" y="33147"/>
                  </a:lnTo>
                  <a:lnTo>
                    <a:pt x="44863" y="26289"/>
                  </a:lnTo>
                  <a:lnTo>
                    <a:pt x="41243" y="12573"/>
                  </a:lnTo>
                  <a:lnTo>
                    <a:pt x="36957" y="4572"/>
                  </a:lnTo>
                  <a:lnTo>
                    <a:pt x="48577" y="0"/>
                  </a:lnTo>
                  <a:lnTo>
                    <a:pt x="54673" y="8001"/>
                  </a:lnTo>
                  <a:lnTo>
                    <a:pt x="80296" y="28575"/>
                  </a:lnTo>
                  <a:lnTo>
                    <a:pt x="88868" y="32004"/>
                  </a:lnTo>
                  <a:lnTo>
                    <a:pt x="97441" y="35433"/>
                  </a:lnTo>
                  <a:lnTo>
                    <a:pt x="98679" y="48006"/>
                  </a:lnTo>
                  <a:lnTo>
                    <a:pt x="115157" y="44577"/>
                  </a:lnTo>
                  <a:lnTo>
                    <a:pt x="140779" y="41148"/>
                  </a:lnTo>
                  <a:lnTo>
                    <a:pt x="170688" y="40005"/>
                  </a:lnTo>
                  <a:lnTo>
                    <a:pt x="185928" y="40005"/>
                  </a:lnTo>
                  <a:lnTo>
                    <a:pt x="208693" y="37814"/>
                  </a:lnTo>
                </a:path>
              </a:pathLst>
            </a:custGeom>
            <a:grpFill/>
            <a:ln w="2381" cap="sq">
              <a:noFill/>
              <a:prstDash val="solid"/>
              <a:bevel/>
            </a:ln>
          </p:spPr>
          <p:txBody>
            <a:bodyPr rtlCol="0" anchor="ctr"/>
            <a:lstStyle/>
            <a:p>
              <a:endParaRPr lang="cs-CZ"/>
            </a:p>
          </p:txBody>
        </p:sp>
        <p:sp>
          <p:nvSpPr>
            <p:cNvPr id="222" name="Freeform: Shape 221">
              <a:extLst>
                <a:ext uri="{FF2B5EF4-FFF2-40B4-BE49-F238E27FC236}">
                  <a16:creationId xmlns:a16="http://schemas.microsoft.com/office/drawing/2014/main" id="{9B5A8AD7-201E-1F31-9848-E5C631B35A7D}"/>
                </a:ext>
              </a:extLst>
            </p:cNvPr>
            <p:cNvSpPr/>
            <p:nvPr/>
          </p:nvSpPr>
          <p:spPr>
            <a:xfrm>
              <a:off x="13098778" y="7497632"/>
              <a:ext cx="204216" cy="209073"/>
            </a:xfrm>
            <a:custGeom>
              <a:avLst/>
              <a:gdLst>
                <a:gd name="connsiteX0" fmla="*/ 14097 w 204216"/>
                <a:gd name="connsiteY0" fmla="*/ 85630 h 209073"/>
                <a:gd name="connsiteX1" fmla="*/ 5810 w 204216"/>
                <a:gd name="connsiteY1" fmla="*/ 77343 h 209073"/>
                <a:gd name="connsiteX2" fmla="*/ 0 w 204216"/>
                <a:gd name="connsiteY2" fmla="*/ 65913 h 209073"/>
                <a:gd name="connsiteX3" fmla="*/ 571 w 204216"/>
                <a:gd name="connsiteY3" fmla="*/ 35623 h 209073"/>
                <a:gd name="connsiteX4" fmla="*/ 21241 w 204216"/>
                <a:gd name="connsiteY4" fmla="*/ 44768 h 209073"/>
                <a:gd name="connsiteX5" fmla="*/ 33623 w 204216"/>
                <a:gd name="connsiteY5" fmla="*/ 32861 h 209073"/>
                <a:gd name="connsiteX6" fmla="*/ 43434 w 204216"/>
                <a:gd name="connsiteY6" fmla="*/ 26956 h 209073"/>
                <a:gd name="connsiteX7" fmla="*/ 46768 w 204216"/>
                <a:gd name="connsiteY7" fmla="*/ 27432 h 209073"/>
                <a:gd name="connsiteX8" fmla="*/ 48958 w 204216"/>
                <a:gd name="connsiteY8" fmla="*/ 27242 h 209073"/>
                <a:gd name="connsiteX9" fmla="*/ 54197 w 204216"/>
                <a:gd name="connsiteY9" fmla="*/ 25813 h 209073"/>
                <a:gd name="connsiteX10" fmla="*/ 56102 w 204216"/>
                <a:gd name="connsiteY10" fmla="*/ 26384 h 209073"/>
                <a:gd name="connsiteX11" fmla="*/ 57531 w 204216"/>
                <a:gd name="connsiteY11" fmla="*/ 28670 h 209073"/>
                <a:gd name="connsiteX12" fmla="*/ 59626 w 204216"/>
                <a:gd name="connsiteY12" fmla="*/ 31623 h 209073"/>
                <a:gd name="connsiteX13" fmla="*/ 63246 w 204216"/>
                <a:gd name="connsiteY13" fmla="*/ 34766 h 209073"/>
                <a:gd name="connsiteX14" fmla="*/ 70675 w 204216"/>
                <a:gd name="connsiteY14" fmla="*/ 36100 h 209073"/>
                <a:gd name="connsiteX15" fmla="*/ 73057 w 204216"/>
                <a:gd name="connsiteY15" fmla="*/ 34290 h 209073"/>
                <a:gd name="connsiteX16" fmla="*/ 79629 w 204216"/>
                <a:gd name="connsiteY16" fmla="*/ 31909 h 209073"/>
                <a:gd name="connsiteX17" fmla="*/ 79058 w 204216"/>
                <a:gd name="connsiteY17" fmla="*/ 28766 h 209073"/>
                <a:gd name="connsiteX18" fmla="*/ 76200 w 204216"/>
                <a:gd name="connsiteY18" fmla="*/ 25432 h 209073"/>
                <a:gd name="connsiteX19" fmla="*/ 71342 w 204216"/>
                <a:gd name="connsiteY19" fmla="*/ 18574 h 209073"/>
                <a:gd name="connsiteX20" fmla="*/ 70961 w 204216"/>
                <a:gd name="connsiteY20" fmla="*/ 15430 h 209073"/>
                <a:gd name="connsiteX21" fmla="*/ 72866 w 204216"/>
                <a:gd name="connsiteY21" fmla="*/ 13525 h 209073"/>
                <a:gd name="connsiteX22" fmla="*/ 83248 w 204216"/>
                <a:gd name="connsiteY22" fmla="*/ 14859 h 209073"/>
                <a:gd name="connsiteX23" fmla="*/ 94202 w 204216"/>
                <a:gd name="connsiteY23" fmla="*/ 14859 h 209073"/>
                <a:gd name="connsiteX24" fmla="*/ 107633 w 204216"/>
                <a:gd name="connsiteY24" fmla="*/ 8001 h 209073"/>
                <a:gd name="connsiteX25" fmla="*/ 120396 w 204216"/>
                <a:gd name="connsiteY25" fmla="*/ 0 h 209073"/>
                <a:gd name="connsiteX26" fmla="*/ 124015 w 204216"/>
                <a:gd name="connsiteY26" fmla="*/ 13716 h 209073"/>
                <a:gd name="connsiteX27" fmla="*/ 134398 w 204216"/>
                <a:gd name="connsiteY27" fmla="*/ 18288 h 209073"/>
                <a:gd name="connsiteX28" fmla="*/ 136779 w 204216"/>
                <a:gd name="connsiteY28" fmla="*/ 25146 h 209073"/>
                <a:gd name="connsiteX29" fmla="*/ 151447 w 204216"/>
                <a:gd name="connsiteY29" fmla="*/ 42196 h 209073"/>
                <a:gd name="connsiteX30" fmla="*/ 155067 w 204216"/>
                <a:gd name="connsiteY30" fmla="*/ 58102 h 209073"/>
                <a:gd name="connsiteX31" fmla="*/ 168497 w 204216"/>
                <a:gd name="connsiteY31" fmla="*/ 63818 h 209073"/>
                <a:gd name="connsiteX32" fmla="*/ 183737 w 204216"/>
                <a:gd name="connsiteY32" fmla="*/ 77438 h 209073"/>
                <a:gd name="connsiteX33" fmla="*/ 194119 w 204216"/>
                <a:gd name="connsiteY33" fmla="*/ 89916 h 209073"/>
                <a:gd name="connsiteX34" fmla="*/ 191643 w 204216"/>
                <a:gd name="connsiteY34" fmla="*/ 105823 h 209073"/>
                <a:gd name="connsiteX35" fmla="*/ 193453 w 204216"/>
                <a:gd name="connsiteY35" fmla="*/ 119444 h 209073"/>
                <a:gd name="connsiteX36" fmla="*/ 194024 w 204216"/>
                <a:gd name="connsiteY36" fmla="*/ 137636 h 209073"/>
                <a:gd name="connsiteX37" fmla="*/ 199549 w 204216"/>
                <a:gd name="connsiteY37" fmla="*/ 151257 h 209073"/>
                <a:gd name="connsiteX38" fmla="*/ 201930 w 204216"/>
                <a:gd name="connsiteY38" fmla="*/ 168593 h 209073"/>
                <a:gd name="connsiteX39" fmla="*/ 204216 w 204216"/>
                <a:gd name="connsiteY39" fmla="*/ 173069 h 209073"/>
                <a:gd name="connsiteX40" fmla="*/ 203359 w 204216"/>
                <a:gd name="connsiteY40" fmla="*/ 174117 h 209073"/>
                <a:gd name="connsiteX41" fmla="*/ 199168 w 204216"/>
                <a:gd name="connsiteY41" fmla="*/ 178118 h 209073"/>
                <a:gd name="connsiteX42" fmla="*/ 201835 w 204216"/>
                <a:gd name="connsiteY42" fmla="*/ 190310 h 209073"/>
                <a:gd name="connsiteX43" fmla="*/ 201263 w 204216"/>
                <a:gd name="connsiteY43" fmla="*/ 195072 h 209073"/>
                <a:gd name="connsiteX44" fmla="*/ 199644 w 204216"/>
                <a:gd name="connsiteY44" fmla="*/ 199644 h 209073"/>
                <a:gd name="connsiteX45" fmla="*/ 199644 w 204216"/>
                <a:gd name="connsiteY45" fmla="*/ 205073 h 209073"/>
                <a:gd name="connsiteX46" fmla="*/ 197263 w 204216"/>
                <a:gd name="connsiteY46" fmla="*/ 208407 h 209073"/>
                <a:gd name="connsiteX47" fmla="*/ 185738 w 204216"/>
                <a:gd name="connsiteY47" fmla="*/ 209074 h 209073"/>
                <a:gd name="connsiteX48" fmla="*/ 182499 w 204216"/>
                <a:gd name="connsiteY48" fmla="*/ 206312 h 209073"/>
                <a:gd name="connsiteX49" fmla="*/ 176975 w 204216"/>
                <a:gd name="connsiteY49" fmla="*/ 200216 h 209073"/>
                <a:gd name="connsiteX50" fmla="*/ 174688 w 204216"/>
                <a:gd name="connsiteY50" fmla="*/ 195834 h 209073"/>
                <a:gd name="connsiteX51" fmla="*/ 172307 w 204216"/>
                <a:gd name="connsiteY51" fmla="*/ 194405 h 209073"/>
                <a:gd name="connsiteX52" fmla="*/ 163925 w 204216"/>
                <a:gd name="connsiteY52" fmla="*/ 195739 h 209073"/>
                <a:gd name="connsiteX53" fmla="*/ 152876 w 204216"/>
                <a:gd name="connsiteY53" fmla="*/ 194881 h 209073"/>
                <a:gd name="connsiteX54" fmla="*/ 139351 w 204216"/>
                <a:gd name="connsiteY54" fmla="*/ 187547 h 209073"/>
                <a:gd name="connsiteX55" fmla="*/ 128683 w 204216"/>
                <a:gd name="connsiteY55" fmla="*/ 186404 h 209073"/>
                <a:gd name="connsiteX56" fmla="*/ 123254 w 204216"/>
                <a:gd name="connsiteY56" fmla="*/ 182690 h 209073"/>
                <a:gd name="connsiteX57" fmla="*/ 118491 w 204216"/>
                <a:gd name="connsiteY57" fmla="*/ 176689 h 209073"/>
                <a:gd name="connsiteX58" fmla="*/ 108775 w 204216"/>
                <a:gd name="connsiteY58" fmla="*/ 163544 h 209073"/>
                <a:gd name="connsiteX59" fmla="*/ 101346 w 204216"/>
                <a:gd name="connsiteY59" fmla="*/ 153734 h 209073"/>
                <a:gd name="connsiteX60" fmla="*/ 101346 w 204216"/>
                <a:gd name="connsiteY60" fmla="*/ 144113 h 209073"/>
                <a:gd name="connsiteX61" fmla="*/ 94488 w 204216"/>
                <a:gd name="connsiteY61" fmla="*/ 129635 h 209073"/>
                <a:gd name="connsiteX62" fmla="*/ 84677 w 204216"/>
                <a:gd name="connsiteY62" fmla="*/ 134684 h 209073"/>
                <a:gd name="connsiteX63" fmla="*/ 77629 w 204216"/>
                <a:gd name="connsiteY63" fmla="*/ 125825 h 209073"/>
                <a:gd name="connsiteX64" fmla="*/ 80867 w 204216"/>
                <a:gd name="connsiteY64" fmla="*/ 123253 h 209073"/>
                <a:gd name="connsiteX65" fmla="*/ 80581 w 204216"/>
                <a:gd name="connsiteY65" fmla="*/ 120682 h 209073"/>
                <a:gd name="connsiteX66" fmla="*/ 78200 w 204216"/>
                <a:gd name="connsiteY66" fmla="*/ 118110 h 209073"/>
                <a:gd name="connsiteX67" fmla="*/ 72676 w 204216"/>
                <a:gd name="connsiteY67" fmla="*/ 116776 h 209073"/>
                <a:gd name="connsiteX68" fmla="*/ 67627 w 204216"/>
                <a:gd name="connsiteY68" fmla="*/ 117443 h 209073"/>
                <a:gd name="connsiteX69" fmla="*/ 65246 w 204216"/>
                <a:gd name="connsiteY69" fmla="*/ 115729 h 209073"/>
                <a:gd name="connsiteX70" fmla="*/ 64960 w 204216"/>
                <a:gd name="connsiteY70" fmla="*/ 114491 h 209073"/>
                <a:gd name="connsiteX71" fmla="*/ 66675 w 204216"/>
                <a:gd name="connsiteY71" fmla="*/ 112586 h 209073"/>
                <a:gd name="connsiteX72" fmla="*/ 66675 w 204216"/>
                <a:gd name="connsiteY72" fmla="*/ 108109 h 209073"/>
                <a:gd name="connsiteX73" fmla="*/ 64770 w 204216"/>
                <a:gd name="connsiteY73" fmla="*/ 100203 h 209073"/>
                <a:gd name="connsiteX74" fmla="*/ 55435 w 204216"/>
                <a:gd name="connsiteY74" fmla="*/ 85725 h 209073"/>
                <a:gd name="connsiteX75" fmla="*/ 48482 w 204216"/>
                <a:gd name="connsiteY75" fmla="*/ 80677 h 209073"/>
                <a:gd name="connsiteX76" fmla="*/ 40672 w 204216"/>
                <a:gd name="connsiteY76" fmla="*/ 79439 h 209073"/>
                <a:gd name="connsiteX77" fmla="*/ 20669 w 204216"/>
                <a:gd name="connsiteY77" fmla="*/ 84868 h 209073"/>
                <a:gd name="connsiteX78" fmla="*/ 14097 w 204216"/>
                <a:gd name="connsiteY78" fmla="*/ 85344 h 209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204216" h="209073">
                  <a:moveTo>
                    <a:pt x="14097" y="85630"/>
                  </a:moveTo>
                  <a:lnTo>
                    <a:pt x="5810" y="77343"/>
                  </a:lnTo>
                  <a:lnTo>
                    <a:pt x="0" y="65913"/>
                  </a:lnTo>
                  <a:lnTo>
                    <a:pt x="571" y="35623"/>
                  </a:lnTo>
                  <a:lnTo>
                    <a:pt x="21241" y="44768"/>
                  </a:lnTo>
                  <a:lnTo>
                    <a:pt x="33623" y="32861"/>
                  </a:lnTo>
                  <a:lnTo>
                    <a:pt x="43434" y="26956"/>
                  </a:lnTo>
                  <a:lnTo>
                    <a:pt x="46768" y="27432"/>
                  </a:lnTo>
                  <a:lnTo>
                    <a:pt x="48958" y="27242"/>
                  </a:lnTo>
                  <a:lnTo>
                    <a:pt x="54197" y="25813"/>
                  </a:lnTo>
                  <a:lnTo>
                    <a:pt x="56102" y="26384"/>
                  </a:lnTo>
                  <a:lnTo>
                    <a:pt x="57531" y="28670"/>
                  </a:lnTo>
                  <a:lnTo>
                    <a:pt x="59626" y="31623"/>
                  </a:lnTo>
                  <a:lnTo>
                    <a:pt x="63246" y="34766"/>
                  </a:lnTo>
                  <a:lnTo>
                    <a:pt x="70675" y="36100"/>
                  </a:lnTo>
                  <a:lnTo>
                    <a:pt x="73057" y="34290"/>
                  </a:lnTo>
                  <a:lnTo>
                    <a:pt x="79629" y="31909"/>
                  </a:lnTo>
                  <a:lnTo>
                    <a:pt x="79058" y="28766"/>
                  </a:lnTo>
                  <a:lnTo>
                    <a:pt x="76200" y="25432"/>
                  </a:lnTo>
                  <a:lnTo>
                    <a:pt x="71342" y="18574"/>
                  </a:lnTo>
                  <a:lnTo>
                    <a:pt x="70961" y="15430"/>
                  </a:lnTo>
                  <a:lnTo>
                    <a:pt x="72866" y="13525"/>
                  </a:lnTo>
                  <a:lnTo>
                    <a:pt x="83248" y="14859"/>
                  </a:lnTo>
                  <a:lnTo>
                    <a:pt x="94202" y="14859"/>
                  </a:lnTo>
                  <a:lnTo>
                    <a:pt x="107633" y="8001"/>
                  </a:lnTo>
                  <a:lnTo>
                    <a:pt x="120396" y="0"/>
                  </a:lnTo>
                  <a:lnTo>
                    <a:pt x="124015" y="13716"/>
                  </a:lnTo>
                  <a:lnTo>
                    <a:pt x="134398" y="18288"/>
                  </a:lnTo>
                  <a:lnTo>
                    <a:pt x="136779" y="25146"/>
                  </a:lnTo>
                  <a:lnTo>
                    <a:pt x="151447" y="42196"/>
                  </a:lnTo>
                  <a:lnTo>
                    <a:pt x="155067" y="58102"/>
                  </a:lnTo>
                  <a:lnTo>
                    <a:pt x="168497" y="63818"/>
                  </a:lnTo>
                  <a:lnTo>
                    <a:pt x="183737" y="77438"/>
                  </a:lnTo>
                  <a:lnTo>
                    <a:pt x="194119" y="89916"/>
                  </a:lnTo>
                  <a:lnTo>
                    <a:pt x="191643" y="105823"/>
                  </a:lnTo>
                  <a:lnTo>
                    <a:pt x="193453" y="119444"/>
                  </a:lnTo>
                  <a:lnTo>
                    <a:pt x="194024" y="137636"/>
                  </a:lnTo>
                  <a:lnTo>
                    <a:pt x="199549" y="151257"/>
                  </a:lnTo>
                  <a:lnTo>
                    <a:pt x="201930" y="168593"/>
                  </a:lnTo>
                  <a:lnTo>
                    <a:pt x="204216" y="173069"/>
                  </a:lnTo>
                  <a:lnTo>
                    <a:pt x="203359" y="174117"/>
                  </a:lnTo>
                  <a:lnTo>
                    <a:pt x="199168" y="178118"/>
                  </a:lnTo>
                  <a:lnTo>
                    <a:pt x="201835" y="190310"/>
                  </a:lnTo>
                  <a:lnTo>
                    <a:pt x="201263" y="195072"/>
                  </a:lnTo>
                  <a:lnTo>
                    <a:pt x="199644" y="199644"/>
                  </a:lnTo>
                  <a:lnTo>
                    <a:pt x="199644" y="205073"/>
                  </a:lnTo>
                  <a:cubicBezTo>
                    <a:pt x="199644" y="205073"/>
                    <a:pt x="197263" y="208407"/>
                    <a:pt x="197263" y="208407"/>
                  </a:cubicBezTo>
                  <a:lnTo>
                    <a:pt x="185738" y="209074"/>
                  </a:lnTo>
                  <a:lnTo>
                    <a:pt x="182499" y="206312"/>
                  </a:lnTo>
                  <a:lnTo>
                    <a:pt x="176975" y="200216"/>
                  </a:lnTo>
                  <a:lnTo>
                    <a:pt x="174688" y="195834"/>
                  </a:lnTo>
                  <a:lnTo>
                    <a:pt x="172307" y="194405"/>
                  </a:lnTo>
                  <a:lnTo>
                    <a:pt x="163925" y="195739"/>
                  </a:lnTo>
                  <a:lnTo>
                    <a:pt x="152876" y="194881"/>
                  </a:lnTo>
                  <a:lnTo>
                    <a:pt x="139351" y="187547"/>
                  </a:lnTo>
                  <a:lnTo>
                    <a:pt x="128683" y="186404"/>
                  </a:lnTo>
                  <a:lnTo>
                    <a:pt x="123254" y="182690"/>
                  </a:lnTo>
                  <a:lnTo>
                    <a:pt x="118491" y="176689"/>
                  </a:lnTo>
                  <a:lnTo>
                    <a:pt x="108775" y="163544"/>
                  </a:lnTo>
                  <a:lnTo>
                    <a:pt x="101346" y="153734"/>
                  </a:lnTo>
                  <a:lnTo>
                    <a:pt x="101346" y="144113"/>
                  </a:lnTo>
                  <a:cubicBezTo>
                    <a:pt x="101346" y="144113"/>
                    <a:pt x="94488" y="129635"/>
                    <a:pt x="94488" y="129635"/>
                  </a:cubicBezTo>
                  <a:lnTo>
                    <a:pt x="84677" y="134684"/>
                  </a:lnTo>
                  <a:lnTo>
                    <a:pt x="77629" y="125825"/>
                  </a:lnTo>
                  <a:lnTo>
                    <a:pt x="80867" y="123253"/>
                  </a:lnTo>
                  <a:lnTo>
                    <a:pt x="80581" y="120682"/>
                  </a:lnTo>
                  <a:lnTo>
                    <a:pt x="78200" y="118110"/>
                  </a:lnTo>
                  <a:lnTo>
                    <a:pt x="72676" y="116776"/>
                  </a:lnTo>
                  <a:lnTo>
                    <a:pt x="67627" y="117443"/>
                  </a:lnTo>
                  <a:lnTo>
                    <a:pt x="65246" y="115729"/>
                  </a:lnTo>
                  <a:lnTo>
                    <a:pt x="64960" y="114491"/>
                  </a:lnTo>
                  <a:lnTo>
                    <a:pt x="66675" y="112586"/>
                  </a:lnTo>
                  <a:lnTo>
                    <a:pt x="66675" y="108109"/>
                  </a:lnTo>
                  <a:lnTo>
                    <a:pt x="64770" y="100203"/>
                  </a:lnTo>
                  <a:lnTo>
                    <a:pt x="55435" y="85725"/>
                  </a:lnTo>
                  <a:lnTo>
                    <a:pt x="48482" y="80677"/>
                  </a:lnTo>
                  <a:lnTo>
                    <a:pt x="40672" y="79439"/>
                  </a:lnTo>
                  <a:lnTo>
                    <a:pt x="20669" y="84868"/>
                  </a:lnTo>
                  <a:lnTo>
                    <a:pt x="14097" y="85344"/>
                  </a:lnTo>
                </a:path>
              </a:pathLst>
            </a:custGeom>
            <a:grpFill/>
            <a:ln w="2381" cap="sq">
              <a:noFill/>
              <a:prstDash val="solid"/>
              <a:bevel/>
            </a:ln>
          </p:spPr>
          <p:txBody>
            <a:bodyPr rtlCol="0" anchor="ctr"/>
            <a:lstStyle/>
            <a:p>
              <a:endParaRPr lang="cs-CZ"/>
            </a:p>
          </p:txBody>
        </p:sp>
        <p:sp>
          <p:nvSpPr>
            <p:cNvPr id="223" name="Freeform: Shape 222">
              <a:extLst>
                <a:ext uri="{FF2B5EF4-FFF2-40B4-BE49-F238E27FC236}">
                  <a16:creationId xmlns:a16="http://schemas.microsoft.com/office/drawing/2014/main" id="{A4AC5916-B029-6CEB-6BA7-C60680F7C128}"/>
                </a:ext>
              </a:extLst>
            </p:cNvPr>
            <p:cNvSpPr/>
            <p:nvPr/>
          </p:nvSpPr>
          <p:spPr>
            <a:xfrm>
              <a:off x="13835632" y="8104089"/>
              <a:ext cx="367188" cy="466248"/>
            </a:xfrm>
            <a:custGeom>
              <a:avLst/>
              <a:gdLst>
                <a:gd name="connsiteX0" fmla="*/ 60865 w 367188"/>
                <a:gd name="connsiteY0" fmla="*/ 0 h 466248"/>
                <a:gd name="connsiteX1" fmla="*/ 75533 w 367188"/>
                <a:gd name="connsiteY1" fmla="*/ 15335 h 466248"/>
                <a:gd name="connsiteX2" fmla="*/ 82486 w 367188"/>
                <a:gd name="connsiteY2" fmla="*/ 17907 h 466248"/>
                <a:gd name="connsiteX3" fmla="*/ 95536 w 367188"/>
                <a:gd name="connsiteY3" fmla="*/ 17526 h 466248"/>
                <a:gd name="connsiteX4" fmla="*/ 101251 w 367188"/>
                <a:gd name="connsiteY4" fmla="*/ 21241 h 466248"/>
                <a:gd name="connsiteX5" fmla="*/ 111252 w 367188"/>
                <a:gd name="connsiteY5" fmla="*/ 21907 h 466248"/>
                <a:gd name="connsiteX6" fmla="*/ 114967 w 367188"/>
                <a:gd name="connsiteY6" fmla="*/ 18383 h 466248"/>
                <a:gd name="connsiteX7" fmla="*/ 125921 w 367188"/>
                <a:gd name="connsiteY7" fmla="*/ 15621 h 466248"/>
                <a:gd name="connsiteX8" fmla="*/ 135922 w 367188"/>
                <a:gd name="connsiteY8" fmla="*/ 14669 h 466248"/>
                <a:gd name="connsiteX9" fmla="*/ 140494 w 367188"/>
                <a:gd name="connsiteY9" fmla="*/ 16383 h 466248"/>
                <a:gd name="connsiteX10" fmla="*/ 151257 w 367188"/>
                <a:gd name="connsiteY10" fmla="*/ 14097 h 466248"/>
                <a:gd name="connsiteX11" fmla="*/ 161163 w 367188"/>
                <a:gd name="connsiteY11" fmla="*/ 26575 h 466248"/>
                <a:gd name="connsiteX12" fmla="*/ 183356 w 367188"/>
                <a:gd name="connsiteY12" fmla="*/ 29813 h 466248"/>
                <a:gd name="connsiteX13" fmla="*/ 220980 w 367188"/>
                <a:gd name="connsiteY13" fmla="*/ 34385 h 466248"/>
                <a:gd name="connsiteX14" fmla="*/ 245840 w 367188"/>
                <a:gd name="connsiteY14" fmla="*/ 32861 h 466248"/>
                <a:gd name="connsiteX15" fmla="*/ 266033 w 367188"/>
                <a:gd name="connsiteY15" fmla="*/ 42100 h 466248"/>
                <a:gd name="connsiteX16" fmla="*/ 272129 w 367188"/>
                <a:gd name="connsiteY16" fmla="*/ 64198 h 466248"/>
                <a:gd name="connsiteX17" fmla="*/ 278035 w 367188"/>
                <a:gd name="connsiteY17" fmla="*/ 97822 h 466248"/>
                <a:gd name="connsiteX18" fmla="*/ 275654 w 367188"/>
                <a:gd name="connsiteY18" fmla="*/ 106775 h 466248"/>
                <a:gd name="connsiteX19" fmla="*/ 271748 w 367188"/>
                <a:gd name="connsiteY19" fmla="*/ 111442 h 466248"/>
                <a:gd name="connsiteX20" fmla="*/ 272415 w 367188"/>
                <a:gd name="connsiteY20" fmla="*/ 119253 h 466248"/>
                <a:gd name="connsiteX21" fmla="*/ 274130 w 367188"/>
                <a:gd name="connsiteY21" fmla="*/ 122682 h 466248"/>
                <a:gd name="connsiteX22" fmla="*/ 278702 w 367188"/>
                <a:gd name="connsiteY22" fmla="*/ 126301 h 466248"/>
                <a:gd name="connsiteX23" fmla="*/ 284036 w 367188"/>
                <a:gd name="connsiteY23" fmla="*/ 124587 h 466248"/>
                <a:gd name="connsiteX24" fmla="*/ 288131 w 367188"/>
                <a:gd name="connsiteY24" fmla="*/ 125254 h 466248"/>
                <a:gd name="connsiteX25" fmla="*/ 292989 w 367188"/>
                <a:gd name="connsiteY25" fmla="*/ 127444 h 466248"/>
                <a:gd name="connsiteX26" fmla="*/ 299466 w 367188"/>
                <a:gd name="connsiteY26" fmla="*/ 132207 h 466248"/>
                <a:gd name="connsiteX27" fmla="*/ 303371 w 367188"/>
                <a:gd name="connsiteY27" fmla="*/ 138113 h 466248"/>
                <a:gd name="connsiteX28" fmla="*/ 314515 w 367188"/>
                <a:gd name="connsiteY28" fmla="*/ 150400 h 466248"/>
                <a:gd name="connsiteX29" fmla="*/ 307181 w 367188"/>
                <a:gd name="connsiteY29" fmla="*/ 164401 h 466248"/>
                <a:gd name="connsiteX30" fmla="*/ 307181 w 367188"/>
                <a:gd name="connsiteY30" fmla="*/ 181165 h 466248"/>
                <a:gd name="connsiteX31" fmla="*/ 312230 w 367188"/>
                <a:gd name="connsiteY31" fmla="*/ 194596 h 466248"/>
                <a:gd name="connsiteX32" fmla="*/ 309181 w 367188"/>
                <a:gd name="connsiteY32" fmla="*/ 205359 h 466248"/>
                <a:gd name="connsiteX33" fmla="*/ 303181 w 367188"/>
                <a:gd name="connsiteY33" fmla="*/ 210026 h 466248"/>
                <a:gd name="connsiteX34" fmla="*/ 298228 w 367188"/>
                <a:gd name="connsiteY34" fmla="*/ 212598 h 466248"/>
                <a:gd name="connsiteX35" fmla="*/ 293084 w 367188"/>
                <a:gd name="connsiteY35" fmla="*/ 214217 h 466248"/>
                <a:gd name="connsiteX36" fmla="*/ 285940 w 367188"/>
                <a:gd name="connsiteY36" fmla="*/ 215074 h 466248"/>
                <a:gd name="connsiteX37" fmla="*/ 280797 w 367188"/>
                <a:gd name="connsiteY37" fmla="*/ 220123 h 466248"/>
                <a:gd name="connsiteX38" fmla="*/ 278035 w 367188"/>
                <a:gd name="connsiteY38" fmla="*/ 224314 h 466248"/>
                <a:gd name="connsiteX39" fmla="*/ 277749 w 367188"/>
                <a:gd name="connsiteY39" fmla="*/ 228600 h 466248"/>
                <a:gd name="connsiteX40" fmla="*/ 278130 w 367188"/>
                <a:gd name="connsiteY40" fmla="*/ 235172 h 466248"/>
                <a:gd name="connsiteX41" fmla="*/ 281369 w 367188"/>
                <a:gd name="connsiteY41" fmla="*/ 243269 h 466248"/>
                <a:gd name="connsiteX42" fmla="*/ 281749 w 367188"/>
                <a:gd name="connsiteY42" fmla="*/ 250412 h 466248"/>
                <a:gd name="connsiteX43" fmla="*/ 286512 w 367188"/>
                <a:gd name="connsiteY43" fmla="*/ 262890 h 466248"/>
                <a:gd name="connsiteX44" fmla="*/ 302609 w 367188"/>
                <a:gd name="connsiteY44" fmla="*/ 249936 h 466248"/>
                <a:gd name="connsiteX45" fmla="*/ 306324 w 367188"/>
                <a:gd name="connsiteY45" fmla="*/ 259842 h 466248"/>
                <a:gd name="connsiteX46" fmla="*/ 306324 w 367188"/>
                <a:gd name="connsiteY46" fmla="*/ 264986 h 466248"/>
                <a:gd name="connsiteX47" fmla="*/ 311087 w 367188"/>
                <a:gd name="connsiteY47" fmla="*/ 275082 h 466248"/>
                <a:gd name="connsiteX48" fmla="*/ 314992 w 367188"/>
                <a:gd name="connsiteY48" fmla="*/ 281559 h 466248"/>
                <a:gd name="connsiteX49" fmla="*/ 318135 w 367188"/>
                <a:gd name="connsiteY49" fmla="*/ 285274 h 466248"/>
                <a:gd name="connsiteX50" fmla="*/ 319088 w 367188"/>
                <a:gd name="connsiteY50" fmla="*/ 288036 h 466248"/>
                <a:gd name="connsiteX51" fmla="*/ 318706 w 367188"/>
                <a:gd name="connsiteY51" fmla="*/ 289846 h 466248"/>
                <a:gd name="connsiteX52" fmla="*/ 320802 w 367188"/>
                <a:gd name="connsiteY52" fmla="*/ 291846 h 466248"/>
                <a:gd name="connsiteX53" fmla="*/ 323183 w 367188"/>
                <a:gd name="connsiteY53" fmla="*/ 292132 h 466248"/>
                <a:gd name="connsiteX54" fmla="*/ 325279 w 367188"/>
                <a:gd name="connsiteY54" fmla="*/ 290798 h 466248"/>
                <a:gd name="connsiteX55" fmla="*/ 330708 w 367188"/>
                <a:gd name="connsiteY55" fmla="*/ 290608 h 466248"/>
                <a:gd name="connsiteX56" fmla="*/ 330137 w 367188"/>
                <a:gd name="connsiteY56" fmla="*/ 300133 h 466248"/>
                <a:gd name="connsiteX57" fmla="*/ 331565 w 367188"/>
                <a:gd name="connsiteY57" fmla="*/ 304419 h 466248"/>
                <a:gd name="connsiteX58" fmla="*/ 330994 w 367188"/>
                <a:gd name="connsiteY58" fmla="*/ 310515 h 466248"/>
                <a:gd name="connsiteX59" fmla="*/ 338042 w 367188"/>
                <a:gd name="connsiteY59" fmla="*/ 320135 h 466248"/>
                <a:gd name="connsiteX60" fmla="*/ 349663 w 367188"/>
                <a:gd name="connsiteY60" fmla="*/ 325088 h 466248"/>
                <a:gd name="connsiteX61" fmla="*/ 357283 w 367188"/>
                <a:gd name="connsiteY61" fmla="*/ 332994 h 466248"/>
                <a:gd name="connsiteX62" fmla="*/ 357283 w 367188"/>
                <a:gd name="connsiteY62" fmla="*/ 337185 h 466248"/>
                <a:gd name="connsiteX63" fmla="*/ 356330 w 367188"/>
                <a:gd name="connsiteY63" fmla="*/ 342424 h 466248"/>
                <a:gd name="connsiteX64" fmla="*/ 357378 w 367188"/>
                <a:gd name="connsiteY64" fmla="*/ 352901 h 466248"/>
                <a:gd name="connsiteX65" fmla="*/ 360807 w 367188"/>
                <a:gd name="connsiteY65" fmla="*/ 360235 h 466248"/>
                <a:gd name="connsiteX66" fmla="*/ 365474 w 367188"/>
                <a:gd name="connsiteY66" fmla="*/ 367855 h 466248"/>
                <a:gd name="connsiteX67" fmla="*/ 367189 w 367188"/>
                <a:gd name="connsiteY67" fmla="*/ 376714 h 466248"/>
                <a:gd name="connsiteX68" fmla="*/ 356045 w 367188"/>
                <a:gd name="connsiteY68" fmla="*/ 392239 h 466248"/>
                <a:gd name="connsiteX69" fmla="*/ 356045 w 367188"/>
                <a:gd name="connsiteY69" fmla="*/ 401669 h 466248"/>
                <a:gd name="connsiteX70" fmla="*/ 358902 w 367188"/>
                <a:gd name="connsiteY70" fmla="*/ 403193 h 466248"/>
                <a:gd name="connsiteX71" fmla="*/ 360712 w 367188"/>
                <a:gd name="connsiteY71" fmla="*/ 405098 h 466248"/>
                <a:gd name="connsiteX72" fmla="*/ 361283 w 367188"/>
                <a:gd name="connsiteY72" fmla="*/ 407289 h 466248"/>
                <a:gd name="connsiteX73" fmla="*/ 358235 w 367188"/>
                <a:gd name="connsiteY73" fmla="*/ 410909 h 466248"/>
                <a:gd name="connsiteX74" fmla="*/ 354711 w 367188"/>
                <a:gd name="connsiteY74" fmla="*/ 412718 h 466248"/>
                <a:gd name="connsiteX75" fmla="*/ 348520 w 367188"/>
                <a:gd name="connsiteY75" fmla="*/ 417671 h 466248"/>
                <a:gd name="connsiteX76" fmla="*/ 342233 w 367188"/>
                <a:gd name="connsiteY76" fmla="*/ 411004 h 466248"/>
                <a:gd name="connsiteX77" fmla="*/ 309753 w 367188"/>
                <a:gd name="connsiteY77" fmla="*/ 416242 h 466248"/>
                <a:gd name="connsiteX78" fmla="*/ 303371 w 367188"/>
                <a:gd name="connsiteY78" fmla="*/ 414052 h 466248"/>
                <a:gd name="connsiteX79" fmla="*/ 302038 w 367188"/>
                <a:gd name="connsiteY79" fmla="*/ 412147 h 466248"/>
                <a:gd name="connsiteX80" fmla="*/ 296894 w 367188"/>
                <a:gd name="connsiteY80" fmla="*/ 403098 h 466248"/>
                <a:gd name="connsiteX81" fmla="*/ 294227 w 367188"/>
                <a:gd name="connsiteY81" fmla="*/ 405670 h 466248"/>
                <a:gd name="connsiteX82" fmla="*/ 292513 w 367188"/>
                <a:gd name="connsiteY82" fmla="*/ 412051 h 466248"/>
                <a:gd name="connsiteX83" fmla="*/ 286798 w 367188"/>
                <a:gd name="connsiteY83" fmla="*/ 417100 h 466248"/>
                <a:gd name="connsiteX84" fmla="*/ 278987 w 367188"/>
                <a:gd name="connsiteY84" fmla="*/ 421386 h 466248"/>
                <a:gd name="connsiteX85" fmla="*/ 270415 w 367188"/>
                <a:gd name="connsiteY85" fmla="*/ 422434 h 466248"/>
                <a:gd name="connsiteX86" fmla="*/ 262699 w 367188"/>
                <a:gd name="connsiteY86" fmla="*/ 424910 h 466248"/>
                <a:gd name="connsiteX87" fmla="*/ 260128 w 367188"/>
                <a:gd name="connsiteY87" fmla="*/ 429292 h 466248"/>
                <a:gd name="connsiteX88" fmla="*/ 262890 w 367188"/>
                <a:gd name="connsiteY88" fmla="*/ 439293 h 466248"/>
                <a:gd name="connsiteX89" fmla="*/ 252317 w 367188"/>
                <a:gd name="connsiteY89" fmla="*/ 438436 h 466248"/>
                <a:gd name="connsiteX90" fmla="*/ 248888 w 367188"/>
                <a:gd name="connsiteY90" fmla="*/ 440817 h 466248"/>
                <a:gd name="connsiteX91" fmla="*/ 220504 w 367188"/>
                <a:gd name="connsiteY91" fmla="*/ 438626 h 466248"/>
                <a:gd name="connsiteX92" fmla="*/ 203740 w 367188"/>
                <a:gd name="connsiteY92" fmla="*/ 443675 h 466248"/>
                <a:gd name="connsiteX93" fmla="*/ 155924 w 367188"/>
                <a:gd name="connsiteY93" fmla="*/ 439960 h 466248"/>
                <a:gd name="connsiteX94" fmla="*/ 151733 w 367188"/>
                <a:gd name="connsiteY94" fmla="*/ 438245 h 466248"/>
                <a:gd name="connsiteX95" fmla="*/ 147256 w 367188"/>
                <a:gd name="connsiteY95" fmla="*/ 439864 h 466248"/>
                <a:gd name="connsiteX96" fmla="*/ 137541 w 367188"/>
                <a:gd name="connsiteY96" fmla="*/ 448627 h 466248"/>
                <a:gd name="connsiteX97" fmla="*/ 128397 w 367188"/>
                <a:gd name="connsiteY97" fmla="*/ 453390 h 466248"/>
                <a:gd name="connsiteX98" fmla="*/ 127349 w 367188"/>
                <a:gd name="connsiteY98" fmla="*/ 455295 h 466248"/>
                <a:gd name="connsiteX99" fmla="*/ 126587 w 367188"/>
                <a:gd name="connsiteY99" fmla="*/ 458343 h 466248"/>
                <a:gd name="connsiteX100" fmla="*/ 126873 w 367188"/>
                <a:gd name="connsiteY100" fmla="*/ 460058 h 466248"/>
                <a:gd name="connsiteX101" fmla="*/ 128206 w 367188"/>
                <a:gd name="connsiteY101" fmla="*/ 466249 h 466248"/>
                <a:gd name="connsiteX102" fmla="*/ 118872 w 367188"/>
                <a:gd name="connsiteY102" fmla="*/ 466249 h 466248"/>
                <a:gd name="connsiteX103" fmla="*/ 109728 w 367188"/>
                <a:gd name="connsiteY103" fmla="*/ 464439 h 466248"/>
                <a:gd name="connsiteX104" fmla="*/ 105727 w 367188"/>
                <a:gd name="connsiteY104" fmla="*/ 462629 h 466248"/>
                <a:gd name="connsiteX105" fmla="*/ 103346 w 367188"/>
                <a:gd name="connsiteY105" fmla="*/ 459772 h 466248"/>
                <a:gd name="connsiteX106" fmla="*/ 102013 w 367188"/>
                <a:gd name="connsiteY106" fmla="*/ 455200 h 466248"/>
                <a:gd name="connsiteX107" fmla="*/ 102489 w 367188"/>
                <a:gd name="connsiteY107" fmla="*/ 447199 h 466248"/>
                <a:gd name="connsiteX108" fmla="*/ 101917 w 367188"/>
                <a:gd name="connsiteY108" fmla="*/ 440436 h 466248"/>
                <a:gd name="connsiteX109" fmla="*/ 99822 w 367188"/>
                <a:gd name="connsiteY109" fmla="*/ 435102 h 466248"/>
                <a:gd name="connsiteX110" fmla="*/ 94679 w 367188"/>
                <a:gd name="connsiteY110" fmla="*/ 429006 h 466248"/>
                <a:gd name="connsiteX111" fmla="*/ 89154 w 367188"/>
                <a:gd name="connsiteY111" fmla="*/ 424529 h 466248"/>
                <a:gd name="connsiteX112" fmla="*/ 87439 w 367188"/>
                <a:gd name="connsiteY112" fmla="*/ 418909 h 466248"/>
                <a:gd name="connsiteX113" fmla="*/ 84010 w 367188"/>
                <a:gd name="connsiteY113" fmla="*/ 412337 h 466248"/>
                <a:gd name="connsiteX114" fmla="*/ 83058 w 367188"/>
                <a:gd name="connsiteY114" fmla="*/ 401574 h 466248"/>
                <a:gd name="connsiteX115" fmla="*/ 72771 w 367188"/>
                <a:gd name="connsiteY115" fmla="*/ 387001 h 466248"/>
                <a:gd name="connsiteX116" fmla="*/ 68580 w 367188"/>
                <a:gd name="connsiteY116" fmla="*/ 377380 h 466248"/>
                <a:gd name="connsiteX117" fmla="*/ 67532 w 367188"/>
                <a:gd name="connsiteY117" fmla="*/ 372809 h 466248"/>
                <a:gd name="connsiteX118" fmla="*/ 66675 w 367188"/>
                <a:gd name="connsiteY118" fmla="*/ 366713 h 466248"/>
                <a:gd name="connsiteX119" fmla="*/ 69247 w 367188"/>
                <a:gd name="connsiteY119" fmla="*/ 361950 h 466248"/>
                <a:gd name="connsiteX120" fmla="*/ 78962 w 367188"/>
                <a:gd name="connsiteY120" fmla="*/ 361664 h 466248"/>
                <a:gd name="connsiteX121" fmla="*/ 84963 w 367188"/>
                <a:gd name="connsiteY121" fmla="*/ 353663 h 466248"/>
                <a:gd name="connsiteX122" fmla="*/ 75343 w 367188"/>
                <a:gd name="connsiteY122" fmla="*/ 334327 h 466248"/>
                <a:gd name="connsiteX123" fmla="*/ 69628 w 367188"/>
                <a:gd name="connsiteY123" fmla="*/ 324802 h 466248"/>
                <a:gd name="connsiteX124" fmla="*/ 48577 w 367188"/>
                <a:gd name="connsiteY124" fmla="*/ 297561 h 466248"/>
                <a:gd name="connsiteX125" fmla="*/ 49530 w 367188"/>
                <a:gd name="connsiteY125" fmla="*/ 292513 h 466248"/>
                <a:gd name="connsiteX126" fmla="*/ 53435 w 367188"/>
                <a:gd name="connsiteY126" fmla="*/ 287846 h 466248"/>
                <a:gd name="connsiteX127" fmla="*/ 55245 w 367188"/>
                <a:gd name="connsiteY127" fmla="*/ 281940 h 466248"/>
                <a:gd name="connsiteX128" fmla="*/ 59436 w 367188"/>
                <a:gd name="connsiteY128" fmla="*/ 271939 h 466248"/>
                <a:gd name="connsiteX129" fmla="*/ 85439 w 367188"/>
                <a:gd name="connsiteY129" fmla="*/ 269653 h 466248"/>
                <a:gd name="connsiteX130" fmla="*/ 101536 w 367188"/>
                <a:gd name="connsiteY130" fmla="*/ 271463 h 466248"/>
                <a:gd name="connsiteX131" fmla="*/ 104584 w 367188"/>
                <a:gd name="connsiteY131" fmla="*/ 258699 h 466248"/>
                <a:gd name="connsiteX132" fmla="*/ 91535 w 367188"/>
                <a:gd name="connsiteY132" fmla="*/ 218503 h 466248"/>
                <a:gd name="connsiteX133" fmla="*/ 90488 w 367188"/>
                <a:gd name="connsiteY133" fmla="*/ 191071 h 466248"/>
                <a:gd name="connsiteX134" fmla="*/ 81439 w 367188"/>
                <a:gd name="connsiteY134" fmla="*/ 169069 h 466248"/>
                <a:gd name="connsiteX135" fmla="*/ 55245 w 367188"/>
                <a:gd name="connsiteY135" fmla="*/ 163544 h 466248"/>
                <a:gd name="connsiteX136" fmla="*/ 43148 w 367188"/>
                <a:gd name="connsiteY136" fmla="*/ 137922 h 466248"/>
                <a:gd name="connsiteX137" fmla="*/ 31051 w 367188"/>
                <a:gd name="connsiteY137" fmla="*/ 123253 h 466248"/>
                <a:gd name="connsiteX138" fmla="*/ 13906 w 367188"/>
                <a:gd name="connsiteY138" fmla="*/ 117729 h 466248"/>
                <a:gd name="connsiteX139" fmla="*/ 0 w 367188"/>
                <a:gd name="connsiteY139" fmla="*/ 106871 h 466248"/>
                <a:gd name="connsiteX140" fmla="*/ 4000 w 367188"/>
                <a:gd name="connsiteY140" fmla="*/ 88201 h 466248"/>
                <a:gd name="connsiteX141" fmla="*/ 52483 w 367188"/>
                <a:gd name="connsiteY141" fmla="*/ 9620 h 466248"/>
                <a:gd name="connsiteX142" fmla="*/ 60674 w 367188"/>
                <a:gd name="connsiteY142" fmla="*/ 286 h 466248"/>
                <a:gd name="connsiteX143" fmla="*/ 220504 w 367188"/>
                <a:gd name="connsiteY143" fmla="*/ 252603 h 466248"/>
                <a:gd name="connsiteX144" fmla="*/ 226886 w 367188"/>
                <a:gd name="connsiteY144" fmla="*/ 238411 h 466248"/>
                <a:gd name="connsiteX145" fmla="*/ 229076 w 367188"/>
                <a:gd name="connsiteY145" fmla="*/ 220409 h 466248"/>
                <a:gd name="connsiteX146" fmla="*/ 230791 w 367188"/>
                <a:gd name="connsiteY146" fmla="*/ 207550 h 466248"/>
                <a:gd name="connsiteX147" fmla="*/ 230124 w 367188"/>
                <a:gd name="connsiteY147" fmla="*/ 195929 h 466248"/>
                <a:gd name="connsiteX148" fmla="*/ 220980 w 367188"/>
                <a:gd name="connsiteY148" fmla="*/ 192024 h 466248"/>
                <a:gd name="connsiteX149" fmla="*/ 209264 w 367188"/>
                <a:gd name="connsiteY149" fmla="*/ 197263 h 466248"/>
                <a:gd name="connsiteX150" fmla="*/ 195358 w 367188"/>
                <a:gd name="connsiteY150" fmla="*/ 223933 h 466248"/>
                <a:gd name="connsiteX151" fmla="*/ 199358 w 367188"/>
                <a:gd name="connsiteY151" fmla="*/ 242221 h 466248"/>
                <a:gd name="connsiteX152" fmla="*/ 220504 w 367188"/>
                <a:gd name="connsiteY152" fmla="*/ 252603 h 466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367188" h="466248">
                  <a:moveTo>
                    <a:pt x="60865" y="0"/>
                  </a:moveTo>
                  <a:lnTo>
                    <a:pt x="75533" y="15335"/>
                  </a:lnTo>
                  <a:lnTo>
                    <a:pt x="82486" y="17907"/>
                  </a:lnTo>
                  <a:lnTo>
                    <a:pt x="95536" y="17526"/>
                  </a:lnTo>
                  <a:lnTo>
                    <a:pt x="101251" y="21241"/>
                  </a:lnTo>
                  <a:lnTo>
                    <a:pt x="111252" y="21907"/>
                  </a:lnTo>
                  <a:lnTo>
                    <a:pt x="114967" y="18383"/>
                  </a:lnTo>
                  <a:lnTo>
                    <a:pt x="125921" y="15621"/>
                  </a:lnTo>
                  <a:lnTo>
                    <a:pt x="135922" y="14669"/>
                  </a:lnTo>
                  <a:lnTo>
                    <a:pt x="140494" y="16383"/>
                  </a:lnTo>
                  <a:lnTo>
                    <a:pt x="151257" y="14097"/>
                  </a:lnTo>
                  <a:lnTo>
                    <a:pt x="161163" y="26575"/>
                  </a:lnTo>
                  <a:lnTo>
                    <a:pt x="183356" y="29813"/>
                  </a:lnTo>
                  <a:lnTo>
                    <a:pt x="220980" y="34385"/>
                  </a:lnTo>
                  <a:lnTo>
                    <a:pt x="245840" y="32861"/>
                  </a:lnTo>
                  <a:lnTo>
                    <a:pt x="266033" y="42100"/>
                  </a:lnTo>
                  <a:lnTo>
                    <a:pt x="272129" y="64198"/>
                  </a:lnTo>
                  <a:lnTo>
                    <a:pt x="278035" y="97822"/>
                  </a:lnTo>
                  <a:lnTo>
                    <a:pt x="275654" y="106775"/>
                  </a:lnTo>
                  <a:lnTo>
                    <a:pt x="271748" y="111442"/>
                  </a:lnTo>
                  <a:lnTo>
                    <a:pt x="272415" y="119253"/>
                  </a:lnTo>
                  <a:lnTo>
                    <a:pt x="274130" y="122682"/>
                  </a:lnTo>
                  <a:lnTo>
                    <a:pt x="278702" y="126301"/>
                  </a:lnTo>
                  <a:lnTo>
                    <a:pt x="284036" y="124587"/>
                  </a:lnTo>
                  <a:lnTo>
                    <a:pt x="288131" y="125254"/>
                  </a:lnTo>
                  <a:lnTo>
                    <a:pt x="292989" y="127444"/>
                  </a:lnTo>
                  <a:lnTo>
                    <a:pt x="299466" y="132207"/>
                  </a:lnTo>
                  <a:lnTo>
                    <a:pt x="303371" y="138113"/>
                  </a:lnTo>
                  <a:lnTo>
                    <a:pt x="314515" y="150400"/>
                  </a:lnTo>
                  <a:lnTo>
                    <a:pt x="307181" y="164401"/>
                  </a:lnTo>
                  <a:lnTo>
                    <a:pt x="307181" y="181165"/>
                  </a:lnTo>
                  <a:cubicBezTo>
                    <a:pt x="307181" y="181165"/>
                    <a:pt x="312230" y="194596"/>
                    <a:pt x="312230" y="194596"/>
                  </a:cubicBezTo>
                  <a:lnTo>
                    <a:pt x="309181" y="205359"/>
                  </a:lnTo>
                  <a:lnTo>
                    <a:pt x="303181" y="210026"/>
                  </a:lnTo>
                  <a:lnTo>
                    <a:pt x="298228" y="212598"/>
                  </a:lnTo>
                  <a:lnTo>
                    <a:pt x="293084" y="214217"/>
                  </a:lnTo>
                  <a:lnTo>
                    <a:pt x="285940" y="215074"/>
                  </a:lnTo>
                  <a:lnTo>
                    <a:pt x="280797" y="220123"/>
                  </a:lnTo>
                  <a:lnTo>
                    <a:pt x="278035" y="224314"/>
                  </a:lnTo>
                  <a:lnTo>
                    <a:pt x="277749" y="228600"/>
                  </a:lnTo>
                  <a:lnTo>
                    <a:pt x="278130" y="235172"/>
                  </a:lnTo>
                  <a:lnTo>
                    <a:pt x="281369" y="243269"/>
                  </a:lnTo>
                  <a:lnTo>
                    <a:pt x="281749" y="250412"/>
                  </a:lnTo>
                  <a:lnTo>
                    <a:pt x="286512" y="262890"/>
                  </a:lnTo>
                  <a:lnTo>
                    <a:pt x="302609" y="249936"/>
                  </a:lnTo>
                  <a:lnTo>
                    <a:pt x="306324" y="259842"/>
                  </a:lnTo>
                  <a:lnTo>
                    <a:pt x="306324" y="264986"/>
                  </a:lnTo>
                  <a:cubicBezTo>
                    <a:pt x="306324" y="264986"/>
                    <a:pt x="311087" y="275082"/>
                    <a:pt x="311087" y="275082"/>
                  </a:cubicBezTo>
                  <a:lnTo>
                    <a:pt x="314992" y="281559"/>
                  </a:lnTo>
                  <a:lnTo>
                    <a:pt x="318135" y="285274"/>
                  </a:lnTo>
                  <a:lnTo>
                    <a:pt x="319088" y="288036"/>
                  </a:lnTo>
                  <a:lnTo>
                    <a:pt x="318706" y="289846"/>
                  </a:lnTo>
                  <a:lnTo>
                    <a:pt x="320802" y="291846"/>
                  </a:lnTo>
                  <a:lnTo>
                    <a:pt x="323183" y="292132"/>
                  </a:lnTo>
                  <a:lnTo>
                    <a:pt x="325279" y="290798"/>
                  </a:lnTo>
                  <a:lnTo>
                    <a:pt x="330708" y="290608"/>
                  </a:lnTo>
                  <a:lnTo>
                    <a:pt x="330137" y="300133"/>
                  </a:lnTo>
                  <a:lnTo>
                    <a:pt x="331565" y="304419"/>
                  </a:lnTo>
                  <a:lnTo>
                    <a:pt x="330994" y="310515"/>
                  </a:lnTo>
                  <a:lnTo>
                    <a:pt x="338042" y="320135"/>
                  </a:lnTo>
                  <a:lnTo>
                    <a:pt x="349663" y="325088"/>
                  </a:lnTo>
                  <a:lnTo>
                    <a:pt x="357283" y="332994"/>
                  </a:lnTo>
                  <a:lnTo>
                    <a:pt x="357283" y="337185"/>
                  </a:lnTo>
                  <a:cubicBezTo>
                    <a:pt x="357283" y="337185"/>
                    <a:pt x="356330" y="342424"/>
                    <a:pt x="356330" y="342424"/>
                  </a:cubicBezTo>
                  <a:lnTo>
                    <a:pt x="357378" y="352901"/>
                  </a:lnTo>
                  <a:lnTo>
                    <a:pt x="360807" y="360235"/>
                  </a:lnTo>
                  <a:lnTo>
                    <a:pt x="365474" y="367855"/>
                  </a:lnTo>
                  <a:lnTo>
                    <a:pt x="367189" y="376714"/>
                  </a:lnTo>
                  <a:lnTo>
                    <a:pt x="356045" y="392239"/>
                  </a:lnTo>
                  <a:lnTo>
                    <a:pt x="356045" y="401669"/>
                  </a:lnTo>
                  <a:lnTo>
                    <a:pt x="358902" y="403193"/>
                  </a:lnTo>
                  <a:lnTo>
                    <a:pt x="360712" y="405098"/>
                  </a:lnTo>
                  <a:lnTo>
                    <a:pt x="361283" y="407289"/>
                  </a:lnTo>
                  <a:lnTo>
                    <a:pt x="358235" y="410909"/>
                  </a:lnTo>
                  <a:lnTo>
                    <a:pt x="354711" y="412718"/>
                  </a:lnTo>
                  <a:lnTo>
                    <a:pt x="348520" y="417671"/>
                  </a:lnTo>
                  <a:lnTo>
                    <a:pt x="342233" y="411004"/>
                  </a:lnTo>
                  <a:lnTo>
                    <a:pt x="309753" y="416242"/>
                  </a:lnTo>
                  <a:lnTo>
                    <a:pt x="303371" y="414052"/>
                  </a:lnTo>
                  <a:lnTo>
                    <a:pt x="302038" y="412147"/>
                  </a:lnTo>
                  <a:lnTo>
                    <a:pt x="296894" y="403098"/>
                  </a:lnTo>
                  <a:lnTo>
                    <a:pt x="294227" y="405670"/>
                  </a:lnTo>
                  <a:lnTo>
                    <a:pt x="292513" y="412051"/>
                  </a:lnTo>
                  <a:lnTo>
                    <a:pt x="286798" y="417100"/>
                  </a:lnTo>
                  <a:lnTo>
                    <a:pt x="278987" y="421386"/>
                  </a:lnTo>
                  <a:lnTo>
                    <a:pt x="270415" y="422434"/>
                  </a:lnTo>
                  <a:lnTo>
                    <a:pt x="262699" y="424910"/>
                  </a:lnTo>
                  <a:lnTo>
                    <a:pt x="260128" y="429292"/>
                  </a:lnTo>
                  <a:lnTo>
                    <a:pt x="262890" y="439293"/>
                  </a:lnTo>
                  <a:lnTo>
                    <a:pt x="252317" y="438436"/>
                  </a:lnTo>
                  <a:lnTo>
                    <a:pt x="248888" y="440817"/>
                  </a:lnTo>
                  <a:lnTo>
                    <a:pt x="220504" y="438626"/>
                  </a:lnTo>
                  <a:lnTo>
                    <a:pt x="203740" y="443675"/>
                  </a:lnTo>
                  <a:lnTo>
                    <a:pt x="155924" y="439960"/>
                  </a:lnTo>
                  <a:lnTo>
                    <a:pt x="151733" y="438245"/>
                  </a:lnTo>
                  <a:lnTo>
                    <a:pt x="147256" y="439864"/>
                  </a:lnTo>
                  <a:lnTo>
                    <a:pt x="137541" y="448627"/>
                  </a:lnTo>
                  <a:lnTo>
                    <a:pt x="128397" y="453390"/>
                  </a:lnTo>
                  <a:lnTo>
                    <a:pt x="127349" y="455295"/>
                  </a:lnTo>
                  <a:lnTo>
                    <a:pt x="126587" y="458343"/>
                  </a:lnTo>
                  <a:lnTo>
                    <a:pt x="126873" y="460058"/>
                  </a:lnTo>
                  <a:lnTo>
                    <a:pt x="128206" y="466249"/>
                  </a:lnTo>
                  <a:lnTo>
                    <a:pt x="118872" y="466249"/>
                  </a:lnTo>
                  <a:cubicBezTo>
                    <a:pt x="118872" y="466249"/>
                    <a:pt x="109728" y="464439"/>
                    <a:pt x="109728" y="464439"/>
                  </a:cubicBezTo>
                  <a:lnTo>
                    <a:pt x="105727" y="462629"/>
                  </a:lnTo>
                  <a:lnTo>
                    <a:pt x="103346" y="459772"/>
                  </a:lnTo>
                  <a:lnTo>
                    <a:pt x="102013" y="455200"/>
                  </a:lnTo>
                  <a:lnTo>
                    <a:pt x="102489" y="447199"/>
                  </a:lnTo>
                  <a:lnTo>
                    <a:pt x="101917" y="440436"/>
                  </a:lnTo>
                  <a:lnTo>
                    <a:pt x="99822" y="435102"/>
                  </a:lnTo>
                  <a:lnTo>
                    <a:pt x="94679" y="429006"/>
                  </a:lnTo>
                  <a:lnTo>
                    <a:pt x="89154" y="424529"/>
                  </a:lnTo>
                  <a:lnTo>
                    <a:pt x="87439" y="418909"/>
                  </a:lnTo>
                  <a:lnTo>
                    <a:pt x="84010" y="412337"/>
                  </a:lnTo>
                  <a:lnTo>
                    <a:pt x="83058" y="401574"/>
                  </a:lnTo>
                  <a:lnTo>
                    <a:pt x="72771" y="387001"/>
                  </a:lnTo>
                  <a:lnTo>
                    <a:pt x="68580" y="377380"/>
                  </a:lnTo>
                  <a:lnTo>
                    <a:pt x="67532" y="372809"/>
                  </a:lnTo>
                  <a:lnTo>
                    <a:pt x="66675" y="366713"/>
                  </a:lnTo>
                  <a:lnTo>
                    <a:pt x="69247" y="361950"/>
                  </a:lnTo>
                  <a:lnTo>
                    <a:pt x="78962" y="361664"/>
                  </a:lnTo>
                  <a:lnTo>
                    <a:pt x="84963" y="353663"/>
                  </a:lnTo>
                  <a:lnTo>
                    <a:pt x="75343" y="334327"/>
                  </a:lnTo>
                  <a:lnTo>
                    <a:pt x="69628" y="324802"/>
                  </a:lnTo>
                  <a:lnTo>
                    <a:pt x="48577" y="297561"/>
                  </a:lnTo>
                  <a:lnTo>
                    <a:pt x="49530" y="292513"/>
                  </a:lnTo>
                  <a:lnTo>
                    <a:pt x="53435" y="287846"/>
                  </a:lnTo>
                  <a:lnTo>
                    <a:pt x="55245" y="281940"/>
                  </a:lnTo>
                  <a:lnTo>
                    <a:pt x="59436" y="271939"/>
                  </a:lnTo>
                  <a:lnTo>
                    <a:pt x="85439" y="269653"/>
                  </a:lnTo>
                  <a:lnTo>
                    <a:pt x="101536" y="271463"/>
                  </a:lnTo>
                  <a:lnTo>
                    <a:pt x="104584" y="258699"/>
                  </a:lnTo>
                  <a:lnTo>
                    <a:pt x="91535" y="218503"/>
                  </a:lnTo>
                  <a:lnTo>
                    <a:pt x="90488" y="191071"/>
                  </a:lnTo>
                  <a:lnTo>
                    <a:pt x="81439" y="169069"/>
                  </a:lnTo>
                  <a:lnTo>
                    <a:pt x="55245" y="163544"/>
                  </a:lnTo>
                  <a:lnTo>
                    <a:pt x="43148" y="137922"/>
                  </a:lnTo>
                  <a:lnTo>
                    <a:pt x="31051" y="123253"/>
                  </a:lnTo>
                  <a:lnTo>
                    <a:pt x="13906" y="117729"/>
                  </a:lnTo>
                  <a:lnTo>
                    <a:pt x="0" y="106871"/>
                  </a:lnTo>
                  <a:lnTo>
                    <a:pt x="4000" y="88201"/>
                  </a:lnTo>
                  <a:lnTo>
                    <a:pt x="52483" y="9620"/>
                  </a:lnTo>
                  <a:lnTo>
                    <a:pt x="60674" y="286"/>
                  </a:lnTo>
                  <a:moveTo>
                    <a:pt x="220504" y="252603"/>
                  </a:moveTo>
                  <a:lnTo>
                    <a:pt x="226886" y="238411"/>
                  </a:lnTo>
                  <a:lnTo>
                    <a:pt x="229076" y="220409"/>
                  </a:lnTo>
                  <a:lnTo>
                    <a:pt x="230791" y="207550"/>
                  </a:lnTo>
                  <a:lnTo>
                    <a:pt x="230124" y="195929"/>
                  </a:lnTo>
                  <a:lnTo>
                    <a:pt x="220980" y="192024"/>
                  </a:lnTo>
                  <a:lnTo>
                    <a:pt x="209264" y="197263"/>
                  </a:lnTo>
                  <a:lnTo>
                    <a:pt x="195358" y="223933"/>
                  </a:lnTo>
                  <a:lnTo>
                    <a:pt x="199358" y="242221"/>
                  </a:lnTo>
                  <a:lnTo>
                    <a:pt x="220504" y="252603"/>
                  </a:lnTo>
                </a:path>
              </a:pathLst>
            </a:custGeom>
            <a:grpFill/>
            <a:ln w="2381" cap="sq">
              <a:noFill/>
              <a:prstDash val="solid"/>
              <a:bevel/>
            </a:ln>
          </p:spPr>
          <p:txBody>
            <a:bodyPr rtlCol="0" anchor="ctr"/>
            <a:lstStyle/>
            <a:p>
              <a:endParaRPr lang="cs-CZ"/>
            </a:p>
          </p:txBody>
        </p:sp>
        <p:sp>
          <p:nvSpPr>
            <p:cNvPr id="224" name="Freeform: Shape 223">
              <a:extLst>
                <a:ext uri="{FF2B5EF4-FFF2-40B4-BE49-F238E27FC236}">
                  <a16:creationId xmlns:a16="http://schemas.microsoft.com/office/drawing/2014/main" id="{8C17D296-8C19-42B2-5B01-81012844A6AE}"/>
                </a:ext>
              </a:extLst>
            </p:cNvPr>
            <p:cNvSpPr/>
            <p:nvPr/>
          </p:nvSpPr>
          <p:spPr>
            <a:xfrm>
              <a:off x="13337665" y="7783573"/>
              <a:ext cx="167639" cy="226885"/>
            </a:xfrm>
            <a:custGeom>
              <a:avLst/>
              <a:gdLst>
                <a:gd name="connsiteX0" fmla="*/ 98012 w 167639"/>
                <a:gd name="connsiteY0" fmla="*/ 2572 h 226885"/>
                <a:gd name="connsiteX1" fmla="*/ 101536 w 167639"/>
                <a:gd name="connsiteY1" fmla="*/ 762 h 226885"/>
                <a:gd name="connsiteX2" fmla="*/ 107632 w 167639"/>
                <a:gd name="connsiteY2" fmla="*/ 0 h 226885"/>
                <a:gd name="connsiteX3" fmla="*/ 104013 w 167639"/>
                <a:gd name="connsiteY3" fmla="*/ 16764 h 226885"/>
                <a:gd name="connsiteX4" fmla="*/ 100965 w 167639"/>
                <a:gd name="connsiteY4" fmla="*/ 24670 h 226885"/>
                <a:gd name="connsiteX5" fmla="*/ 97917 w 167639"/>
                <a:gd name="connsiteY5" fmla="*/ 47149 h 226885"/>
                <a:gd name="connsiteX6" fmla="*/ 108299 w 167639"/>
                <a:gd name="connsiteY6" fmla="*/ 57340 h 226885"/>
                <a:gd name="connsiteX7" fmla="*/ 105251 w 167639"/>
                <a:gd name="connsiteY7" fmla="*/ 78677 h 226885"/>
                <a:gd name="connsiteX8" fmla="*/ 109538 w 167639"/>
                <a:gd name="connsiteY8" fmla="*/ 89916 h 226885"/>
                <a:gd name="connsiteX9" fmla="*/ 121158 w 167639"/>
                <a:gd name="connsiteY9" fmla="*/ 103442 h 226885"/>
                <a:gd name="connsiteX10" fmla="*/ 134588 w 167639"/>
                <a:gd name="connsiteY10" fmla="*/ 113538 h 226885"/>
                <a:gd name="connsiteX11" fmla="*/ 143732 w 167639"/>
                <a:gd name="connsiteY11" fmla="*/ 113538 h 226885"/>
                <a:gd name="connsiteX12" fmla="*/ 151067 w 167639"/>
                <a:gd name="connsiteY12" fmla="*/ 130397 h 226885"/>
                <a:gd name="connsiteX13" fmla="*/ 167354 w 167639"/>
                <a:gd name="connsiteY13" fmla="*/ 130397 h 226885"/>
                <a:gd name="connsiteX14" fmla="*/ 161353 w 167639"/>
                <a:gd name="connsiteY14" fmla="*/ 149923 h 226885"/>
                <a:gd name="connsiteX15" fmla="*/ 160782 w 167639"/>
                <a:gd name="connsiteY15" fmla="*/ 156115 h 226885"/>
                <a:gd name="connsiteX16" fmla="*/ 158210 w 167639"/>
                <a:gd name="connsiteY16" fmla="*/ 164211 h 226885"/>
                <a:gd name="connsiteX17" fmla="*/ 157067 w 167639"/>
                <a:gd name="connsiteY17" fmla="*/ 173260 h 226885"/>
                <a:gd name="connsiteX18" fmla="*/ 156686 w 167639"/>
                <a:gd name="connsiteY18" fmla="*/ 181356 h 226885"/>
                <a:gd name="connsiteX19" fmla="*/ 160115 w 167639"/>
                <a:gd name="connsiteY19" fmla="*/ 190119 h 226885"/>
                <a:gd name="connsiteX20" fmla="*/ 162782 w 167639"/>
                <a:gd name="connsiteY20" fmla="*/ 195263 h 226885"/>
                <a:gd name="connsiteX21" fmla="*/ 166211 w 167639"/>
                <a:gd name="connsiteY21" fmla="*/ 200025 h 226885"/>
                <a:gd name="connsiteX22" fmla="*/ 167640 w 167639"/>
                <a:gd name="connsiteY22" fmla="*/ 205169 h 226885"/>
                <a:gd name="connsiteX23" fmla="*/ 166592 w 167639"/>
                <a:gd name="connsiteY23" fmla="*/ 213074 h 226885"/>
                <a:gd name="connsiteX24" fmla="*/ 165449 w 167639"/>
                <a:gd name="connsiteY24" fmla="*/ 217837 h 226885"/>
                <a:gd name="connsiteX25" fmla="*/ 153162 w 167639"/>
                <a:gd name="connsiteY25" fmla="*/ 225742 h 226885"/>
                <a:gd name="connsiteX26" fmla="*/ 140589 w 167639"/>
                <a:gd name="connsiteY26" fmla="*/ 226886 h 226885"/>
                <a:gd name="connsiteX27" fmla="*/ 139160 w 167639"/>
                <a:gd name="connsiteY27" fmla="*/ 224219 h 226885"/>
                <a:gd name="connsiteX28" fmla="*/ 137065 w 167639"/>
                <a:gd name="connsiteY28" fmla="*/ 221456 h 226885"/>
                <a:gd name="connsiteX29" fmla="*/ 135826 w 167639"/>
                <a:gd name="connsiteY29" fmla="*/ 218884 h 226885"/>
                <a:gd name="connsiteX30" fmla="*/ 134112 w 167639"/>
                <a:gd name="connsiteY30" fmla="*/ 216789 h 226885"/>
                <a:gd name="connsiteX31" fmla="*/ 132778 w 167639"/>
                <a:gd name="connsiteY31" fmla="*/ 214694 h 226885"/>
                <a:gd name="connsiteX32" fmla="*/ 131159 w 167639"/>
                <a:gd name="connsiteY32" fmla="*/ 212788 h 226885"/>
                <a:gd name="connsiteX33" fmla="*/ 128397 w 167639"/>
                <a:gd name="connsiteY33" fmla="*/ 210979 h 226885"/>
                <a:gd name="connsiteX34" fmla="*/ 124968 w 167639"/>
                <a:gd name="connsiteY34" fmla="*/ 209740 h 226885"/>
                <a:gd name="connsiteX35" fmla="*/ 118110 w 167639"/>
                <a:gd name="connsiteY35" fmla="*/ 210979 h 226885"/>
                <a:gd name="connsiteX36" fmla="*/ 114776 w 167639"/>
                <a:gd name="connsiteY36" fmla="*/ 213360 h 226885"/>
                <a:gd name="connsiteX37" fmla="*/ 111633 w 167639"/>
                <a:gd name="connsiteY37" fmla="*/ 213836 h 226885"/>
                <a:gd name="connsiteX38" fmla="*/ 107728 w 167639"/>
                <a:gd name="connsiteY38" fmla="*/ 212027 h 226885"/>
                <a:gd name="connsiteX39" fmla="*/ 102013 w 167639"/>
                <a:gd name="connsiteY39" fmla="*/ 205073 h 226885"/>
                <a:gd name="connsiteX40" fmla="*/ 91249 w 167639"/>
                <a:gd name="connsiteY40" fmla="*/ 201168 h 226885"/>
                <a:gd name="connsiteX41" fmla="*/ 82772 w 167639"/>
                <a:gd name="connsiteY41" fmla="*/ 204788 h 226885"/>
                <a:gd name="connsiteX42" fmla="*/ 79629 w 167639"/>
                <a:gd name="connsiteY42" fmla="*/ 210217 h 226885"/>
                <a:gd name="connsiteX43" fmla="*/ 53245 w 167639"/>
                <a:gd name="connsiteY43" fmla="*/ 226695 h 226885"/>
                <a:gd name="connsiteX44" fmla="*/ 54864 w 167639"/>
                <a:gd name="connsiteY44" fmla="*/ 218313 h 226885"/>
                <a:gd name="connsiteX45" fmla="*/ 57055 w 167639"/>
                <a:gd name="connsiteY45" fmla="*/ 211455 h 226885"/>
                <a:gd name="connsiteX46" fmla="*/ 56197 w 167639"/>
                <a:gd name="connsiteY46" fmla="*/ 207359 h 226885"/>
                <a:gd name="connsiteX47" fmla="*/ 56769 w 167639"/>
                <a:gd name="connsiteY47" fmla="*/ 205359 h 226885"/>
                <a:gd name="connsiteX48" fmla="*/ 56769 w 167639"/>
                <a:gd name="connsiteY48" fmla="*/ 204121 h 226885"/>
                <a:gd name="connsiteX49" fmla="*/ 55054 w 167639"/>
                <a:gd name="connsiteY49" fmla="*/ 204121 h 226885"/>
                <a:gd name="connsiteX50" fmla="*/ 42863 w 167639"/>
                <a:gd name="connsiteY50" fmla="*/ 211550 h 226885"/>
                <a:gd name="connsiteX51" fmla="*/ 34957 w 167639"/>
                <a:gd name="connsiteY51" fmla="*/ 213265 h 226885"/>
                <a:gd name="connsiteX52" fmla="*/ 28194 w 167639"/>
                <a:gd name="connsiteY52" fmla="*/ 213265 h 226885"/>
                <a:gd name="connsiteX53" fmla="*/ 9525 w 167639"/>
                <a:gd name="connsiteY53" fmla="*/ 203835 h 226885"/>
                <a:gd name="connsiteX54" fmla="*/ 4381 w 167639"/>
                <a:gd name="connsiteY54" fmla="*/ 204025 h 226885"/>
                <a:gd name="connsiteX55" fmla="*/ 6763 w 167639"/>
                <a:gd name="connsiteY55" fmla="*/ 194596 h 226885"/>
                <a:gd name="connsiteX56" fmla="*/ 0 w 167639"/>
                <a:gd name="connsiteY56" fmla="*/ 181165 h 226885"/>
                <a:gd name="connsiteX57" fmla="*/ 5524 w 167639"/>
                <a:gd name="connsiteY57" fmla="*/ 174403 h 226885"/>
                <a:gd name="connsiteX58" fmla="*/ 14097 w 167639"/>
                <a:gd name="connsiteY58" fmla="*/ 185642 h 226885"/>
                <a:gd name="connsiteX59" fmla="*/ 21431 w 167639"/>
                <a:gd name="connsiteY59" fmla="*/ 185642 h 226885"/>
                <a:gd name="connsiteX60" fmla="*/ 36671 w 167639"/>
                <a:gd name="connsiteY60" fmla="*/ 164306 h 226885"/>
                <a:gd name="connsiteX61" fmla="*/ 48292 w 167639"/>
                <a:gd name="connsiteY61" fmla="*/ 153067 h 226885"/>
                <a:gd name="connsiteX62" fmla="*/ 48863 w 167639"/>
                <a:gd name="connsiteY62" fmla="*/ 142970 h 226885"/>
                <a:gd name="connsiteX63" fmla="*/ 39719 w 167639"/>
                <a:gd name="connsiteY63" fmla="*/ 121634 h 226885"/>
                <a:gd name="connsiteX64" fmla="*/ 28099 w 167639"/>
                <a:gd name="connsiteY64" fmla="*/ 119348 h 226885"/>
                <a:gd name="connsiteX65" fmla="*/ 18955 w 167639"/>
                <a:gd name="connsiteY65" fmla="*/ 112586 h 226885"/>
                <a:gd name="connsiteX66" fmla="*/ 27527 w 167639"/>
                <a:gd name="connsiteY66" fmla="*/ 94583 h 226885"/>
                <a:gd name="connsiteX67" fmla="*/ 31147 w 167639"/>
                <a:gd name="connsiteY67" fmla="*/ 77724 h 226885"/>
                <a:gd name="connsiteX68" fmla="*/ 32385 w 167639"/>
                <a:gd name="connsiteY68" fmla="*/ 54102 h 226885"/>
                <a:gd name="connsiteX69" fmla="*/ 26289 w 167639"/>
                <a:gd name="connsiteY69" fmla="*/ 40577 h 226885"/>
                <a:gd name="connsiteX70" fmla="*/ 32385 w 167639"/>
                <a:gd name="connsiteY70" fmla="*/ 30385 h 226885"/>
                <a:gd name="connsiteX71" fmla="*/ 41529 w 167639"/>
                <a:gd name="connsiteY71" fmla="*/ 22479 h 226885"/>
                <a:gd name="connsiteX72" fmla="*/ 42100 w 167639"/>
                <a:gd name="connsiteY72" fmla="*/ 10096 h 226885"/>
                <a:gd name="connsiteX73" fmla="*/ 56769 w 167639"/>
                <a:gd name="connsiteY73" fmla="*/ 10096 h 226885"/>
                <a:gd name="connsiteX74" fmla="*/ 68961 w 167639"/>
                <a:gd name="connsiteY74" fmla="*/ 3334 h 226885"/>
                <a:gd name="connsiteX75" fmla="*/ 84201 w 167639"/>
                <a:gd name="connsiteY75" fmla="*/ 8953 h 226885"/>
                <a:gd name="connsiteX76" fmla="*/ 98298 w 167639"/>
                <a:gd name="connsiteY76" fmla="*/ 2667 h 226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67639" h="226885">
                  <a:moveTo>
                    <a:pt x="98012" y="2572"/>
                  </a:moveTo>
                  <a:lnTo>
                    <a:pt x="101536" y="762"/>
                  </a:lnTo>
                  <a:lnTo>
                    <a:pt x="107632" y="0"/>
                  </a:lnTo>
                  <a:lnTo>
                    <a:pt x="104013" y="16764"/>
                  </a:lnTo>
                  <a:lnTo>
                    <a:pt x="100965" y="24670"/>
                  </a:lnTo>
                  <a:lnTo>
                    <a:pt x="97917" y="47149"/>
                  </a:lnTo>
                  <a:lnTo>
                    <a:pt x="108299" y="57340"/>
                  </a:lnTo>
                  <a:lnTo>
                    <a:pt x="105251" y="78677"/>
                  </a:lnTo>
                  <a:lnTo>
                    <a:pt x="109538" y="89916"/>
                  </a:lnTo>
                  <a:lnTo>
                    <a:pt x="121158" y="103442"/>
                  </a:lnTo>
                  <a:lnTo>
                    <a:pt x="134588" y="113538"/>
                  </a:lnTo>
                  <a:lnTo>
                    <a:pt x="143732" y="113538"/>
                  </a:lnTo>
                  <a:lnTo>
                    <a:pt x="151067" y="130397"/>
                  </a:lnTo>
                  <a:lnTo>
                    <a:pt x="167354" y="130397"/>
                  </a:lnTo>
                  <a:cubicBezTo>
                    <a:pt x="167354" y="130397"/>
                    <a:pt x="161353" y="149923"/>
                    <a:pt x="161353" y="149923"/>
                  </a:cubicBezTo>
                  <a:lnTo>
                    <a:pt x="160782" y="156115"/>
                  </a:lnTo>
                  <a:lnTo>
                    <a:pt x="158210" y="164211"/>
                  </a:lnTo>
                  <a:lnTo>
                    <a:pt x="157067" y="173260"/>
                  </a:lnTo>
                  <a:lnTo>
                    <a:pt x="156686" y="181356"/>
                  </a:lnTo>
                  <a:lnTo>
                    <a:pt x="160115" y="190119"/>
                  </a:lnTo>
                  <a:lnTo>
                    <a:pt x="162782" y="195263"/>
                  </a:lnTo>
                  <a:lnTo>
                    <a:pt x="166211" y="200025"/>
                  </a:lnTo>
                  <a:lnTo>
                    <a:pt x="167640" y="205169"/>
                  </a:lnTo>
                  <a:lnTo>
                    <a:pt x="166592" y="213074"/>
                  </a:lnTo>
                  <a:lnTo>
                    <a:pt x="165449" y="217837"/>
                  </a:lnTo>
                  <a:lnTo>
                    <a:pt x="153162" y="225742"/>
                  </a:lnTo>
                  <a:lnTo>
                    <a:pt x="140589" y="226886"/>
                  </a:lnTo>
                  <a:lnTo>
                    <a:pt x="139160" y="224219"/>
                  </a:lnTo>
                  <a:lnTo>
                    <a:pt x="137065" y="221456"/>
                  </a:lnTo>
                  <a:lnTo>
                    <a:pt x="135826" y="218884"/>
                  </a:lnTo>
                  <a:lnTo>
                    <a:pt x="134112" y="216789"/>
                  </a:lnTo>
                  <a:lnTo>
                    <a:pt x="132778" y="214694"/>
                  </a:lnTo>
                  <a:lnTo>
                    <a:pt x="131159" y="212788"/>
                  </a:lnTo>
                  <a:lnTo>
                    <a:pt x="128397" y="210979"/>
                  </a:lnTo>
                  <a:lnTo>
                    <a:pt x="124968" y="209740"/>
                  </a:lnTo>
                  <a:lnTo>
                    <a:pt x="118110" y="210979"/>
                  </a:lnTo>
                  <a:lnTo>
                    <a:pt x="114776" y="213360"/>
                  </a:lnTo>
                  <a:lnTo>
                    <a:pt x="111633" y="213836"/>
                  </a:lnTo>
                  <a:lnTo>
                    <a:pt x="107728" y="212027"/>
                  </a:lnTo>
                  <a:lnTo>
                    <a:pt x="102013" y="205073"/>
                  </a:lnTo>
                  <a:lnTo>
                    <a:pt x="91249" y="201168"/>
                  </a:lnTo>
                  <a:lnTo>
                    <a:pt x="82772" y="204788"/>
                  </a:lnTo>
                  <a:lnTo>
                    <a:pt x="79629" y="210217"/>
                  </a:lnTo>
                  <a:lnTo>
                    <a:pt x="53245" y="226695"/>
                  </a:lnTo>
                  <a:lnTo>
                    <a:pt x="54864" y="218313"/>
                  </a:lnTo>
                  <a:lnTo>
                    <a:pt x="57055" y="211455"/>
                  </a:lnTo>
                  <a:lnTo>
                    <a:pt x="56197" y="207359"/>
                  </a:lnTo>
                  <a:lnTo>
                    <a:pt x="56769" y="205359"/>
                  </a:lnTo>
                  <a:lnTo>
                    <a:pt x="56769" y="204121"/>
                  </a:lnTo>
                  <a:lnTo>
                    <a:pt x="55054" y="204121"/>
                  </a:lnTo>
                  <a:cubicBezTo>
                    <a:pt x="55054" y="204121"/>
                    <a:pt x="42863" y="211550"/>
                    <a:pt x="42863" y="211550"/>
                  </a:cubicBezTo>
                  <a:lnTo>
                    <a:pt x="34957" y="213265"/>
                  </a:lnTo>
                  <a:lnTo>
                    <a:pt x="28194" y="213265"/>
                  </a:lnTo>
                  <a:cubicBezTo>
                    <a:pt x="28194" y="213265"/>
                    <a:pt x="9525" y="203835"/>
                    <a:pt x="9525" y="203835"/>
                  </a:cubicBezTo>
                  <a:lnTo>
                    <a:pt x="4381" y="204025"/>
                  </a:lnTo>
                  <a:lnTo>
                    <a:pt x="6763" y="194596"/>
                  </a:lnTo>
                  <a:lnTo>
                    <a:pt x="0" y="181165"/>
                  </a:lnTo>
                  <a:lnTo>
                    <a:pt x="5524" y="174403"/>
                  </a:lnTo>
                  <a:lnTo>
                    <a:pt x="14097" y="185642"/>
                  </a:lnTo>
                  <a:lnTo>
                    <a:pt x="21431" y="185642"/>
                  </a:lnTo>
                  <a:lnTo>
                    <a:pt x="36671" y="164306"/>
                  </a:lnTo>
                  <a:lnTo>
                    <a:pt x="48292" y="153067"/>
                  </a:lnTo>
                  <a:lnTo>
                    <a:pt x="48863" y="142970"/>
                  </a:lnTo>
                  <a:lnTo>
                    <a:pt x="39719" y="121634"/>
                  </a:lnTo>
                  <a:lnTo>
                    <a:pt x="28099" y="119348"/>
                  </a:lnTo>
                  <a:lnTo>
                    <a:pt x="18955" y="112586"/>
                  </a:lnTo>
                  <a:lnTo>
                    <a:pt x="27527" y="94583"/>
                  </a:lnTo>
                  <a:lnTo>
                    <a:pt x="31147" y="77724"/>
                  </a:lnTo>
                  <a:lnTo>
                    <a:pt x="32385" y="54102"/>
                  </a:lnTo>
                  <a:lnTo>
                    <a:pt x="26289" y="40577"/>
                  </a:lnTo>
                  <a:lnTo>
                    <a:pt x="32385" y="30385"/>
                  </a:lnTo>
                  <a:lnTo>
                    <a:pt x="41529" y="22479"/>
                  </a:lnTo>
                  <a:lnTo>
                    <a:pt x="42100" y="10096"/>
                  </a:lnTo>
                  <a:lnTo>
                    <a:pt x="56769" y="10096"/>
                  </a:lnTo>
                  <a:lnTo>
                    <a:pt x="68961" y="3334"/>
                  </a:lnTo>
                  <a:lnTo>
                    <a:pt x="84201" y="8953"/>
                  </a:lnTo>
                  <a:lnTo>
                    <a:pt x="98298" y="2667"/>
                  </a:lnTo>
                </a:path>
              </a:pathLst>
            </a:custGeom>
            <a:grpFill/>
            <a:ln w="2381" cap="sq">
              <a:noFill/>
              <a:prstDash val="solid"/>
              <a:bevel/>
            </a:ln>
          </p:spPr>
          <p:txBody>
            <a:bodyPr rtlCol="0" anchor="ctr"/>
            <a:lstStyle/>
            <a:p>
              <a:endParaRPr lang="cs-CZ"/>
            </a:p>
          </p:txBody>
        </p:sp>
        <p:sp>
          <p:nvSpPr>
            <p:cNvPr id="225" name="Freeform: Shape 224">
              <a:extLst>
                <a:ext uri="{FF2B5EF4-FFF2-40B4-BE49-F238E27FC236}">
                  <a16:creationId xmlns:a16="http://schemas.microsoft.com/office/drawing/2014/main" id="{8126F7C0-88B7-021A-A5BC-C8E25B88042B}"/>
                </a:ext>
              </a:extLst>
            </p:cNvPr>
            <p:cNvSpPr/>
            <p:nvPr/>
          </p:nvSpPr>
          <p:spPr>
            <a:xfrm>
              <a:off x="13344809" y="7649365"/>
              <a:ext cx="94106" cy="144303"/>
            </a:xfrm>
            <a:custGeom>
              <a:avLst/>
              <a:gdLst>
                <a:gd name="connsiteX0" fmla="*/ 56959 w 94106"/>
                <a:gd name="connsiteY0" fmla="*/ 0 h 144303"/>
                <a:gd name="connsiteX1" fmla="*/ 60484 w 94106"/>
                <a:gd name="connsiteY1" fmla="*/ 8763 h 144303"/>
                <a:gd name="connsiteX2" fmla="*/ 78772 w 94106"/>
                <a:gd name="connsiteY2" fmla="*/ 46006 h 144303"/>
                <a:gd name="connsiteX3" fmla="*/ 75247 w 94106"/>
                <a:gd name="connsiteY3" fmla="*/ 58483 h 144303"/>
                <a:gd name="connsiteX4" fmla="*/ 82010 w 94106"/>
                <a:gd name="connsiteY4" fmla="*/ 74676 h 144303"/>
                <a:gd name="connsiteX5" fmla="*/ 93440 w 94106"/>
                <a:gd name="connsiteY5" fmla="*/ 91726 h 144303"/>
                <a:gd name="connsiteX6" fmla="*/ 94107 w 94106"/>
                <a:gd name="connsiteY6" fmla="*/ 97536 h 144303"/>
                <a:gd name="connsiteX7" fmla="*/ 88963 w 94106"/>
                <a:gd name="connsiteY7" fmla="*/ 99917 h 144303"/>
                <a:gd name="connsiteX8" fmla="*/ 87630 w 94106"/>
                <a:gd name="connsiteY8" fmla="*/ 104966 h 144303"/>
                <a:gd name="connsiteX9" fmla="*/ 88487 w 94106"/>
                <a:gd name="connsiteY9" fmla="*/ 109538 h 144303"/>
                <a:gd name="connsiteX10" fmla="*/ 86201 w 94106"/>
                <a:gd name="connsiteY10" fmla="*/ 121444 h 144303"/>
                <a:gd name="connsiteX11" fmla="*/ 87725 w 94106"/>
                <a:gd name="connsiteY11" fmla="*/ 130016 h 144303"/>
                <a:gd name="connsiteX12" fmla="*/ 90964 w 94106"/>
                <a:gd name="connsiteY12" fmla="*/ 136874 h 144303"/>
                <a:gd name="connsiteX13" fmla="*/ 76867 w 94106"/>
                <a:gd name="connsiteY13" fmla="*/ 143161 h 144303"/>
                <a:gd name="connsiteX14" fmla="*/ 61627 w 94106"/>
                <a:gd name="connsiteY14" fmla="*/ 137541 h 144303"/>
                <a:gd name="connsiteX15" fmla="*/ 49435 w 94106"/>
                <a:gd name="connsiteY15" fmla="*/ 144304 h 144303"/>
                <a:gd name="connsiteX16" fmla="*/ 34766 w 94106"/>
                <a:gd name="connsiteY16" fmla="*/ 144304 h 144303"/>
                <a:gd name="connsiteX17" fmla="*/ 33528 w 94106"/>
                <a:gd name="connsiteY17" fmla="*/ 129635 h 144303"/>
                <a:gd name="connsiteX18" fmla="*/ 26194 w 94106"/>
                <a:gd name="connsiteY18" fmla="*/ 121729 h 144303"/>
                <a:gd name="connsiteX19" fmla="*/ 17050 w 94106"/>
                <a:gd name="connsiteY19" fmla="*/ 114967 h 144303"/>
                <a:gd name="connsiteX20" fmla="*/ 14002 w 94106"/>
                <a:gd name="connsiteY20" fmla="*/ 103632 h 144303"/>
                <a:gd name="connsiteX21" fmla="*/ 8477 w 94106"/>
                <a:gd name="connsiteY21" fmla="*/ 91249 h 144303"/>
                <a:gd name="connsiteX22" fmla="*/ 571 w 94106"/>
                <a:gd name="connsiteY22" fmla="*/ 85630 h 144303"/>
                <a:gd name="connsiteX23" fmla="*/ 0 w 94106"/>
                <a:gd name="connsiteY23" fmla="*/ 75438 h 144303"/>
                <a:gd name="connsiteX24" fmla="*/ 13430 w 94106"/>
                <a:gd name="connsiteY24" fmla="*/ 62960 h 144303"/>
                <a:gd name="connsiteX25" fmla="*/ 25051 w 94106"/>
                <a:gd name="connsiteY25" fmla="*/ 60674 h 144303"/>
                <a:gd name="connsiteX26" fmla="*/ 35433 w 94106"/>
                <a:gd name="connsiteY26" fmla="*/ 62960 h 144303"/>
                <a:gd name="connsiteX27" fmla="*/ 36671 w 94106"/>
                <a:gd name="connsiteY27" fmla="*/ 49435 h 144303"/>
                <a:gd name="connsiteX28" fmla="*/ 44577 w 94106"/>
                <a:gd name="connsiteY28" fmla="*/ 42672 h 144303"/>
                <a:gd name="connsiteX29" fmla="*/ 53721 w 94106"/>
                <a:gd name="connsiteY29" fmla="*/ 17717 h 144303"/>
                <a:gd name="connsiteX30" fmla="*/ 57055 w 94106"/>
                <a:gd name="connsiteY30" fmla="*/ 0 h 144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4106" h="144303">
                  <a:moveTo>
                    <a:pt x="56959" y="0"/>
                  </a:moveTo>
                  <a:lnTo>
                    <a:pt x="60484" y="8763"/>
                  </a:lnTo>
                  <a:lnTo>
                    <a:pt x="78772" y="46006"/>
                  </a:lnTo>
                  <a:lnTo>
                    <a:pt x="75247" y="58483"/>
                  </a:lnTo>
                  <a:lnTo>
                    <a:pt x="82010" y="74676"/>
                  </a:lnTo>
                  <a:lnTo>
                    <a:pt x="93440" y="91726"/>
                  </a:lnTo>
                  <a:lnTo>
                    <a:pt x="94107" y="97536"/>
                  </a:lnTo>
                  <a:lnTo>
                    <a:pt x="88963" y="99917"/>
                  </a:lnTo>
                  <a:lnTo>
                    <a:pt x="87630" y="104966"/>
                  </a:lnTo>
                  <a:lnTo>
                    <a:pt x="88487" y="109538"/>
                  </a:lnTo>
                  <a:lnTo>
                    <a:pt x="86201" y="121444"/>
                  </a:lnTo>
                  <a:lnTo>
                    <a:pt x="87725" y="130016"/>
                  </a:lnTo>
                  <a:lnTo>
                    <a:pt x="90964" y="136874"/>
                  </a:lnTo>
                  <a:lnTo>
                    <a:pt x="76867" y="143161"/>
                  </a:lnTo>
                  <a:lnTo>
                    <a:pt x="61627" y="137541"/>
                  </a:lnTo>
                  <a:lnTo>
                    <a:pt x="49435" y="144304"/>
                  </a:lnTo>
                  <a:lnTo>
                    <a:pt x="34766" y="144304"/>
                  </a:lnTo>
                  <a:lnTo>
                    <a:pt x="33528" y="129635"/>
                  </a:lnTo>
                  <a:lnTo>
                    <a:pt x="26194" y="121729"/>
                  </a:lnTo>
                  <a:lnTo>
                    <a:pt x="17050" y="114967"/>
                  </a:lnTo>
                  <a:lnTo>
                    <a:pt x="14002" y="103632"/>
                  </a:lnTo>
                  <a:lnTo>
                    <a:pt x="8477" y="91249"/>
                  </a:lnTo>
                  <a:lnTo>
                    <a:pt x="571" y="85630"/>
                  </a:lnTo>
                  <a:lnTo>
                    <a:pt x="0" y="75438"/>
                  </a:lnTo>
                  <a:lnTo>
                    <a:pt x="13430" y="62960"/>
                  </a:lnTo>
                  <a:lnTo>
                    <a:pt x="25051" y="60674"/>
                  </a:lnTo>
                  <a:lnTo>
                    <a:pt x="35433" y="62960"/>
                  </a:lnTo>
                  <a:lnTo>
                    <a:pt x="36671" y="49435"/>
                  </a:lnTo>
                  <a:lnTo>
                    <a:pt x="44577" y="42672"/>
                  </a:lnTo>
                  <a:lnTo>
                    <a:pt x="53721" y="17717"/>
                  </a:lnTo>
                  <a:lnTo>
                    <a:pt x="57055" y="0"/>
                  </a:lnTo>
                </a:path>
              </a:pathLst>
            </a:custGeom>
            <a:grpFill/>
            <a:ln w="2381" cap="sq">
              <a:noFill/>
              <a:prstDash val="solid"/>
              <a:bevel/>
            </a:ln>
          </p:spPr>
          <p:txBody>
            <a:bodyPr rtlCol="0" anchor="ctr"/>
            <a:lstStyle/>
            <a:p>
              <a:endParaRPr lang="cs-CZ"/>
            </a:p>
          </p:txBody>
        </p:sp>
        <p:sp>
          <p:nvSpPr>
            <p:cNvPr id="226" name="Freeform: Shape 225">
              <a:extLst>
                <a:ext uri="{FF2B5EF4-FFF2-40B4-BE49-F238E27FC236}">
                  <a16:creationId xmlns:a16="http://schemas.microsoft.com/office/drawing/2014/main" id="{DC166ABF-98A9-B97C-0012-303BBDE52010}"/>
                </a:ext>
              </a:extLst>
            </p:cNvPr>
            <p:cNvSpPr/>
            <p:nvPr/>
          </p:nvSpPr>
          <p:spPr>
            <a:xfrm>
              <a:off x="13435677" y="7775476"/>
              <a:ext cx="122110" cy="75723"/>
            </a:xfrm>
            <a:custGeom>
              <a:avLst/>
              <a:gdLst>
                <a:gd name="connsiteX0" fmla="*/ 96012 w 122110"/>
                <a:gd name="connsiteY0" fmla="*/ 0 h 75723"/>
                <a:gd name="connsiteX1" fmla="*/ 104299 w 122110"/>
                <a:gd name="connsiteY1" fmla="*/ 1619 h 75723"/>
                <a:gd name="connsiteX2" fmla="*/ 110109 w 122110"/>
                <a:gd name="connsiteY2" fmla="*/ 6096 h 75723"/>
                <a:gd name="connsiteX3" fmla="*/ 116300 w 122110"/>
                <a:gd name="connsiteY3" fmla="*/ 7334 h 75723"/>
                <a:gd name="connsiteX4" fmla="*/ 122111 w 122110"/>
                <a:gd name="connsiteY4" fmla="*/ 17907 h 75723"/>
                <a:gd name="connsiteX5" fmla="*/ 122111 w 122110"/>
                <a:gd name="connsiteY5" fmla="*/ 28004 h 75723"/>
                <a:gd name="connsiteX6" fmla="*/ 118396 w 122110"/>
                <a:gd name="connsiteY6" fmla="*/ 28956 h 75723"/>
                <a:gd name="connsiteX7" fmla="*/ 104870 w 122110"/>
                <a:gd name="connsiteY7" fmla="*/ 28956 h 75723"/>
                <a:gd name="connsiteX8" fmla="*/ 102584 w 122110"/>
                <a:gd name="connsiteY8" fmla="*/ 31337 h 75723"/>
                <a:gd name="connsiteX9" fmla="*/ 100870 w 122110"/>
                <a:gd name="connsiteY9" fmla="*/ 33433 h 75723"/>
                <a:gd name="connsiteX10" fmla="*/ 104489 w 122110"/>
                <a:gd name="connsiteY10" fmla="*/ 49816 h 75723"/>
                <a:gd name="connsiteX11" fmla="*/ 95059 w 122110"/>
                <a:gd name="connsiteY11" fmla="*/ 60007 h 75723"/>
                <a:gd name="connsiteX12" fmla="*/ 78010 w 122110"/>
                <a:gd name="connsiteY12" fmla="*/ 71247 h 75723"/>
                <a:gd name="connsiteX13" fmla="*/ 57912 w 122110"/>
                <a:gd name="connsiteY13" fmla="*/ 75724 h 75723"/>
                <a:gd name="connsiteX14" fmla="*/ 48196 w 122110"/>
                <a:gd name="connsiteY14" fmla="*/ 75724 h 75723"/>
                <a:gd name="connsiteX15" fmla="*/ 40862 w 122110"/>
                <a:gd name="connsiteY15" fmla="*/ 67818 h 75723"/>
                <a:gd name="connsiteX16" fmla="*/ 28670 w 122110"/>
                <a:gd name="connsiteY16" fmla="*/ 59912 h 75723"/>
                <a:gd name="connsiteX17" fmla="*/ 20765 w 122110"/>
                <a:gd name="connsiteY17" fmla="*/ 58769 h 75723"/>
                <a:gd name="connsiteX18" fmla="*/ 10382 w 122110"/>
                <a:gd name="connsiteY18" fmla="*/ 65532 h 75723"/>
                <a:gd name="connsiteX19" fmla="*/ 0 w 122110"/>
                <a:gd name="connsiteY19" fmla="*/ 55340 h 75723"/>
                <a:gd name="connsiteX20" fmla="*/ 3048 w 122110"/>
                <a:gd name="connsiteY20" fmla="*/ 32861 h 75723"/>
                <a:gd name="connsiteX21" fmla="*/ 6096 w 122110"/>
                <a:gd name="connsiteY21" fmla="*/ 24956 h 75723"/>
                <a:gd name="connsiteX22" fmla="*/ 9716 w 122110"/>
                <a:gd name="connsiteY22" fmla="*/ 8192 h 75723"/>
                <a:gd name="connsiteX23" fmla="*/ 52673 w 122110"/>
                <a:gd name="connsiteY23" fmla="*/ 2762 h 75723"/>
                <a:gd name="connsiteX24" fmla="*/ 56959 w 122110"/>
                <a:gd name="connsiteY24" fmla="*/ 1334 h 75723"/>
                <a:gd name="connsiteX25" fmla="*/ 62008 w 122110"/>
                <a:gd name="connsiteY25" fmla="*/ 1334 h 75723"/>
                <a:gd name="connsiteX26" fmla="*/ 64579 w 122110"/>
                <a:gd name="connsiteY26" fmla="*/ 2477 h 75723"/>
                <a:gd name="connsiteX27" fmla="*/ 96107 w 122110"/>
                <a:gd name="connsiteY27" fmla="*/ 95 h 75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2110" h="75723">
                  <a:moveTo>
                    <a:pt x="96012" y="0"/>
                  </a:moveTo>
                  <a:lnTo>
                    <a:pt x="104299" y="1619"/>
                  </a:lnTo>
                  <a:lnTo>
                    <a:pt x="110109" y="6096"/>
                  </a:lnTo>
                  <a:lnTo>
                    <a:pt x="116300" y="7334"/>
                  </a:lnTo>
                  <a:lnTo>
                    <a:pt x="122111" y="17907"/>
                  </a:lnTo>
                  <a:lnTo>
                    <a:pt x="122111" y="28004"/>
                  </a:lnTo>
                  <a:lnTo>
                    <a:pt x="118396" y="28956"/>
                  </a:lnTo>
                  <a:lnTo>
                    <a:pt x="104870" y="28956"/>
                  </a:lnTo>
                  <a:cubicBezTo>
                    <a:pt x="104870" y="28956"/>
                    <a:pt x="102584" y="31337"/>
                    <a:pt x="102584" y="31337"/>
                  </a:cubicBezTo>
                  <a:lnTo>
                    <a:pt x="100870" y="33433"/>
                  </a:lnTo>
                  <a:lnTo>
                    <a:pt x="104489" y="49816"/>
                  </a:lnTo>
                  <a:lnTo>
                    <a:pt x="95059" y="60007"/>
                  </a:lnTo>
                  <a:lnTo>
                    <a:pt x="78010" y="71247"/>
                  </a:lnTo>
                  <a:lnTo>
                    <a:pt x="57912" y="75724"/>
                  </a:lnTo>
                  <a:lnTo>
                    <a:pt x="48196" y="75724"/>
                  </a:lnTo>
                  <a:lnTo>
                    <a:pt x="40862" y="67818"/>
                  </a:lnTo>
                  <a:lnTo>
                    <a:pt x="28670" y="59912"/>
                  </a:lnTo>
                  <a:lnTo>
                    <a:pt x="20765" y="58769"/>
                  </a:lnTo>
                  <a:lnTo>
                    <a:pt x="10382" y="65532"/>
                  </a:lnTo>
                  <a:lnTo>
                    <a:pt x="0" y="55340"/>
                  </a:lnTo>
                  <a:lnTo>
                    <a:pt x="3048" y="32861"/>
                  </a:lnTo>
                  <a:lnTo>
                    <a:pt x="6096" y="24956"/>
                  </a:lnTo>
                  <a:lnTo>
                    <a:pt x="9716" y="8192"/>
                  </a:lnTo>
                  <a:lnTo>
                    <a:pt x="52673" y="2762"/>
                  </a:lnTo>
                  <a:lnTo>
                    <a:pt x="56959" y="1334"/>
                  </a:lnTo>
                  <a:lnTo>
                    <a:pt x="62008" y="1334"/>
                  </a:lnTo>
                  <a:cubicBezTo>
                    <a:pt x="62008" y="1334"/>
                    <a:pt x="64579" y="2477"/>
                    <a:pt x="64579" y="2477"/>
                  </a:cubicBezTo>
                  <a:lnTo>
                    <a:pt x="96107" y="95"/>
                  </a:lnTo>
                </a:path>
              </a:pathLst>
            </a:custGeom>
            <a:grpFill/>
            <a:ln w="2381" cap="sq">
              <a:noFill/>
              <a:prstDash val="solid"/>
              <a:bevel/>
            </a:ln>
          </p:spPr>
          <p:txBody>
            <a:bodyPr rtlCol="0" anchor="ctr"/>
            <a:lstStyle/>
            <a:p>
              <a:endParaRPr lang="cs-CZ"/>
            </a:p>
          </p:txBody>
        </p:sp>
        <p:sp>
          <p:nvSpPr>
            <p:cNvPr id="227" name="Freeform: Shape 226">
              <a:extLst>
                <a:ext uri="{FF2B5EF4-FFF2-40B4-BE49-F238E27FC236}">
                  <a16:creationId xmlns:a16="http://schemas.microsoft.com/office/drawing/2014/main" id="{79123995-084B-CE74-F85B-B93892FED7D0}"/>
                </a:ext>
              </a:extLst>
            </p:cNvPr>
            <p:cNvSpPr/>
            <p:nvPr/>
          </p:nvSpPr>
          <p:spPr>
            <a:xfrm>
              <a:off x="13235652" y="7646412"/>
              <a:ext cx="166116" cy="187928"/>
            </a:xfrm>
            <a:custGeom>
              <a:avLst/>
              <a:gdLst>
                <a:gd name="connsiteX0" fmla="*/ 144494 w 166116"/>
                <a:gd name="connsiteY0" fmla="*/ 0 h 187928"/>
                <a:gd name="connsiteX1" fmla="*/ 166116 w 166116"/>
                <a:gd name="connsiteY1" fmla="*/ 2953 h 187928"/>
                <a:gd name="connsiteX2" fmla="*/ 162782 w 166116"/>
                <a:gd name="connsiteY2" fmla="*/ 20669 h 187928"/>
                <a:gd name="connsiteX3" fmla="*/ 153638 w 166116"/>
                <a:gd name="connsiteY3" fmla="*/ 45625 h 187928"/>
                <a:gd name="connsiteX4" fmla="*/ 145733 w 166116"/>
                <a:gd name="connsiteY4" fmla="*/ 52388 h 187928"/>
                <a:gd name="connsiteX5" fmla="*/ 144494 w 166116"/>
                <a:gd name="connsiteY5" fmla="*/ 65913 h 187928"/>
                <a:gd name="connsiteX6" fmla="*/ 134112 w 166116"/>
                <a:gd name="connsiteY6" fmla="*/ 63627 h 187928"/>
                <a:gd name="connsiteX7" fmla="*/ 122492 w 166116"/>
                <a:gd name="connsiteY7" fmla="*/ 65913 h 187928"/>
                <a:gd name="connsiteX8" fmla="*/ 109061 w 166116"/>
                <a:gd name="connsiteY8" fmla="*/ 78391 h 187928"/>
                <a:gd name="connsiteX9" fmla="*/ 109633 w 166116"/>
                <a:gd name="connsiteY9" fmla="*/ 88582 h 187928"/>
                <a:gd name="connsiteX10" fmla="*/ 117538 w 166116"/>
                <a:gd name="connsiteY10" fmla="*/ 94202 h 187928"/>
                <a:gd name="connsiteX11" fmla="*/ 123063 w 166116"/>
                <a:gd name="connsiteY11" fmla="*/ 106585 h 187928"/>
                <a:gd name="connsiteX12" fmla="*/ 126111 w 166116"/>
                <a:gd name="connsiteY12" fmla="*/ 117920 h 187928"/>
                <a:gd name="connsiteX13" fmla="*/ 135255 w 166116"/>
                <a:gd name="connsiteY13" fmla="*/ 124682 h 187928"/>
                <a:gd name="connsiteX14" fmla="*/ 142589 w 166116"/>
                <a:gd name="connsiteY14" fmla="*/ 132588 h 187928"/>
                <a:gd name="connsiteX15" fmla="*/ 143828 w 166116"/>
                <a:gd name="connsiteY15" fmla="*/ 147256 h 187928"/>
                <a:gd name="connsiteX16" fmla="*/ 143256 w 166116"/>
                <a:gd name="connsiteY16" fmla="*/ 159639 h 187928"/>
                <a:gd name="connsiteX17" fmla="*/ 134112 w 166116"/>
                <a:gd name="connsiteY17" fmla="*/ 167545 h 187928"/>
                <a:gd name="connsiteX18" fmla="*/ 128016 w 166116"/>
                <a:gd name="connsiteY18" fmla="*/ 177737 h 187928"/>
                <a:gd name="connsiteX19" fmla="*/ 122492 w 166116"/>
                <a:gd name="connsiteY19" fmla="*/ 184499 h 187928"/>
                <a:gd name="connsiteX20" fmla="*/ 113347 w 166116"/>
                <a:gd name="connsiteY20" fmla="*/ 187928 h 187928"/>
                <a:gd name="connsiteX21" fmla="*/ 104870 w 166116"/>
                <a:gd name="connsiteY21" fmla="*/ 182309 h 187928"/>
                <a:gd name="connsiteX22" fmla="*/ 104870 w 166116"/>
                <a:gd name="connsiteY22" fmla="*/ 158687 h 187928"/>
                <a:gd name="connsiteX23" fmla="*/ 100584 w 166116"/>
                <a:gd name="connsiteY23" fmla="*/ 148495 h 187928"/>
                <a:gd name="connsiteX24" fmla="*/ 91440 w 166116"/>
                <a:gd name="connsiteY24" fmla="*/ 138303 h 187928"/>
                <a:gd name="connsiteX25" fmla="*/ 76200 w 166116"/>
                <a:gd name="connsiteY25" fmla="*/ 129254 h 187928"/>
                <a:gd name="connsiteX26" fmla="*/ 63437 w 166116"/>
                <a:gd name="connsiteY26" fmla="*/ 120205 h 187928"/>
                <a:gd name="connsiteX27" fmla="*/ 51245 w 166116"/>
                <a:gd name="connsiteY27" fmla="*/ 124682 h 187928"/>
                <a:gd name="connsiteX28" fmla="*/ 39053 w 166116"/>
                <a:gd name="connsiteY28" fmla="*/ 128111 h 187928"/>
                <a:gd name="connsiteX29" fmla="*/ 31147 w 166116"/>
                <a:gd name="connsiteY29" fmla="*/ 124682 h 187928"/>
                <a:gd name="connsiteX30" fmla="*/ 36004 w 166116"/>
                <a:gd name="connsiteY30" fmla="*/ 115633 h 187928"/>
                <a:gd name="connsiteX31" fmla="*/ 31147 w 166116"/>
                <a:gd name="connsiteY31" fmla="*/ 112204 h 187928"/>
                <a:gd name="connsiteX32" fmla="*/ 16478 w 166116"/>
                <a:gd name="connsiteY32" fmla="*/ 108776 h 187928"/>
                <a:gd name="connsiteX33" fmla="*/ 9144 w 166116"/>
                <a:gd name="connsiteY33" fmla="*/ 103156 h 187928"/>
                <a:gd name="connsiteX34" fmla="*/ 0 w 166116"/>
                <a:gd name="connsiteY34" fmla="*/ 99727 h 187928"/>
                <a:gd name="connsiteX35" fmla="*/ 5525 w 166116"/>
                <a:gd name="connsiteY35" fmla="*/ 87344 h 187928"/>
                <a:gd name="connsiteX36" fmla="*/ 21336 w 166116"/>
                <a:gd name="connsiteY36" fmla="*/ 78296 h 187928"/>
                <a:gd name="connsiteX37" fmla="*/ 34100 w 166116"/>
                <a:gd name="connsiteY37" fmla="*/ 81725 h 187928"/>
                <a:gd name="connsiteX38" fmla="*/ 48768 w 166116"/>
                <a:gd name="connsiteY38" fmla="*/ 80581 h 187928"/>
                <a:gd name="connsiteX39" fmla="*/ 56674 w 166116"/>
                <a:gd name="connsiteY39" fmla="*/ 71533 h 187928"/>
                <a:gd name="connsiteX40" fmla="*/ 60484 w 166116"/>
                <a:gd name="connsiteY40" fmla="*/ 59722 h 187928"/>
                <a:gd name="connsiteX41" fmla="*/ 62960 w 166116"/>
                <a:gd name="connsiteY41" fmla="*/ 56388 h 187928"/>
                <a:gd name="connsiteX42" fmla="*/ 62960 w 166116"/>
                <a:gd name="connsiteY42" fmla="*/ 50959 h 187928"/>
                <a:gd name="connsiteX43" fmla="*/ 64484 w 166116"/>
                <a:gd name="connsiteY43" fmla="*/ 46387 h 187928"/>
                <a:gd name="connsiteX44" fmla="*/ 65056 w 166116"/>
                <a:gd name="connsiteY44" fmla="*/ 41624 h 187928"/>
                <a:gd name="connsiteX45" fmla="*/ 62389 w 166116"/>
                <a:gd name="connsiteY45" fmla="*/ 29432 h 187928"/>
                <a:gd name="connsiteX46" fmla="*/ 66580 w 166116"/>
                <a:gd name="connsiteY46" fmla="*/ 25432 h 187928"/>
                <a:gd name="connsiteX47" fmla="*/ 67437 w 166116"/>
                <a:gd name="connsiteY47" fmla="*/ 24384 h 187928"/>
                <a:gd name="connsiteX48" fmla="*/ 65151 w 166116"/>
                <a:gd name="connsiteY48" fmla="*/ 19907 h 187928"/>
                <a:gd name="connsiteX49" fmla="*/ 73819 w 166116"/>
                <a:gd name="connsiteY49" fmla="*/ 15430 h 187928"/>
                <a:gd name="connsiteX50" fmla="*/ 94679 w 166116"/>
                <a:gd name="connsiteY50" fmla="*/ 18955 h 187928"/>
                <a:gd name="connsiteX51" fmla="*/ 104775 w 166116"/>
                <a:gd name="connsiteY51" fmla="*/ 13430 h 187928"/>
                <a:gd name="connsiteX52" fmla="*/ 108299 w 166116"/>
                <a:gd name="connsiteY52" fmla="*/ 15716 h 187928"/>
                <a:gd name="connsiteX53" fmla="*/ 112204 w 166116"/>
                <a:gd name="connsiteY53" fmla="*/ 19907 h 187928"/>
                <a:gd name="connsiteX54" fmla="*/ 115062 w 166116"/>
                <a:gd name="connsiteY54" fmla="*/ 22098 h 187928"/>
                <a:gd name="connsiteX55" fmla="*/ 123158 w 166116"/>
                <a:gd name="connsiteY55" fmla="*/ 19622 h 187928"/>
                <a:gd name="connsiteX56" fmla="*/ 128397 w 166116"/>
                <a:gd name="connsiteY56" fmla="*/ 12764 h 187928"/>
                <a:gd name="connsiteX57" fmla="*/ 144494 w 166116"/>
                <a:gd name="connsiteY57" fmla="*/ 0 h 187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66116" h="187928">
                  <a:moveTo>
                    <a:pt x="144494" y="0"/>
                  </a:moveTo>
                  <a:lnTo>
                    <a:pt x="166116" y="2953"/>
                  </a:lnTo>
                  <a:lnTo>
                    <a:pt x="162782" y="20669"/>
                  </a:lnTo>
                  <a:lnTo>
                    <a:pt x="153638" y="45625"/>
                  </a:lnTo>
                  <a:lnTo>
                    <a:pt x="145733" y="52388"/>
                  </a:lnTo>
                  <a:lnTo>
                    <a:pt x="144494" y="65913"/>
                  </a:lnTo>
                  <a:lnTo>
                    <a:pt x="134112" y="63627"/>
                  </a:lnTo>
                  <a:lnTo>
                    <a:pt x="122492" y="65913"/>
                  </a:lnTo>
                  <a:lnTo>
                    <a:pt x="109061" y="78391"/>
                  </a:lnTo>
                  <a:lnTo>
                    <a:pt x="109633" y="88582"/>
                  </a:lnTo>
                  <a:lnTo>
                    <a:pt x="117538" y="94202"/>
                  </a:lnTo>
                  <a:lnTo>
                    <a:pt x="123063" y="106585"/>
                  </a:lnTo>
                  <a:lnTo>
                    <a:pt x="126111" y="117920"/>
                  </a:lnTo>
                  <a:lnTo>
                    <a:pt x="135255" y="124682"/>
                  </a:lnTo>
                  <a:lnTo>
                    <a:pt x="142589" y="132588"/>
                  </a:lnTo>
                  <a:lnTo>
                    <a:pt x="143828" y="147256"/>
                  </a:lnTo>
                  <a:lnTo>
                    <a:pt x="143256" y="159639"/>
                  </a:lnTo>
                  <a:lnTo>
                    <a:pt x="134112" y="167545"/>
                  </a:lnTo>
                  <a:lnTo>
                    <a:pt x="128016" y="177737"/>
                  </a:lnTo>
                  <a:lnTo>
                    <a:pt x="122492" y="184499"/>
                  </a:lnTo>
                  <a:lnTo>
                    <a:pt x="113347" y="187928"/>
                  </a:lnTo>
                  <a:lnTo>
                    <a:pt x="104870" y="182309"/>
                  </a:lnTo>
                  <a:lnTo>
                    <a:pt x="104870" y="158687"/>
                  </a:lnTo>
                  <a:lnTo>
                    <a:pt x="100584" y="148495"/>
                  </a:lnTo>
                  <a:lnTo>
                    <a:pt x="91440" y="138303"/>
                  </a:lnTo>
                  <a:lnTo>
                    <a:pt x="76200" y="129254"/>
                  </a:lnTo>
                  <a:lnTo>
                    <a:pt x="63437" y="120205"/>
                  </a:lnTo>
                  <a:lnTo>
                    <a:pt x="51245" y="124682"/>
                  </a:lnTo>
                  <a:lnTo>
                    <a:pt x="39053" y="128111"/>
                  </a:lnTo>
                  <a:lnTo>
                    <a:pt x="31147" y="124682"/>
                  </a:lnTo>
                  <a:lnTo>
                    <a:pt x="36004" y="115633"/>
                  </a:lnTo>
                  <a:lnTo>
                    <a:pt x="31147" y="112204"/>
                  </a:lnTo>
                  <a:lnTo>
                    <a:pt x="16478" y="108776"/>
                  </a:lnTo>
                  <a:lnTo>
                    <a:pt x="9144" y="103156"/>
                  </a:lnTo>
                  <a:lnTo>
                    <a:pt x="0" y="99727"/>
                  </a:lnTo>
                  <a:lnTo>
                    <a:pt x="5525" y="87344"/>
                  </a:lnTo>
                  <a:lnTo>
                    <a:pt x="21336" y="78296"/>
                  </a:lnTo>
                  <a:lnTo>
                    <a:pt x="34100" y="81725"/>
                  </a:lnTo>
                  <a:lnTo>
                    <a:pt x="48768" y="80581"/>
                  </a:lnTo>
                  <a:lnTo>
                    <a:pt x="56674" y="71533"/>
                  </a:lnTo>
                  <a:lnTo>
                    <a:pt x="60484" y="59722"/>
                  </a:lnTo>
                  <a:lnTo>
                    <a:pt x="62960" y="56388"/>
                  </a:lnTo>
                  <a:lnTo>
                    <a:pt x="62960" y="50959"/>
                  </a:lnTo>
                  <a:cubicBezTo>
                    <a:pt x="62960" y="50959"/>
                    <a:pt x="64484" y="46387"/>
                    <a:pt x="64484" y="46387"/>
                  </a:cubicBezTo>
                  <a:lnTo>
                    <a:pt x="65056" y="41624"/>
                  </a:lnTo>
                  <a:lnTo>
                    <a:pt x="62389" y="29432"/>
                  </a:lnTo>
                  <a:lnTo>
                    <a:pt x="66580" y="25432"/>
                  </a:lnTo>
                  <a:lnTo>
                    <a:pt x="67437" y="24384"/>
                  </a:lnTo>
                  <a:lnTo>
                    <a:pt x="65151" y="19907"/>
                  </a:lnTo>
                  <a:lnTo>
                    <a:pt x="73819" y="15430"/>
                  </a:lnTo>
                  <a:lnTo>
                    <a:pt x="94679" y="18955"/>
                  </a:lnTo>
                  <a:lnTo>
                    <a:pt x="104775" y="13430"/>
                  </a:lnTo>
                  <a:lnTo>
                    <a:pt x="108299" y="15716"/>
                  </a:lnTo>
                  <a:lnTo>
                    <a:pt x="112204" y="19907"/>
                  </a:lnTo>
                  <a:lnTo>
                    <a:pt x="115062" y="22098"/>
                  </a:lnTo>
                  <a:lnTo>
                    <a:pt x="123158" y="19622"/>
                  </a:lnTo>
                  <a:lnTo>
                    <a:pt x="128397" y="12764"/>
                  </a:lnTo>
                  <a:lnTo>
                    <a:pt x="144494" y="0"/>
                  </a:lnTo>
                </a:path>
              </a:pathLst>
            </a:custGeom>
            <a:grpFill/>
            <a:ln w="2381" cap="sq">
              <a:noFill/>
              <a:prstDash val="solid"/>
              <a:bevel/>
            </a:ln>
          </p:spPr>
          <p:txBody>
            <a:bodyPr rtlCol="0" anchor="ctr"/>
            <a:lstStyle/>
            <a:p>
              <a:endParaRPr lang="cs-CZ"/>
            </a:p>
          </p:txBody>
        </p:sp>
        <p:sp>
          <p:nvSpPr>
            <p:cNvPr id="228" name="Freeform: Shape 227">
              <a:extLst>
                <a:ext uri="{FF2B5EF4-FFF2-40B4-BE49-F238E27FC236}">
                  <a16:creationId xmlns:a16="http://schemas.microsoft.com/office/drawing/2014/main" id="{4015A56B-EEBC-7C64-98C3-7A76BF5EDEB8}"/>
                </a:ext>
              </a:extLst>
            </p:cNvPr>
            <p:cNvSpPr/>
            <p:nvPr/>
          </p:nvSpPr>
          <p:spPr>
            <a:xfrm>
              <a:off x="13067631" y="7623457"/>
              <a:ext cx="228600" cy="189261"/>
            </a:xfrm>
            <a:custGeom>
              <a:avLst/>
              <a:gdLst>
                <a:gd name="connsiteX0" fmla="*/ 108966 w 228600"/>
                <a:gd name="connsiteY0" fmla="*/ 95 h 189261"/>
                <a:gd name="connsiteX1" fmla="*/ 116014 w 228600"/>
                <a:gd name="connsiteY1" fmla="*/ 8953 h 189261"/>
                <a:gd name="connsiteX2" fmla="*/ 125825 w 228600"/>
                <a:gd name="connsiteY2" fmla="*/ 3905 h 189261"/>
                <a:gd name="connsiteX3" fmla="*/ 132779 w 228600"/>
                <a:gd name="connsiteY3" fmla="*/ 18383 h 189261"/>
                <a:gd name="connsiteX4" fmla="*/ 132779 w 228600"/>
                <a:gd name="connsiteY4" fmla="*/ 28003 h 189261"/>
                <a:gd name="connsiteX5" fmla="*/ 140113 w 228600"/>
                <a:gd name="connsiteY5" fmla="*/ 37814 h 189261"/>
                <a:gd name="connsiteX6" fmla="*/ 149828 w 228600"/>
                <a:gd name="connsiteY6" fmla="*/ 50959 h 189261"/>
                <a:gd name="connsiteX7" fmla="*/ 154591 w 228600"/>
                <a:gd name="connsiteY7" fmla="*/ 56959 h 189261"/>
                <a:gd name="connsiteX8" fmla="*/ 160020 w 228600"/>
                <a:gd name="connsiteY8" fmla="*/ 60674 h 189261"/>
                <a:gd name="connsiteX9" fmla="*/ 170688 w 228600"/>
                <a:gd name="connsiteY9" fmla="*/ 61817 h 189261"/>
                <a:gd name="connsiteX10" fmla="*/ 184213 w 228600"/>
                <a:gd name="connsiteY10" fmla="*/ 69152 h 189261"/>
                <a:gd name="connsiteX11" fmla="*/ 195263 w 228600"/>
                <a:gd name="connsiteY11" fmla="*/ 70009 h 189261"/>
                <a:gd name="connsiteX12" fmla="*/ 203645 w 228600"/>
                <a:gd name="connsiteY12" fmla="*/ 68675 h 189261"/>
                <a:gd name="connsiteX13" fmla="*/ 206026 w 228600"/>
                <a:gd name="connsiteY13" fmla="*/ 70104 h 189261"/>
                <a:gd name="connsiteX14" fmla="*/ 208312 w 228600"/>
                <a:gd name="connsiteY14" fmla="*/ 74486 h 189261"/>
                <a:gd name="connsiteX15" fmla="*/ 213836 w 228600"/>
                <a:gd name="connsiteY15" fmla="*/ 80581 h 189261"/>
                <a:gd name="connsiteX16" fmla="*/ 217075 w 228600"/>
                <a:gd name="connsiteY16" fmla="*/ 83344 h 189261"/>
                <a:gd name="connsiteX17" fmla="*/ 228600 w 228600"/>
                <a:gd name="connsiteY17" fmla="*/ 82677 h 189261"/>
                <a:gd name="connsiteX18" fmla="*/ 224790 w 228600"/>
                <a:gd name="connsiteY18" fmla="*/ 94488 h 189261"/>
                <a:gd name="connsiteX19" fmla="*/ 216884 w 228600"/>
                <a:gd name="connsiteY19" fmla="*/ 103537 h 189261"/>
                <a:gd name="connsiteX20" fmla="*/ 202216 w 228600"/>
                <a:gd name="connsiteY20" fmla="*/ 104680 h 189261"/>
                <a:gd name="connsiteX21" fmla="*/ 189452 w 228600"/>
                <a:gd name="connsiteY21" fmla="*/ 101251 h 189261"/>
                <a:gd name="connsiteX22" fmla="*/ 173641 w 228600"/>
                <a:gd name="connsiteY22" fmla="*/ 110300 h 189261"/>
                <a:gd name="connsiteX23" fmla="*/ 168116 w 228600"/>
                <a:gd name="connsiteY23" fmla="*/ 122682 h 189261"/>
                <a:gd name="connsiteX24" fmla="*/ 168116 w 228600"/>
                <a:gd name="connsiteY24" fmla="*/ 155448 h 189261"/>
                <a:gd name="connsiteX25" fmla="*/ 158401 w 228600"/>
                <a:gd name="connsiteY25" fmla="*/ 170117 h 189261"/>
                <a:gd name="connsiteX26" fmla="*/ 142494 w 228600"/>
                <a:gd name="connsiteY26" fmla="*/ 171260 h 189261"/>
                <a:gd name="connsiteX27" fmla="*/ 129064 w 228600"/>
                <a:gd name="connsiteY27" fmla="*/ 168974 h 189261"/>
                <a:gd name="connsiteX28" fmla="*/ 113252 w 228600"/>
                <a:gd name="connsiteY28" fmla="*/ 182499 h 189261"/>
                <a:gd name="connsiteX29" fmla="*/ 96774 w 228600"/>
                <a:gd name="connsiteY29" fmla="*/ 186976 h 189261"/>
                <a:gd name="connsiteX30" fmla="*/ 70580 w 228600"/>
                <a:gd name="connsiteY30" fmla="*/ 189262 h 189261"/>
                <a:gd name="connsiteX31" fmla="*/ 51911 w 228600"/>
                <a:gd name="connsiteY31" fmla="*/ 183547 h 189261"/>
                <a:gd name="connsiteX32" fmla="*/ 54483 w 228600"/>
                <a:gd name="connsiteY32" fmla="*/ 175070 h 189261"/>
                <a:gd name="connsiteX33" fmla="*/ 55436 w 228600"/>
                <a:gd name="connsiteY33" fmla="*/ 168212 h 189261"/>
                <a:gd name="connsiteX34" fmla="*/ 52959 w 228600"/>
                <a:gd name="connsiteY34" fmla="*/ 160496 h 189261"/>
                <a:gd name="connsiteX35" fmla="*/ 44958 w 228600"/>
                <a:gd name="connsiteY35" fmla="*/ 152495 h 189261"/>
                <a:gd name="connsiteX36" fmla="*/ 38291 w 228600"/>
                <a:gd name="connsiteY36" fmla="*/ 142970 h 189261"/>
                <a:gd name="connsiteX37" fmla="*/ 34671 w 228600"/>
                <a:gd name="connsiteY37" fmla="*/ 138208 h 189261"/>
                <a:gd name="connsiteX38" fmla="*/ 34957 w 228600"/>
                <a:gd name="connsiteY38" fmla="*/ 136017 h 189261"/>
                <a:gd name="connsiteX39" fmla="*/ 39148 w 228600"/>
                <a:gd name="connsiteY39" fmla="*/ 131159 h 189261"/>
                <a:gd name="connsiteX40" fmla="*/ 40196 w 228600"/>
                <a:gd name="connsiteY40" fmla="*/ 128111 h 189261"/>
                <a:gd name="connsiteX41" fmla="*/ 40386 w 228600"/>
                <a:gd name="connsiteY41" fmla="*/ 124778 h 189261"/>
                <a:gd name="connsiteX42" fmla="*/ 31718 w 228600"/>
                <a:gd name="connsiteY42" fmla="*/ 117920 h 189261"/>
                <a:gd name="connsiteX43" fmla="*/ 30861 w 228600"/>
                <a:gd name="connsiteY43" fmla="*/ 113824 h 189261"/>
                <a:gd name="connsiteX44" fmla="*/ 27718 w 228600"/>
                <a:gd name="connsiteY44" fmla="*/ 108299 h 189261"/>
                <a:gd name="connsiteX45" fmla="*/ 21336 w 228600"/>
                <a:gd name="connsiteY45" fmla="*/ 92297 h 189261"/>
                <a:gd name="connsiteX46" fmla="*/ 12478 w 228600"/>
                <a:gd name="connsiteY46" fmla="*/ 75819 h 189261"/>
                <a:gd name="connsiteX47" fmla="*/ 191 w 228600"/>
                <a:gd name="connsiteY47" fmla="*/ 64294 h 189261"/>
                <a:gd name="connsiteX48" fmla="*/ 0 w 228600"/>
                <a:gd name="connsiteY48" fmla="*/ 60198 h 189261"/>
                <a:gd name="connsiteX49" fmla="*/ 5143 w 228600"/>
                <a:gd name="connsiteY49" fmla="*/ 58769 h 189261"/>
                <a:gd name="connsiteX50" fmla="*/ 18383 w 228600"/>
                <a:gd name="connsiteY50" fmla="*/ 63722 h 189261"/>
                <a:gd name="connsiteX51" fmla="*/ 29718 w 228600"/>
                <a:gd name="connsiteY51" fmla="*/ 63151 h 189261"/>
                <a:gd name="connsiteX52" fmla="*/ 34004 w 228600"/>
                <a:gd name="connsiteY52" fmla="*/ 57436 h 189261"/>
                <a:gd name="connsiteX53" fmla="*/ 70390 w 228600"/>
                <a:gd name="connsiteY53" fmla="*/ 34290 h 189261"/>
                <a:gd name="connsiteX54" fmla="*/ 73724 w 228600"/>
                <a:gd name="connsiteY54" fmla="*/ 28194 h 189261"/>
                <a:gd name="connsiteX55" fmla="*/ 79248 w 228600"/>
                <a:gd name="connsiteY55" fmla="*/ 23717 h 189261"/>
                <a:gd name="connsiteX56" fmla="*/ 82963 w 228600"/>
                <a:gd name="connsiteY56" fmla="*/ 17526 h 189261"/>
                <a:gd name="connsiteX57" fmla="*/ 95821 w 228600"/>
                <a:gd name="connsiteY57" fmla="*/ 12668 h 189261"/>
                <a:gd name="connsiteX58" fmla="*/ 98774 w 228600"/>
                <a:gd name="connsiteY58" fmla="*/ 6096 h 189261"/>
                <a:gd name="connsiteX59" fmla="*/ 102108 w 228600"/>
                <a:gd name="connsiteY59" fmla="*/ 1429 h 189261"/>
                <a:gd name="connsiteX60" fmla="*/ 108966 w 228600"/>
                <a:gd name="connsiteY60" fmla="*/ 0 h 189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228600" h="189261">
                  <a:moveTo>
                    <a:pt x="108966" y="95"/>
                  </a:moveTo>
                  <a:lnTo>
                    <a:pt x="116014" y="8953"/>
                  </a:lnTo>
                  <a:lnTo>
                    <a:pt x="125825" y="3905"/>
                  </a:lnTo>
                  <a:lnTo>
                    <a:pt x="132779" y="18383"/>
                  </a:lnTo>
                  <a:lnTo>
                    <a:pt x="132779" y="28003"/>
                  </a:lnTo>
                  <a:cubicBezTo>
                    <a:pt x="132779" y="28003"/>
                    <a:pt x="140113" y="37814"/>
                    <a:pt x="140113" y="37814"/>
                  </a:cubicBezTo>
                  <a:lnTo>
                    <a:pt x="149828" y="50959"/>
                  </a:lnTo>
                  <a:lnTo>
                    <a:pt x="154591" y="56959"/>
                  </a:lnTo>
                  <a:lnTo>
                    <a:pt x="160020" y="60674"/>
                  </a:lnTo>
                  <a:lnTo>
                    <a:pt x="170688" y="61817"/>
                  </a:lnTo>
                  <a:lnTo>
                    <a:pt x="184213" y="69152"/>
                  </a:lnTo>
                  <a:lnTo>
                    <a:pt x="195263" y="70009"/>
                  </a:lnTo>
                  <a:lnTo>
                    <a:pt x="203645" y="68675"/>
                  </a:lnTo>
                  <a:lnTo>
                    <a:pt x="206026" y="70104"/>
                  </a:lnTo>
                  <a:lnTo>
                    <a:pt x="208312" y="74486"/>
                  </a:lnTo>
                  <a:lnTo>
                    <a:pt x="213836" y="80581"/>
                  </a:lnTo>
                  <a:lnTo>
                    <a:pt x="217075" y="83344"/>
                  </a:lnTo>
                  <a:lnTo>
                    <a:pt x="228600" y="82677"/>
                  </a:lnTo>
                  <a:lnTo>
                    <a:pt x="224790" y="94488"/>
                  </a:lnTo>
                  <a:lnTo>
                    <a:pt x="216884" y="103537"/>
                  </a:lnTo>
                  <a:lnTo>
                    <a:pt x="202216" y="104680"/>
                  </a:lnTo>
                  <a:lnTo>
                    <a:pt x="189452" y="101251"/>
                  </a:lnTo>
                  <a:lnTo>
                    <a:pt x="173641" y="110300"/>
                  </a:lnTo>
                  <a:lnTo>
                    <a:pt x="168116" y="122682"/>
                  </a:lnTo>
                  <a:lnTo>
                    <a:pt x="168116" y="155448"/>
                  </a:lnTo>
                  <a:lnTo>
                    <a:pt x="158401" y="170117"/>
                  </a:lnTo>
                  <a:lnTo>
                    <a:pt x="142494" y="171260"/>
                  </a:lnTo>
                  <a:lnTo>
                    <a:pt x="129064" y="168974"/>
                  </a:lnTo>
                  <a:lnTo>
                    <a:pt x="113252" y="182499"/>
                  </a:lnTo>
                  <a:lnTo>
                    <a:pt x="96774" y="186976"/>
                  </a:lnTo>
                  <a:lnTo>
                    <a:pt x="70580" y="189262"/>
                  </a:lnTo>
                  <a:lnTo>
                    <a:pt x="51911" y="183547"/>
                  </a:lnTo>
                  <a:lnTo>
                    <a:pt x="54483" y="175070"/>
                  </a:lnTo>
                  <a:lnTo>
                    <a:pt x="55436" y="168212"/>
                  </a:lnTo>
                  <a:lnTo>
                    <a:pt x="52959" y="160496"/>
                  </a:lnTo>
                  <a:lnTo>
                    <a:pt x="44958" y="152495"/>
                  </a:lnTo>
                  <a:lnTo>
                    <a:pt x="38291" y="142970"/>
                  </a:lnTo>
                  <a:lnTo>
                    <a:pt x="34671" y="138208"/>
                  </a:lnTo>
                  <a:lnTo>
                    <a:pt x="34957" y="136017"/>
                  </a:lnTo>
                  <a:lnTo>
                    <a:pt x="39148" y="131159"/>
                  </a:lnTo>
                  <a:lnTo>
                    <a:pt x="40196" y="128111"/>
                  </a:lnTo>
                  <a:lnTo>
                    <a:pt x="40386" y="124778"/>
                  </a:lnTo>
                  <a:lnTo>
                    <a:pt x="31718" y="117920"/>
                  </a:lnTo>
                  <a:lnTo>
                    <a:pt x="30861" y="113824"/>
                  </a:lnTo>
                  <a:lnTo>
                    <a:pt x="27718" y="108299"/>
                  </a:lnTo>
                  <a:lnTo>
                    <a:pt x="21336" y="92297"/>
                  </a:lnTo>
                  <a:lnTo>
                    <a:pt x="12478" y="75819"/>
                  </a:lnTo>
                  <a:lnTo>
                    <a:pt x="191" y="64294"/>
                  </a:lnTo>
                  <a:lnTo>
                    <a:pt x="0" y="60198"/>
                  </a:lnTo>
                  <a:lnTo>
                    <a:pt x="5143" y="58769"/>
                  </a:lnTo>
                  <a:lnTo>
                    <a:pt x="18383" y="63722"/>
                  </a:lnTo>
                  <a:lnTo>
                    <a:pt x="29718" y="63151"/>
                  </a:lnTo>
                  <a:lnTo>
                    <a:pt x="34004" y="57436"/>
                  </a:lnTo>
                  <a:lnTo>
                    <a:pt x="70390" y="34290"/>
                  </a:lnTo>
                  <a:lnTo>
                    <a:pt x="73724" y="28194"/>
                  </a:lnTo>
                  <a:lnTo>
                    <a:pt x="79248" y="23717"/>
                  </a:lnTo>
                  <a:lnTo>
                    <a:pt x="82963" y="17526"/>
                  </a:lnTo>
                  <a:lnTo>
                    <a:pt x="95821" y="12668"/>
                  </a:lnTo>
                  <a:lnTo>
                    <a:pt x="98774" y="6096"/>
                  </a:lnTo>
                  <a:lnTo>
                    <a:pt x="102108" y="1429"/>
                  </a:lnTo>
                  <a:lnTo>
                    <a:pt x="108966" y="0"/>
                  </a:lnTo>
                </a:path>
              </a:pathLst>
            </a:custGeom>
            <a:grpFill/>
            <a:ln w="2381" cap="sq">
              <a:noFill/>
              <a:prstDash val="solid"/>
              <a:bevel/>
            </a:ln>
          </p:spPr>
          <p:txBody>
            <a:bodyPr rtlCol="0" anchor="ctr"/>
            <a:lstStyle/>
            <a:p>
              <a:endParaRPr lang="cs-CZ"/>
            </a:p>
          </p:txBody>
        </p:sp>
        <p:sp>
          <p:nvSpPr>
            <p:cNvPr id="229" name="Freeform: Shape 228">
              <a:extLst>
                <a:ext uri="{FF2B5EF4-FFF2-40B4-BE49-F238E27FC236}">
                  <a16:creationId xmlns:a16="http://schemas.microsoft.com/office/drawing/2014/main" id="{0224CC8E-C865-A50F-2A35-0E69F019387F}"/>
                </a:ext>
              </a:extLst>
            </p:cNvPr>
            <p:cNvSpPr/>
            <p:nvPr/>
          </p:nvSpPr>
          <p:spPr>
            <a:xfrm>
              <a:off x="12996099" y="7688608"/>
              <a:ext cx="126872" cy="205168"/>
            </a:xfrm>
            <a:custGeom>
              <a:avLst/>
              <a:gdLst>
                <a:gd name="connsiteX0" fmla="*/ 83915 w 126872"/>
                <a:gd name="connsiteY0" fmla="*/ 10668 h 205168"/>
                <a:gd name="connsiteX1" fmla="*/ 92773 w 126872"/>
                <a:gd name="connsiteY1" fmla="*/ 27146 h 205168"/>
                <a:gd name="connsiteX2" fmla="*/ 99155 w 126872"/>
                <a:gd name="connsiteY2" fmla="*/ 43148 h 205168"/>
                <a:gd name="connsiteX3" fmla="*/ 102298 w 126872"/>
                <a:gd name="connsiteY3" fmla="*/ 48673 h 205168"/>
                <a:gd name="connsiteX4" fmla="*/ 103156 w 126872"/>
                <a:gd name="connsiteY4" fmla="*/ 52769 h 205168"/>
                <a:gd name="connsiteX5" fmla="*/ 111823 w 126872"/>
                <a:gd name="connsiteY5" fmla="*/ 59627 h 205168"/>
                <a:gd name="connsiteX6" fmla="*/ 111633 w 126872"/>
                <a:gd name="connsiteY6" fmla="*/ 62960 h 205168"/>
                <a:gd name="connsiteX7" fmla="*/ 110585 w 126872"/>
                <a:gd name="connsiteY7" fmla="*/ 66008 h 205168"/>
                <a:gd name="connsiteX8" fmla="*/ 106394 w 126872"/>
                <a:gd name="connsiteY8" fmla="*/ 70866 h 205168"/>
                <a:gd name="connsiteX9" fmla="*/ 106108 w 126872"/>
                <a:gd name="connsiteY9" fmla="*/ 73057 h 205168"/>
                <a:gd name="connsiteX10" fmla="*/ 109728 w 126872"/>
                <a:gd name="connsiteY10" fmla="*/ 77819 h 205168"/>
                <a:gd name="connsiteX11" fmla="*/ 116396 w 126872"/>
                <a:gd name="connsiteY11" fmla="*/ 87344 h 205168"/>
                <a:gd name="connsiteX12" fmla="*/ 124396 w 126872"/>
                <a:gd name="connsiteY12" fmla="*/ 95345 h 205168"/>
                <a:gd name="connsiteX13" fmla="*/ 126873 w 126872"/>
                <a:gd name="connsiteY13" fmla="*/ 103061 h 205168"/>
                <a:gd name="connsiteX14" fmla="*/ 125921 w 126872"/>
                <a:gd name="connsiteY14" fmla="*/ 109919 h 205168"/>
                <a:gd name="connsiteX15" fmla="*/ 123349 w 126872"/>
                <a:gd name="connsiteY15" fmla="*/ 118396 h 205168"/>
                <a:gd name="connsiteX16" fmla="*/ 119634 w 126872"/>
                <a:gd name="connsiteY16" fmla="*/ 125730 h 205168"/>
                <a:gd name="connsiteX17" fmla="*/ 110680 w 126872"/>
                <a:gd name="connsiteY17" fmla="*/ 138208 h 205168"/>
                <a:gd name="connsiteX18" fmla="*/ 104394 w 126872"/>
                <a:gd name="connsiteY18" fmla="*/ 152305 h 205168"/>
                <a:gd name="connsiteX19" fmla="*/ 95726 w 126872"/>
                <a:gd name="connsiteY19" fmla="*/ 159258 h 205168"/>
                <a:gd name="connsiteX20" fmla="*/ 80581 w 126872"/>
                <a:gd name="connsiteY20" fmla="*/ 164306 h 205168"/>
                <a:gd name="connsiteX21" fmla="*/ 73533 w 126872"/>
                <a:gd name="connsiteY21" fmla="*/ 176308 h 205168"/>
                <a:gd name="connsiteX22" fmla="*/ 70294 w 126872"/>
                <a:gd name="connsiteY22" fmla="*/ 193262 h 205168"/>
                <a:gd name="connsiteX23" fmla="*/ 63817 w 126872"/>
                <a:gd name="connsiteY23" fmla="*/ 198215 h 205168"/>
                <a:gd name="connsiteX24" fmla="*/ 61150 w 126872"/>
                <a:gd name="connsiteY24" fmla="*/ 189262 h 205168"/>
                <a:gd name="connsiteX25" fmla="*/ 47053 w 126872"/>
                <a:gd name="connsiteY25" fmla="*/ 189262 h 205168"/>
                <a:gd name="connsiteX26" fmla="*/ 32956 w 126872"/>
                <a:gd name="connsiteY26" fmla="*/ 196215 h 205168"/>
                <a:gd name="connsiteX27" fmla="*/ 19431 w 126872"/>
                <a:gd name="connsiteY27" fmla="*/ 205169 h 205168"/>
                <a:gd name="connsiteX28" fmla="*/ 23241 w 126872"/>
                <a:gd name="connsiteY28" fmla="*/ 188214 h 205168"/>
                <a:gd name="connsiteX29" fmla="*/ 22669 w 126872"/>
                <a:gd name="connsiteY29" fmla="*/ 173260 h 205168"/>
                <a:gd name="connsiteX30" fmla="*/ 16192 w 126872"/>
                <a:gd name="connsiteY30" fmla="*/ 166306 h 205168"/>
                <a:gd name="connsiteX31" fmla="*/ 1619 w 126872"/>
                <a:gd name="connsiteY31" fmla="*/ 168307 h 205168"/>
                <a:gd name="connsiteX32" fmla="*/ 0 w 126872"/>
                <a:gd name="connsiteY32" fmla="*/ 149352 h 205168"/>
                <a:gd name="connsiteX33" fmla="*/ 17335 w 126872"/>
                <a:gd name="connsiteY33" fmla="*/ 144304 h 205168"/>
                <a:gd name="connsiteX34" fmla="*/ 25622 w 126872"/>
                <a:gd name="connsiteY34" fmla="*/ 135065 h 205168"/>
                <a:gd name="connsiteX35" fmla="*/ 37909 w 126872"/>
                <a:gd name="connsiteY35" fmla="*/ 132207 h 205168"/>
                <a:gd name="connsiteX36" fmla="*/ 35242 w 126872"/>
                <a:gd name="connsiteY36" fmla="*/ 121253 h 205168"/>
                <a:gd name="connsiteX37" fmla="*/ 27146 w 126872"/>
                <a:gd name="connsiteY37" fmla="*/ 89249 h 205168"/>
                <a:gd name="connsiteX38" fmla="*/ 12573 w 126872"/>
                <a:gd name="connsiteY38" fmla="*/ 79248 h 205168"/>
                <a:gd name="connsiteX39" fmla="*/ 8287 w 126872"/>
                <a:gd name="connsiteY39" fmla="*/ 65246 h 205168"/>
                <a:gd name="connsiteX40" fmla="*/ 26670 w 126872"/>
                <a:gd name="connsiteY40" fmla="*/ 59246 h 205168"/>
                <a:gd name="connsiteX41" fmla="*/ 33718 w 126872"/>
                <a:gd name="connsiteY41" fmla="*/ 44196 h 205168"/>
                <a:gd name="connsiteX42" fmla="*/ 28289 w 126872"/>
                <a:gd name="connsiteY42" fmla="*/ 15050 h 205168"/>
                <a:gd name="connsiteX43" fmla="*/ 51530 w 126872"/>
                <a:gd name="connsiteY43" fmla="*/ 0 h 205168"/>
                <a:gd name="connsiteX44" fmla="*/ 52578 w 126872"/>
                <a:gd name="connsiteY44" fmla="*/ 10097 h 205168"/>
                <a:gd name="connsiteX45" fmla="*/ 84106 w 126872"/>
                <a:gd name="connsiteY45" fmla="*/ 10858 h 205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26872" h="205168">
                  <a:moveTo>
                    <a:pt x="83915" y="10668"/>
                  </a:moveTo>
                  <a:lnTo>
                    <a:pt x="92773" y="27146"/>
                  </a:lnTo>
                  <a:lnTo>
                    <a:pt x="99155" y="43148"/>
                  </a:lnTo>
                  <a:lnTo>
                    <a:pt x="102298" y="48673"/>
                  </a:lnTo>
                  <a:lnTo>
                    <a:pt x="103156" y="52769"/>
                  </a:lnTo>
                  <a:lnTo>
                    <a:pt x="111823" y="59627"/>
                  </a:lnTo>
                  <a:lnTo>
                    <a:pt x="111633" y="62960"/>
                  </a:lnTo>
                  <a:lnTo>
                    <a:pt x="110585" y="66008"/>
                  </a:lnTo>
                  <a:lnTo>
                    <a:pt x="106394" y="70866"/>
                  </a:lnTo>
                  <a:lnTo>
                    <a:pt x="106108" y="73057"/>
                  </a:lnTo>
                  <a:lnTo>
                    <a:pt x="109728" y="77819"/>
                  </a:lnTo>
                  <a:lnTo>
                    <a:pt x="116396" y="87344"/>
                  </a:lnTo>
                  <a:lnTo>
                    <a:pt x="124396" y="95345"/>
                  </a:lnTo>
                  <a:lnTo>
                    <a:pt x="126873" y="103061"/>
                  </a:lnTo>
                  <a:lnTo>
                    <a:pt x="125921" y="109919"/>
                  </a:lnTo>
                  <a:lnTo>
                    <a:pt x="123349" y="118396"/>
                  </a:lnTo>
                  <a:lnTo>
                    <a:pt x="119634" y="125730"/>
                  </a:lnTo>
                  <a:lnTo>
                    <a:pt x="110680" y="138208"/>
                  </a:lnTo>
                  <a:lnTo>
                    <a:pt x="104394" y="152305"/>
                  </a:lnTo>
                  <a:lnTo>
                    <a:pt x="95726" y="159258"/>
                  </a:lnTo>
                  <a:lnTo>
                    <a:pt x="80581" y="164306"/>
                  </a:lnTo>
                  <a:lnTo>
                    <a:pt x="73533" y="176308"/>
                  </a:lnTo>
                  <a:lnTo>
                    <a:pt x="70294" y="193262"/>
                  </a:lnTo>
                  <a:lnTo>
                    <a:pt x="63817" y="198215"/>
                  </a:lnTo>
                  <a:lnTo>
                    <a:pt x="61150" y="189262"/>
                  </a:lnTo>
                  <a:lnTo>
                    <a:pt x="47053" y="189262"/>
                  </a:lnTo>
                  <a:lnTo>
                    <a:pt x="32956" y="196215"/>
                  </a:lnTo>
                  <a:lnTo>
                    <a:pt x="19431" y="205169"/>
                  </a:lnTo>
                  <a:lnTo>
                    <a:pt x="23241" y="188214"/>
                  </a:lnTo>
                  <a:lnTo>
                    <a:pt x="22669" y="173260"/>
                  </a:lnTo>
                  <a:lnTo>
                    <a:pt x="16192" y="166306"/>
                  </a:lnTo>
                  <a:lnTo>
                    <a:pt x="1619" y="168307"/>
                  </a:lnTo>
                  <a:lnTo>
                    <a:pt x="0" y="149352"/>
                  </a:lnTo>
                  <a:lnTo>
                    <a:pt x="17335" y="144304"/>
                  </a:lnTo>
                  <a:lnTo>
                    <a:pt x="25622" y="135065"/>
                  </a:lnTo>
                  <a:lnTo>
                    <a:pt x="37909" y="132207"/>
                  </a:lnTo>
                  <a:lnTo>
                    <a:pt x="35242" y="121253"/>
                  </a:lnTo>
                  <a:lnTo>
                    <a:pt x="27146" y="89249"/>
                  </a:lnTo>
                  <a:lnTo>
                    <a:pt x="12573" y="79248"/>
                  </a:lnTo>
                  <a:lnTo>
                    <a:pt x="8287" y="65246"/>
                  </a:lnTo>
                  <a:lnTo>
                    <a:pt x="26670" y="59246"/>
                  </a:lnTo>
                  <a:lnTo>
                    <a:pt x="33718" y="44196"/>
                  </a:lnTo>
                  <a:lnTo>
                    <a:pt x="28289" y="15050"/>
                  </a:lnTo>
                  <a:lnTo>
                    <a:pt x="51530" y="0"/>
                  </a:lnTo>
                  <a:lnTo>
                    <a:pt x="52578" y="10097"/>
                  </a:lnTo>
                  <a:lnTo>
                    <a:pt x="84106" y="10858"/>
                  </a:lnTo>
                </a:path>
              </a:pathLst>
            </a:custGeom>
            <a:grpFill/>
            <a:ln w="2381" cap="sq">
              <a:noFill/>
              <a:prstDash val="solid"/>
              <a:bevel/>
            </a:ln>
          </p:spPr>
          <p:txBody>
            <a:bodyPr rtlCol="0" anchor="ctr"/>
            <a:lstStyle/>
            <a:p>
              <a:endParaRPr lang="cs-CZ"/>
            </a:p>
          </p:txBody>
        </p:sp>
        <p:sp>
          <p:nvSpPr>
            <p:cNvPr id="230" name="Freeform: Shape 229">
              <a:extLst>
                <a:ext uri="{FF2B5EF4-FFF2-40B4-BE49-F238E27FC236}">
                  <a16:creationId xmlns:a16="http://schemas.microsoft.com/office/drawing/2014/main" id="{E9A19C35-0523-6445-E500-AB0D7CBA34A2}"/>
                </a:ext>
              </a:extLst>
            </p:cNvPr>
            <p:cNvSpPr/>
            <p:nvPr/>
          </p:nvSpPr>
          <p:spPr>
            <a:xfrm>
              <a:off x="13536452" y="7691180"/>
              <a:ext cx="448913" cy="328993"/>
            </a:xfrm>
            <a:custGeom>
              <a:avLst/>
              <a:gdLst>
                <a:gd name="connsiteX0" fmla="*/ 49244 w 448913"/>
                <a:gd name="connsiteY0" fmla="*/ 94012 h 328993"/>
                <a:gd name="connsiteX1" fmla="*/ 100489 w 448913"/>
                <a:gd name="connsiteY1" fmla="*/ 90106 h 328993"/>
                <a:gd name="connsiteX2" fmla="*/ 102299 w 448913"/>
                <a:gd name="connsiteY2" fmla="*/ 85058 h 328993"/>
                <a:gd name="connsiteX3" fmla="*/ 101632 w 448913"/>
                <a:gd name="connsiteY3" fmla="*/ 76391 h 328993"/>
                <a:gd name="connsiteX4" fmla="*/ 105823 w 448913"/>
                <a:gd name="connsiteY4" fmla="*/ 71056 h 328993"/>
                <a:gd name="connsiteX5" fmla="*/ 107633 w 448913"/>
                <a:gd name="connsiteY5" fmla="*/ 64199 h 328993"/>
                <a:gd name="connsiteX6" fmla="*/ 106394 w 448913"/>
                <a:gd name="connsiteY6" fmla="*/ 60484 h 328993"/>
                <a:gd name="connsiteX7" fmla="*/ 106013 w 448913"/>
                <a:gd name="connsiteY7" fmla="*/ 54674 h 328993"/>
                <a:gd name="connsiteX8" fmla="*/ 138398 w 448913"/>
                <a:gd name="connsiteY8" fmla="*/ 60770 h 328993"/>
                <a:gd name="connsiteX9" fmla="*/ 163354 w 448913"/>
                <a:gd name="connsiteY9" fmla="*/ 53816 h 328993"/>
                <a:gd name="connsiteX10" fmla="*/ 165925 w 448913"/>
                <a:gd name="connsiteY10" fmla="*/ 48387 h 328993"/>
                <a:gd name="connsiteX11" fmla="*/ 165925 w 448913"/>
                <a:gd name="connsiteY11" fmla="*/ 43815 h 328993"/>
                <a:gd name="connsiteX12" fmla="*/ 163639 w 448913"/>
                <a:gd name="connsiteY12" fmla="*/ 43148 h 328993"/>
                <a:gd name="connsiteX13" fmla="*/ 158591 w 448913"/>
                <a:gd name="connsiteY13" fmla="*/ 46101 h 328993"/>
                <a:gd name="connsiteX14" fmla="*/ 156020 w 448913"/>
                <a:gd name="connsiteY14" fmla="*/ 46577 h 328993"/>
                <a:gd name="connsiteX15" fmla="*/ 153924 w 448913"/>
                <a:gd name="connsiteY15" fmla="*/ 45244 h 328993"/>
                <a:gd name="connsiteX16" fmla="*/ 152209 w 448913"/>
                <a:gd name="connsiteY16" fmla="*/ 42958 h 328993"/>
                <a:gd name="connsiteX17" fmla="*/ 151924 w 448913"/>
                <a:gd name="connsiteY17" fmla="*/ 40386 h 328993"/>
                <a:gd name="connsiteX18" fmla="*/ 153162 w 448913"/>
                <a:gd name="connsiteY18" fmla="*/ 37814 h 328993"/>
                <a:gd name="connsiteX19" fmla="*/ 162496 w 448913"/>
                <a:gd name="connsiteY19" fmla="*/ 35147 h 328993"/>
                <a:gd name="connsiteX20" fmla="*/ 167164 w 448913"/>
                <a:gd name="connsiteY20" fmla="*/ 32671 h 328993"/>
                <a:gd name="connsiteX21" fmla="*/ 172498 w 448913"/>
                <a:gd name="connsiteY21" fmla="*/ 27051 h 328993"/>
                <a:gd name="connsiteX22" fmla="*/ 183356 w 448913"/>
                <a:gd name="connsiteY22" fmla="*/ 22765 h 328993"/>
                <a:gd name="connsiteX23" fmla="*/ 185071 w 448913"/>
                <a:gd name="connsiteY23" fmla="*/ 17431 h 328993"/>
                <a:gd name="connsiteX24" fmla="*/ 185642 w 448913"/>
                <a:gd name="connsiteY24" fmla="*/ 13811 h 328993"/>
                <a:gd name="connsiteX25" fmla="*/ 183737 w 448913"/>
                <a:gd name="connsiteY25" fmla="*/ 1048 h 328993"/>
                <a:gd name="connsiteX26" fmla="*/ 200978 w 448913"/>
                <a:gd name="connsiteY26" fmla="*/ 0 h 328993"/>
                <a:gd name="connsiteX27" fmla="*/ 203168 w 448913"/>
                <a:gd name="connsiteY27" fmla="*/ 3334 h 328993"/>
                <a:gd name="connsiteX28" fmla="*/ 205264 w 448913"/>
                <a:gd name="connsiteY28" fmla="*/ 5524 h 328993"/>
                <a:gd name="connsiteX29" fmla="*/ 210407 w 448913"/>
                <a:gd name="connsiteY29" fmla="*/ 7906 h 328993"/>
                <a:gd name="connsiteX30" fmla="*/ 219456 w 448913"/>
                <a:gd name="connsiteY30" fmla="*/ 6572 h 328993"/>
                <a:gd name="connsiteX31" fmla="*/ 229743 w 448913"/>
                <a:gd name="connsiteY31" fmla="*/ 10954 h 328993"/>
                <a:gd name="connsiteX32" fmla="*/ 239078 w 448913"/>
                <a:gd name="connsiteY32" fmla="*/ 31718 h 328993"/>
                <a:gd name="connsiteX33" fmla="*/ 244983 w 448913"/>
                <a:gd name="connsiteY33" fmla="*/ 40481 h 328993"/>
                <a:gd name="connsiteX34" fmla="*/ 262223 w 448913"/>
                <a:gd name="connsiteY34" fmla="*/ 52006 h 328993"/>
                <a:gd name="connsiteX35" fmla="*/ 263747 w 448913"/>
                <a:gd name="connsiteY35" fmla="*/ 59722 h 328993"/>
                <a:gd name="connsiteX36" fmla="*/ 264033 w 448913"/>
                <a:gd name="connsiteY36" fmla="*/ 62389 h 328993"/>
                <a:gd name="connsiteX37" fmla="*/ 276701 w 448913"/>
                <a:gd name="connsiteY37" fmla="*/ 72199 h 328993"/>
                <a:gd name="connsiteX38" fmla="*/ 289560 w 448913"/>
                <a:gd name="connsiteY38" fmla="*/ 63246 h 328993"/>
                <a:gd name="connsiteX39" fmla="*/ 294608 w 448913"/>
                <a:gd name="connsiteY39" fmla="*/ 61246 h 328993"/>
                <a:gd name="connsiteX40" fmla="*/ 306038 w 448913"/>
                <a:gd name="connsiteY40" fmla="*/ 63627 h 328993"/>
                <a:gd name="connsiteX41" fmla="*/ 323945 w 448913"/>
                <a:gd name="connsiteY41" fmla="*/ 65818 h 328993"/>
                <a:gd name="connsiteX42" fmla="*/ 325469 w 448913"/>
                <a:gd name="connsiteY42" fmla="*/ 65151 h 328993"/>
                <a:gd name="connsiteX43" fmla="*/ 327565 w 448913"/>
                <a:gd name="connsiteY43" fmla="*/ 65437 h 328993"/>
                <a:gd name="connsiteX44" fmla="*/ 329089 w 448913"/>
                <a:gd name="connsiteY44" fmla="*/ 65913 h 328993"/>
                <a:gd name="connsiteX45" fmla="*/ 335185 w 448913"/>
                <a:gd name="connsiteY45" fmla="*/ 77248 h 328993"/>
                <a:gd name="connsiteX46" fmla="*/ 350996 w 448913"/>
                <a:gd name="connsiteY46" fmla="*/ 74200 h 328993"/>
                <a:gd name="connsiteX47" fmla="*/ 383286 w 448913"/>
                <a:gd name="connsiteY47" fmla="*/ 73724 h 328993"/>
                <a:gd name="connsiteX48" fmla="*/ 395859 w 448913"/>
                <a:gd name="connsiteY48" fmla="*/ 86487 h 328993"/>
                <a:gd name="connsiteX49" fmla="*/ 411099 w 448913"/>
                <a:gd name="connsiteY49" fmla="*/ 96583 h 328993"/>
                <a:gd name="connsiteX50" fmla="*/ 413861 w 448913"/>
                <a:gd name="connsiteY50" fmla="*/ 99536 h 328993"/>
                <a:gd name="connsiteX51" fmla="*/ 411194 w 448913"/>
                <a:gd name="connsiteY51" fmla="*/ 103442 h 328993"/>
                <a:gd name="connsiteX52" fmla="*/ 406717 w 448913"/>
                <a:gd name="connsiteY52" fmla="*/ 108299 h 328993"/>
                <a:gd name="connsiteX53" fmla="*/ 405955 w 448913"/>
                <a:gd name="connsiteY53" fmla="*/ 110490 h 328993"/>
                <a:gd name="connsiteX54" fmla="*/ 405765 w 448913"/>
                <a:gd name="connsiteY54" fmla="*/ 112681 h 328993"/>
                <a:gd name="connsiteX55" fmla="*/ 409766 w 448913"/>
                <a:gd name="connsiteY55" fmla="*/ 113824 h 328993"/>
                <a:gd name="connsiteX56" fmla="*/ 448913 w 448913"/>
                <a:gd name="connsiteY56" fmla="*/ 129921 h 328993"/>
                <a:gd name="connsiteX57" fmla="*/ 438626 w 448913"/>
                <a:gd name="connsiteY57" fmla="*/ 149162 h 328993"/>
                <a:gd name="connsiteX58" fmla="*/ 423481 w 448913"/>
                <a:gd name="connsiteY58" fmla="*/ 170402 h 328993"/>
                <a:gd name="connsiteX59" fmla="*/ 413290 w 448913"/>
                <a:gd name="connsiteY59" fmla="*/ 180689 h 328993"/>
                <a:gd name="connsiteX60" fmla="*/ 391096 w 448913"/>
                <a:gd name="connsiteY60" fmla="*/ 210217 h 328993"/>
                <a:gd name="connsiteX61" fmla="*/ 386048 w 448913"/>
                <a:gd name="connsiteY61" fmla="*/ 216980 h 328993"/>
                <a:gd name="connsiteX62" fmla="*/ 379762 w 448913"/>
                <a:gd name="connsiteY62" fmla="*/ 223837 h 328993"/>
                <a:gd name="connsiteX63" fmla="*/ 369665 w 448913"/>
                <a:gd name="connsiteY63" fmla="*/ 245840 h 328993"/>
                <a:gd name="connsiteX64" fmla="*/ 360521 w 448913"/>
                <a:gd name="connsiteY64" fmla="*/ 256603 h 328993"/>
                <a:gd name="connsiteX65" fmla="*/ 349758 w 448913"/>
                <a:gd name="connsiteY65" fmla="*/ 264128 h 328993"/>
                <a:gd name="connsiteX66" fmla="*/ 333661 w 448913"/>
                <a:gd name="connsiteY66" fmla="*/ 279368 h 328993"/>
                <a:gd name="connsiteX67" fmla="*/ 336709 w 448913"/>
                <a:gd name="connsiteY67" fmla="*/ 288036 h 328993"/>
                <a:gd name="connsiteX68" fmla="*/ 337852 w 448913"/>
                <a:gd name="connsiteY68" fmla="*/ 290322 h 328993"/>
                <a:gd name="connsiteX69" fmla="*/ 333470 w 448913"/>
                <a:gd name="connsiteY69" fmla="*/ 304324 h 328993"/>
                <a:gd name="connsiteX70" fmla="*/ 308420 w 448913"/>
                <a:gd name="connsiteY70" fmla="*/ 299942 h 328993"/>
                <a:gd name="connsiteX71" fmla="*/ 302895 w 448913"/>
                <a:gd name="connsiteY71" fmla="*/ 297466 h 328993"/>
                <a:gd name="connsiteX72" fmla="*/ 293560 w 448913"/>
                <a:gd name="connsiteY72" fmla="*/ 297180 h 328993"/>
                <a:gd name="connsiteX73" fmla="*/ 284702 w 448913"/>
                <a:gd name="connsiteY73" fmla="*/ 300609 h 328993"/>
                <a:gd name="connsiteX74" fmla="*/ 281273 w 448913"/>
                <a:gd name="connsiteY74" fmla="*/ 304610 h 328993"/>
                <a:gd name="connsiteX75" fmla="*/ 272605 w 448913"/>
                <a:gd name="connsiteY75" fmla="*/ 310610 h 328993"/>
                <a:gd name="connsiteX76" fmla="*/ 270129 w 448913"/>
                <a:gd name="connsiteY76" fmla="*/ 311182 h 328993"/>
                <a:gd name="connsiteX77" fmla="*/ 267653 w 448913"/>
                <a:gd name="connsiteY77" fmla="*/ 307753 h 328993"/>
                <a:gd name="connsiteX78" fmla="*/ 245935 w 448913"/>
                <a:gd name="connsiteY78" fmla="*/ 317183 h 328993"/>
                <a:gd name="connsiteX79" fmla="*/ 233648 w 448913"/>
                <a:gd name="connsiteY79" fmla="*/ 325279 h 328993"/>
                <a:gd name="connsiteX80" fmla="*/ 219837 w 448913"/>
                <a:gd name="connsiteY80" fmla="*/ 328993 h 328993"/>
                <a:gd name="connsiteX81" fmla="*/ 216503 w 448913"/>
                <a:gd name="connsiteY81" fmla="*/ 307181 h 328993"/>
                <a:gd name="connsiteX82" fmla="*/ 210503 w 448913"/>
                <a:gd name="connsiteY82" fmla="*/ 285464 h 328993"/>
                <a:gd name="connsiteX83" fmla="*/ 206121 w 448913"/>
                <a:gd name="connsiteY83" fmla="*/ 274034 h 328993"/>
                <a:gd name="connsiteX84" fmla="*/ 198215 w 448913"/>
                <a:gd name="connsiteY84" fmla="*/ 260604 h 328993"/>
                <a:gd name="connsiteX85" fmla="*/ 192214 w 448913"/>
                <a:gd name="connsiteY85" fmla="*/ 252222 h 328993"/>
                <a:gd name="connsiteX86" fmla="*/ 178499 w 448913"/>
                <a:gd name="connsiteY86" fmla="*/ 248317 h 328993"/>
                <a:gd name="connsiteX87" fmla="*/ 142399 w 448913"/>
                <a:gd name="connsiteY87" fmla="*/ 260223 h 328993"/>
                <a:gd name="connsiteX88" fmla="*/ 126587 w 448913"/>
                <a:gd name="connsiteY88" fmla="*/ 240697 h 328993"/>
                <a:gd name="connsiteX89" fmla="*/ 123634 w 448913"/>
                <a:gd name="connsiteY89" fmla="*/ 222028 h 328993"/>
                <a:gd name="connsiteX90" fmla="*/ 104299 w 448913"/>
                <a:gd name="connsiteY90" fmla="*/ 229743 h 328993"/>
                <a:gd name="connsiteX91" fmla="*/ 82296 w 448913"/>
                <a:gd name="connsiteY91" fmla="*/ 228314 h 328993"/>
                <a:gd name="connsiteX92" fmla="*/ 69818 w 448913"/>
                <a:gd name="connsiteY92" fmla="*/ 232982 h 328993"/>
                <a:gd name="connsiteX93" fmla="*/ 43910 w 448913"/>
                <a:gd name="connsiteY93" fmla="*/ 236220 h 328993"/>
                <a:gd name="connsiteX94" fmla="*/ 50292 w 448913"/>
                <a:gd name="connsiteY94" fmla="*/ 222599 h 328993"/>
                <a:gd name="connsiteX95" fmla="*/ 52864 w 448913"/>
                <a:gd name="connsiteY95" fmla="*/ 214408 h 328993"/>
                <a:gd name="connsiteX96" fmla="*/ 61246 w 448913"/>
                <a:gd name="connsiteY96" fmla="*/ 199835 h 328993"/>
                <a:gd name="connsiteX97" fmla="*/ 62960 w 448913"/>
                <a:gd name="connsiteY97" fmla="*/ 195929 h 328993"/>
                <a:gd name="connsiteX98" fmla="*/ 63817 w 448913"/>
                <a:gd name="connsiteY98" fmla="*/ 189357 h 328993"/>
                <a:gd name="connsiteX99" fmla="*/ 49625 w 448913"/>
                <a:gd name="connsiteY99" fmla="*/ 168878 h 328993"/>
                <a:gd name="connsiteX100" fmla="*/ 38291 w 448913"/>
                <a:gd name="connsiteY100" fmla="*/ 147828 h 328993"/>
                <a:gd name="connsiteX101" fmla="*/ 33147 w 448913"/>
                <a:gd name="connsiteY101" fmla="*/ 141637 h 328993"/>
                <a:gd name="connsiteX102" fmla="*/ 28004 w 448913"/>
                <a:gd name="connsiteY102" fmla="*/ 138208 h 328993"/>
                <a:gd name="connsiteX103" fmla="*/ 22574 w 448913"/>
                <a:gd name="connsiteY103" fmla="*/ 136493 h 328993"/>
                <a:gd name="connsiteX104" fmla="*/ 3620 w 448913"/>
                <a:gd name="connsiteY104" fmla="*/ 133731 h 328993"/>
                <a:gd name="connsiteX105" fmla="*/ 0 w 448913"/>
                <a:gd name="connsiteY105" fmla="*/ 117348 h 328993"/>
                <a:gd name="connsiteX106" fmla="*/ 1714 w 448913"/>
                <a:gd name="connsiteY106" fmla="*/ 115252 h 328993"/>
                <a:gd name="connsiteX107" fmla="*/ 4000 w 448913"/>
                <a:gd name="connsiteY107" fmla="*/ 112967 h 328993"/>
                <a:gd name="connsiteX108" fmla="*/ 17526 w 448913"/>
                <a:gd name="connsiteY108" fmla="*/ 112967 h 328993"/>
                <a:gd name="connsiteX109" fmla="*/ 21241 w 448913"/>
                <a:gd name="connsiteY109" fmla="*/ 111919 h 328993"/>
                <a:gd name="connsiteX110" fmla="*/ 21241 w 448913"/>
                <a:gd name="connsiteY110" fmla="*/ 101822 h 328993"/>
                <a:gd name="connsiteX111" fmla="*/ 27908 w 448913"/>
                <a:gd name="connsiteY111" fmla="*/ 95441 h 328993"/>
                <a:gd name="connsiteX112" fmla="*/ 37814 w 448913"/>
                <a:gd name="connsiteY112" fmla="*/ 92583 h 328993"/>
                <a:gd name="connsiteX113" fmla="*/ 49149 w 448913"/>
                <a:gd name="connsiteY113" fmla="*/ 93821 h 328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448913" h="328993">
                  <a:moveTo>
                    <a:pt x="49244" y="94012"/>
                  </a:moveTo>
                  <a:lnTo>
                    <a:pt x="100489" y="90106"/>
                  </a:lnTo>
                  <a:lnTo>
                    <a:pt x="102299" y="85058"/>
                  </a:lnTo>
                  <a:lnTo>
                    <a:pt x="101632" y="76391"/>
                  </a:lnTo>
                  <a:lnTo>
                    <a:pt x="105823" y="71056"/>
                  </a:lnTo>
                  <a:lnTo>
                    <a:pt x="107633" y="64199"/>
                  </a:lnTo>
                  <a:lnTo>
                    <a:pt x="106394" y="60484"/>
                  </a:lnTo>
                  <a:lnTo>
                    <a:pt x="106013" y="54674"/>
                  </a:lnTo>
                  <a:lnTo>
                    <a:pt x="138398" y="60770"/>
                  </a:lnTo>
                  <a:lnTo>
                    <a:pt x="163354" y="53816"/>
                  </a:lnTo>
                  <a:lnTo>
                    <a:pt x="165925" y="48387"/>
                  </a:lnTo>
                  <a:lnTo>
                    <a:pt x="165925" y="43815"/>
                  </a:lnTo>
                  <a:lnTo>
                    <a:pt x="163639" y="43148"/>
                  </a:lnTo>
                  <a:lnTo>
                    <a:pt x="158591" y="46101"/>
                  </a:lnTo>
                  <a:lnTo>
                    <a:pt x="156020" y="46577"/>
                  </a:lnTo>
                  <a:lnTo>
                    <a:pt x="153924" y="45244"/>
                  </a:lnTo>
                  <a:lnTo>
                    <a:pt x="152209" y="42958"/>
                  </a:lnTo>
                  <a:lnTo>
                    <a:pt x="151924" y="40386"/>
                  </a:lnTo>
                  <a:lnTo>
                    <a:pt x="153162" y="37814"/>
                  </a:lnTo>
                  <a:lnTo>
                    <a:pt x="162496" y="35147"/>
                  </a:lnTo>
                  <a:lnTo>
                    <a:pt x="167164" y="32671"/>
                  </a:lnTo>
                  <a:lnTo>
                    <a:pt x="172498" y="27051"/>
                  </a:lnTo>
                  <a:lnTo>
                    <a:pt x="183356" y="22765"/>
                  </a:lnTo>
                  <a:lnTo>
                    <a:pt x="185071" y="17431"/>
                  </a:lnTo>
                  <a:lnTo>
                    <a:pt x="185642" y="13811"/>
                  </a:lnTo>
                  <a:lnTo>
                    <a:pt x="183737" y="1048"/>
                  </a:lnTo>
                  <a:lnTo>
                    <a:pt x="200978" y="0"/>
                  </a:lnTo>
                  <a:lnTo>
                    <a:pt x="203168" y="3334"/>
                  </a:lnTo>
                  <a:lnTo>
                    <a:pt x="205264" y="5524"/>
                  </a:lnTo>
                  <a:lnTo>
                    <a:pt x="210407" y="7906"/>
                  </a:lnTo>
                  <a:lnTo>
                    <a:pt x="219456" y="6572"/>
                  </a:lnTo>
                  <a:lnTo>
                    <a:pt x="229743" y="10954"/>
                  </a:lnTo>
                  <a:lnTo>
                    <a:pt x="239078" y="31718"/>
                  </a:lnTo>
                  <a:lnTo>
                    <a:pt x="244983" y="40481"/>
                  </a:lnTo>
                  <a:lnTo>
                    <a:pt x="262223" y="52006"/>
                  </a:lnTo>
                  <a:lnTo>
                    <a:pt x="263747" y="59722"/>
                  </a:lnTo>
                  <a:lnTo>
                    <a:pt x="264033" y="62389"/>
                  </a:lnTo>
                  <a:lnTo>
                    <a:pt x="276701" y="72199"/>
                  </a:lnTo>
                  <a:lnTo>
                    <a:pt x="289560" y="63246"/>
                  </a:lnTo>
                  <a:lnTo>
                    <a:pt x="294608" y="61246"/>
                  </a:lnTo>
                  <a:lnTo>
                    <a:pt x="306038" y="63627"/>
                  </a:lnTo>
                  <a:lnTo>
                    <a:pt x="323945" y="65818"/>
                  </a:lnTo>
                  <a:lnTo>
                    <a:pt x="325469" y="65151"/>
                  </a:lnTo>
                  <a:lnTo>
                    <a:pt x="327565" y="65437"/>
                  </a:lnTo>
                  <a:lnTo>
                    <a:pt x="329089" y="65913"/>
                  </a:lnTo>
                  <a:lnTo>
                    <a:pt x="335185" y="77248"/>
                  </a:lnTo>
                  <a:lnTo>
                    <a:pt x="350996" y="74200"/>
                  </a:lnTo>
                  <a:lnTo>
                    <a:pt x="383286" y="73724"/>
                  </a:lnTo>
                  <a:lnTo>
                    <a:pt x="395859" y="86487"/>
                  </a:lnTo>
                  <a:lnTo>
                    <a:pt x="411099" y="96583"/>
                  </a:lnTo>
                  <a:lnTo>
                    <a:pt x="413861" y="99536"/>
                  </a:lnTo>
                  <a:lnTo>
                    <a:pt x="411194" y="103442"/>
                  </a:lnTo>
                  <a:lnTo>
                    <a:pt x="406717" y="108299"/>
                  </a:lnTo>
                  <a:lnTo>
                    <a:pt x="405955" y="110490"/>
                  </a:lnTo>
                  <a:lnTo>
                    <a:pt x="405765" y="112681"/>
                  </a:lnTo>
                  <a:lnTo>
                    <a:pt x="409766" y="113824"/>
                  </a:lnTo>
                  <a:lnTo>
                    <a:pt x="448913" y="129921"/>
                  </a:lnTo>
                  <a:lnTo>
                    <a:pt x="438626" y="149162"/>
                  </a:lnTo>
                  <a:lnTo>
                    <a:pt x="423481" y="170402"/>
                  </a:lnTo>
                  <a:lnTo>
                    <a:pt x="413290" y="180689"/>
                  </a:lnTo>
                  <a:lnTo>
                    <a:pt x="391096" y="210217"/>
                  </a:lnTo>
                  <a:lnTo>
                    <a:pt x="386048" y="216980"/>
                  </a:lnTo>
                  <a:lnTo>
                    <a:pt x="379762" y="223837"/>
                  </a:lnTo>
                  <a:lnTo>
                    <a:pt x="369665" y="245840"/>
                  </a:lnTo>
                  <a:lnTo>
                    <a:pt x="360521" y="256603"/>
                  </a:lnTo>
                  <a:lnTo>
                    <a:pt x="349758" y="264128"/>
                  </a:lnTo>
                  <a:lnTo>
                    <a:pt x="333661" y="279368"/>
                  </a:lnTo>
                  <a:lnTo>
                    <a:pt x="336709" y="288036"/>
                  </a:lnTo>
                  <a:lnTo>
                    <a:pt x="337852" y="290322"/>
                  </a:lnTo>
                  <a:lnTo>
                    <a:pt x="333470" y="304324"/>
                  </a:lnTo>
                  <a:lnTo>
                    <a:pt x="308420" y="299942"/>
                  </a:lnTo>
                  <a:lnTo>
                    <a:pt x="302895" y="297466"/>
                  </a:lnTo>
                  <a:lnTo>
                    <a:pt x="293560" y="297180"/>
                  </a:lnTo>
                  <a:lnTo>
                    <a:pt x="284702" y="300609"/>
                  </a:lnTo>
                  <a:lnTo>
                    <a:pt x="281273" y="304610"/>
                  </a:lnTo>
                  <a:lnTo>
                    <a:pt x="272605" y="310610"/>
                  </a:lnTo>
                  <a:lnTo>
                    <a:pt x="270129" y="311182"/>
                  </a:lnTo>
                  <a:lnTo>
                    <a:pt x="267653" y="307753"/>
                  </a:lnTo>
                  <a:lnTo>
                    <a:pt x="245935" y="317183"/>
                  </a:lnTo>
                  <a:lnTo>
                    <a:pt x="233648" y="325279"/>
                  </a:lnTo>
                  <a:lnTo>
                    <a:pt x="219837" y="328993"/>
                  </a:lnTo>
                  <a:lnTo>
                    <a:pt x="216503" y="307181"/>
                  </a:lnTo>
                  <a:lnTo>
                    <a:pt x="210503" y="285464"/>
                  </a:lnTo>
                  <a:lnTo>
                    <a:pt x="206121" y="274034"/>
                  </a:lnTo>
                  <a:lnTo>
                    <a:pt x="198215" y="260604"/>
                  </a:lnTo>
                  <a:lnTo>
                    <a:pt x="192214" y="252222"/>
                  </a:lnTo>
                  <a:lnTo>
                    <a:pt x="178499" y="248317"/>
                  </a:lnTo>
                  <a:lnTo>
                    <a:pt x="142399" y="260223"/>
                  </a:lnTo>
                  <a:lnTo>
                    <a:pt x="126587" y="240697"/>
                  </a:lnTo>
                  <a:lnTo>
                    <a:pt x="123634" y="222028"/>
                  </a:lnTo>
                  <a:lnTo>
                    <a:pt x="104299" y="229743"/>
                  </a:lnTo>
                  <a:lnTo>
                    <a:pt x="82296" y="228314"/>
                  </a:lnTo>
                  <a:lnTo>
                    <a:pt x="69818" y="232982"/>
                  </a:lnTo>
                  <a:lnTo>
                    <a:pt x="43910" y="236220"/>
                  </a:lnTo>
                  <a:lnTo>
                    <a:pt x="50292" y="222599"/>
                  </a:lnTo>
                  <a:lnTo>
                    <a:pt x="52864" y="214408"/>
                  </a:lnTo>
                  <a:lnTo>
                    <a:pt x="61246" y="199835"/>
                  </a:lnTo>
                  <a:lnTo>
                    <a:pt x="62960" y="195929"/>
                  </a:lnTo>
                  <a:lnTo>
                    <a:pt x="63817" y="189357"/>
                  </a:lnTo>
                  <a:lnTo>
                    <a:pt x="49625" y="168878"/>
                  </a:lnTo>
                  <a:lnTo>
                    <a:pt x="38291" y="147828"/>
                  </a:lnTo>
                  <a:lnTo>
                    <a:pt x="33147" y="141637"/>
                  </a:lnTo>
                  <a:lnTo>
                    <a:pt x="28004" y="138208"/>
                  </a:lnTo>
                  <a:lnTo>
                    <a:pt x="22574" y="136493"/>
                  </a:lnTo>
                  <a:lnTo>
                    <a:pt x="3620" y="133731"/>
                  </a:lnTo>
                  <a:lnTo>
                    <a:pt x="0" y="117348"/>
                  </a:lnTo>
                  <a:lnTo>
                    <a:pt x="1714" y="115252"/>
                  </a:lnTo>
                  <a:lnTo>
                    <a:pt x="4000" y="112967"/>
                  </a:lnTo>
                  <a:lnTo>
                    <a:pt x="17526" y="112967"/>
                  </a:lnTo>
                  <a:cubicBezTo>
                    <a:pt x="17526" y="112967"/>
                    <a:pt x="21241" y="111919"/>
                    <a:pt x="21241" y="111919"/>
                  </a:cubicBezTo>
                  <a:lnTo>
                    <a:pt x="21241" y="101822"/>
                  </a:lnTo>
                  <a:lnTo>
                    <a:pt x="27908" y="95441"/>
                  </a:lnTo>
                  <a:lnTo>
                    <a:pt x="37814" y="92583"/>
                  </a:lnTo>
                  <a:lnTo>
                    <a:pt x="49149" y="93821"/>
                  </a:lnTo>
                </a:path>
              </a:pathLst>
            </a:custGeom>
            <a:grpFill/>
            <a:ln w="2381" cap="sq">
              <a:noFill/>
              <a:prstDash val="solid"/>
              <a:bevel/>
            </a:ln>
          </p:spPr>
          <p:txBody>
            <a:bodyPr rtlCol="0" anchor="ctr"/>
            <a:lstStyle/>
            <a:p>
              <a:endParaRPr lang="cs-CZ"/>
            </a:p>
          </p:txBody>
        </p:sp>
        <p:sp>
          <p:nvSpPr>
            <p:cNvPr id="231" name="Freeform: Shape 230">
              <a:extLst>
                <a:ext uri="{FF2B5EF4-FFF2-40B4-BE49-F238E27FC236}">
                  <a16:creationId xmlns:a16="http://schemas.microsoft.com/office/drawing/2014/main" id="{8C975190-B857-5670-0415-44C8E0D6B974}"/>
                </a:ext>
              </a:extLst>
            </p:cNvPr>
            <p:cNvSpPr/>
            <p:nvPr/>
          </p:nvSpPr>
          <p:spPr>
            <a:xfrm>
              <a:off x="13869827" y="7901587"/>
              <a:ext cx="183927" cy="181165"/>
            </a:xfrm>
            <a:custGeom>
              <a:avLst/>
              <a:gdLst>
                <a:gd name="connsiteX0" fmla="*/ 0 w 183927"/>
                <a:gd name="connsiteY0" fmla="*/ 94107 h 181165"/>
                <a:gd name="connsiteX1" fmla="*/ 4381 w 183927"/>
                <a:gd name="connsiteY1" fmla="*/ 80105 h 181165"/>
                <a:gd name="connsiteX2" fmla="*/ 3238 w 183927"/>
                <a:gd name="connsiteY2" fmla="*/ 77819 h 181165"/>
                <a:gd name="connsiteX3" fmla="*/ 191 w 183927"/>
                <a:gd name="connsiteY3" fmla="*/ 69152 h 181165"/>
                <a:gd name="connsiteX4" fmla="*/ 16288 w 183927"/>
                <a:gd name="connsiteY4" fmla="*/ 53911 h 181165"/>
                <a:gd name="connsiteX5" fmla="*/ 27051 w 183927"/>
                <a:gd name="connsiteY5" fmla="*/ 46387 h 181165"/>
                <a:gd name="connsiteX6" fmla="*/ 36195 w 183927"/>
                <a:gd name="connsiteY6" fmla="*/ 35623 h 181165"/>
                <a:gd name="connsiteX7" fmla="*/ 46292 w 183927"/>
                <a:gd name="connsiteY7" fmla="*/ 13621 h 181165"/>
                <a:gd name="connsiteX8" fmla="*/ 52578 w 183927"/>
                <a:gd name="connsiteY8" fmla="*/ 6763 h 181165"/>
                <a:gd name="connsiteX9" fmla="*/ 57626 w 183927"/>
                <a:gd name="connsiteY9" fmla="*/ 0 h 181165"/>
                <a:gd name="connsiteX10" fmla="*/ 73914 w 183927"/>
                <a:gd name="connsiteY10" fmla="*/ 1905 h 181165"/>
                <a:gd name="connsiteX11" fmla="*/ 92583 w 183927"/>
                <a:gd name="connsiteY11" fmla="*/ 286 h 181165"/>
                <a:gd name="connsiteX12" fmla="*/ 92583 w 183927"/>
                <a:gd name="connsiteY12" fmla="*/ 16669 h 181165"/>
                <a:gd name="connsiteX13" fmla="*/ 100584 w 183927"/>
                <a:gd name="connsiteY13" fmla="*/ 21527 h 181165"/>
                <a:gd name="connsiteX14" fmla="*/ 112109 w 183927"/>
                <a:gd name="connsiteY14" fmla="*/ 18288 h 181165"/>
                <a:gd name="connsiteX15" fmla="*/ 131635 w 183927"/>
                <a:gd name="connsiteY15" fmla="*/ 26479 h 181165"/>
                <a:gd name="connsiteX16" fmla="*/ 160020 w 183927"/>
                <a:gd name="connsiteY16" fmla="*/ 36290 h 181165"/>
                <a:gd name="connsiteX17" fmla="*/ 173355 w 183927"/>
                <a:gd name="connsiteY17" fmla="*/ 34671 h 181165"/>
                <a:gd name="connsiteX18" fmla="*/ 181356 w 183927"/>
                <a:gd name="connsiteY18" fmla="*/ 37910 h 181165"/>
                <a:gd name="connsiteX19" fmla="*/ 176879 w 183927"/>
                <a:gd name="connsiteY19" fmla="*/ 64008 h 181165"/>
                <a:gd name="connsiteX20" fmla="*/ 167164 w 183927"/>
                <a:gd name="connsiteY20" fmla="*/ 81915 h 181165"/>
                <a:gd name="connsiteX21" fmla="*/ 153829 w 183927"/>
                <a:gd name="connsiteY21" fmla="*/ 86773 h 181165"/>
                <a:gd name="connsiteX22" fmla="*/ 156496 w 183927"/>
                <a:gd name="connsiteY22" fmla="*/ 101441 h 181165"/>
                <a:gd name="connsiteX23" fmla="*/ 166211 w 183927"/>
                <a:gd name="connsiteY23" fmla="*/ 101441 h 181165"/>
                <a:gd name="connsiteX24" fmla="*/ 176879 w 183927"/>
                <a:gd name="connsiteY24" fmla="*/ 96583 h 181165"/>
                <a:gd name="connsiteX25" fmla="*/ 183928 w 183927"/>
                <a:gd name="connsiteY25" fmla="*/ 127540 h 181165"/>
                <a:gd name="connsiteX26" fmla="*/ 168021 w 183927"/>
                <a:gd name="connsiteY26" fmla="*/ 134017 h 181165"/>
                <a:gd name="connsiteX27" fmla="*/ 158305 w 183927"/>
                <a:gd name="connsiteY27" fmla="*/ 142113 h 181165"/>
                <a:gd name="connsiteX28" fmla="*/ 142304 w 183927"/>
                <a:gd name="connsiteY28" fmla="*/ 156781 h 181165"/>
                <a:gd name="connsiteX29" fmla="*/ 132588 w 183927"/>
                <a:gd name="connsiteY29" fmla="*/ 181165 h 181165"/>
                <a:gd name="connsiteX30" fmla="*/ 119253 w 183927"/>
                <a:gd name="connsiteY30" fmla="*/ 181165 h 181165"/>
                <a:gd name="connsiteX31" fmla="*/ 87344 w 183927"/>
                <a:gd name="connsiteY31" fmla="*/ 171450 h 181165"/>
                <a:gd name="connsiteX32" fmla="*/ 68675 w 183927"/>
                <a:gd name="connsiteY32" fmla="*/ 164973 h 181165"/>
                <a:gd name="connsiteX33" fmla="*/ 48768 w 183927"/>
                <a:gd name="connsiteY33" fmla="*/ 169069 h 181165"/>
                <a:gd name="connsiteX34" fmla="*/ 43339 w 183927"/>
                <a:gd name="connsiteY34" fmla="*/ 160020 h 181165"/>
                <a:gd name="connsiteX35" fmla="*/ 39910 w 183927"/>
                <a:gd name="connsiteY35" fmla="*/ 144113 h 181165"/>
                <a:gd name="connsiteX36" fmla="*/ 36576 w 183927"/>
                <a:gd name="connsiteY36" fmla="*/ 138779 h 181165"/>
                <a:gd name="connsiteX37" fmla="*/ 24860 w 183927"/>
                <a:gd name="connsiteY37" fmla="*/ 130873 h 181165"/>
                <a:gd name="connsiteX38" fmla="*/ 20003 w 183927"/>
                <a:gd name="connsiteY38" fmla="*/ 125444 h 181165"/>
                <a:gd name="connsiteX39" fmla="*/ 20003 w 183927"/>
                <a:gd name="connsiteY39" fmla="*/ 119444 h 181165"/>
                <a:gd name="connsiteX40" fmla="*/ 21336 w 183927"/>
                <a:gd name="connsiteY40" fmla="*/ 112204 h 181165"/>
                <a:gd name="connsiteX41" fmla="*/ 22288 w 183927"/>
                <a:gd name="connsiteY41" fmla="*/ 104013 h 181165"/>
                <a:gd name="connsiteX42" fmla="*/ 20193 w 183927"/>
                <a:gd name="connsiteY42" fmla="*/ 100775 h 181165"/>
                <a:gd name="connsiteX43" fmla="*/ 16574 w 183927"/>
                <a:gd name="connsiteY43" fmla="*/ 97822 h 181165"/>
                <a:gd name="connsiteX44" fmla="*/ 7049 w 183927"/>
                <a:gd name="connsiteY44" fmla="*/ 97536 h 181165"/>
                <a:gd name="connsiteX45" fmla="*/ 3810 w 183927"/>
                <a:gd name="connsiteY45" fmla="*/ 99060 h 181165"/>
                <a:gd name="connsiteX46" fmla="*/ 0 w 183927"/>
                <a:gd name="connsiteY46" fmla="*/ 94202 h 181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83927" h="181165">
                  <a:moveTo>
                    <a:pt x="0" y="94107"/>
                  </a:moveTo>
                  <a:lnTo>
                    <a:pt x="4381" y="80105"/>
                  </a:lnTo>
                  <a:lnTo>
                    <a:pt x="3238" y="77819"/>
                  </a:lnTo>
                  <a:lnTo>
                    <a:pt x="191" y="69152"/>
                  </a:lnTo>
                  <a:lnTo>
                    <a:pt x="16288" y="53911"/>
                  </a:lnTo>
                  <a:lnTo>
                    <a:pt x="27051" y="46387"/>
                  </a:lnTo>
                  <a:lnTo>
                    <a:pt x="36195" y="35623"/>
                  </a:lnTo>
                  <a:lnTo>
                    <a:pt x="46292" y="13621"/>
                  </a:lnTo>
                  <a:lnTo>
                    <a:pt x="52578" y="6763"/>
                  </a:lnTo>
                  <a:lnTo>
                    <a:pt x="57626" y="0"/>
                  </a:lnTo>
                  <a:lnTo>
                    <a:pt x="73914" y="1905"/>
                  </a:lnTo>
                  <a:lnTo>
                    <a:pt x="92583" y="286"/>
                  </a:lnTo>
                  <a:lnTo>
                    <a:pt x="92583" y="16669"/>
                  </a:lnTo>
                  <a:lnTo>
                    <a:pt x="100584" y="21527"/>
                  </a:lnTo>
                  <a:lnTo>
                    <a:pt x="112109" y="18288"/>
                  </a:lnTo>
                  <a:lnTo>
                    <a:pt x="131635" y="26479"/>
                  </a:lnTo>
                  <a:lnTo>
                    <a:pt x="160020" y="36290"/>
                  </a:lnTo>
                  <a:lnTo>
                    <a:pt x="173355" y="34671"/>
                  </a:lnTo>
                  <a:lnTo>
                    <a:pt x="181356" y="37910"/>
                  </a:lnTo>
                  <a:lnTo>
                    <a:pt x="176879" y="64008"/>
                  </a:lnTo>
                  <a:lnTo>
                    <a:pt x="167164" y="81915"/>
                  </a:lnTo>
                  <a:lnTo>
                    <a:pt x="153829" y="86773"/>
                  </a:lnTo>
                  <a:lnTo>
                    <a:pt x="156496" y="101441"/>
                  </a:lnTo>
                  <a:lnTo>
                    <a:pt x="166211" y="101441"/>
                  </a:lnTo>
                  <a:lnTo>
                    <a:pt x="176879" y="96583"/>
                  </a:lnTo>
                  <a:lnTo>
                    <a:pt x="183928" y="127540"/>
                  </a:lnTo>
                  <a:lnTo>
                    <a:pt x="168021" y="134017"/>
                  </a:lnTo>
                  <a:lnTo>
                    <a:pt x="158305" y="142113"/>
                  </a:lnTo>
                  <a:lnTo>
                    <a:pt x="142304" y="156781"/>
                  </a:lnTo>
                  <a:lnTo>
                    <a:pt x="132588" y="181165"/>
                  </a:lnTo>
                  <a:lnTo>
                    <a:pt x="119253" y="181165"/>
                  </a:lnTo>
                  <a:lnTo>
                    <a:pt x="87344" y="171450"/>
                  </a:lnTo>
                  <a:lnTo>
                    <a:pt x="68675" y="164973"/>
                  </a:lnTo>
                  <a:lnTo>
                    <a:pt x="48768" y="169069"/>
                  </a:lnTo>
                  <a:lnTo>
                    <a:pt x="43339" y="160020"/>
                  </a:lnTo>
                  <a:lnTo>
                    <a:pt x="39910" y="144113"/>
                  </a:lnTo>
                  <a:lnTo>
                    <a:pt x="36576" y="138779"/>
                  </a:lnTo>
                  <a:lnTo>
                    <a:pt x="24860" y="130873"/>
                  </a:lnTo>
                  <a:lnTo>
                    <a:pt x="20003" y="125444"/>
                  </a:lnTo>
                  <a:lnTo>
                    <a:pt x="20003" y="119444"/>
                  </a:lnTo>
                  <a:cubicBezTo>
                    <a:pt x="20003" y="119444"/>
                    <a:pt x="21336" y="112204"/>
                    <a:pt x="21336" y="112204"/>
                  </a:cubicBezTo>
                  <a:lnTo>
                    <a:pt x="22288" y="104013"/>
                  </a:lnTo>
                  <a:lnTo>
                    <a:pt x="20193" y="100775"/>
                  </a:lnTo>
                  <a:lnTo>
                    <a:pt x="16574" y="97822"/>
                  </a:lnTo>
                  <a:lnTo>
                    <a:pt x="7049" y="97536"/>
                  </a:lnTo>
                  <a:lnTo>
                    <a:pt x="3810" y="99060"/>
                  </a:lnTo>
                  <a:lnTo>
                    <a:pt x="0" y="94202"/>
                  </a:lnTo>
                </a:path>
              </a:pathLst>
            </a:custGeom>
            <a:grpFill/>
            <a:ln w="2381" cap="sq">
              <a:noFill/>
              <a:prstDash val="solid"/>
              <a:bevel/>
            </a:ln>
          </p:spPr>
          <p:txBody>
            <a:bodyPr rtlCol="0" anchor="ctr"/>
            <a:lstStyle/>
            <a:p>
              <a:endParaRPr lang="cs-CZ"/>
            </a:p>
          </p:txBody>
        </p:sp>
        <p:sp>
          <p:nvSpPr>
            <p:cNvPr id="232" name="Freeform: Shape 231">
              <a:extLst>
                <a:ext uri="{FF2B5EF4-FFF2-40B4-BE49-F238E27FC236}">
                  <a16:creationId xmlns:a16="http://schemas.microsoft.com/office/drawing/2014/main" id="{2502ECA7-83ED-89E3-AC3A-ACD78D1C2A9E}"/>
                </a:ext>
              </a:extLst>
            </p:cNvPr>
            <p:cNvSpPr/>
            <p:nvPr/>
          </p:nvSpPr>
          <p:spPr>
            <a:xfrm>
              <a:off x="13442916" y="7824911"/>
              <a:ext cx="157448" cy="103536"/>
            </a:xfrm>
            <a:custGeom>
              <a:avLst/>
              <a:gdLst>
                <a:gd name="connsiteX0" fmla="*/ 97250 w 157448"/>
                <a:gd name="connsiteY0" fmla="*/ 191 h 103536"/>
                <a:gd name="connsiteX1" fmla="*/ 116205 w 157448"/>
                <a:gd name="connsiteY1" fmla="*/ 2953 h 103536"/>
                <a:gd name="connsiteX2" fmla="*/ 121634 w 157448"/>
                <a:gd name="connsiteY2" fmla="*/ 4667 h 103536"/>
                <a:gd name="connsiteX3" fmla="*/ 126778 w 157448"/>
                <a:gd name="connsiteY3" fmla="*/ 8096 h 103536"/>
                <a:gd name="connsiteX4" fmla="*/ 131921 w 157448"/>
                <a:gd name="connsiteY4" fmla="*/ 14288 h 103536"/>
                <a:gd name="connsiteX5" fmla="*/ 143256 w 157448"/>
                <a:gd name="connsiteY5" fmla="*/ 35338 h 103536"/>
                <a:gd name="connsiteX6" fmla="*/ 157448 w 157448"/>
                <a:gd name="connsiteY6" fmla="*/ 55817 h 103536"/>
                <a:gd name="connsiteX7" fmla="*/ 156591 w 157448"/>
                <a:gd name="connsiteY7" fmla="*/ 62389 h 103536"/>
                <a:gd name="connsiteX8" fmla="*/ 154877 w 157448"/>
                <a:gd name="connsiteY8" fmla="*/ 66294 h 103536"/>
                <a:gd name="connsiteX9" fmla="*/ 146495 w 157448"/>
                <a:gd name="connsiteY9" fmla="*/ 80867 h 103536"/>
                <a:gd name="connsiteX10" fmla="*/ 143923 w 157448"/>
                <a:gd name="connsiteY10" fmla="*/ 89059 h 103536"/>
                <a:gd name="connsiteX11" fmla="*/ 137541 w 157448"/>
                <a:gd name="connsiteY11" fmla="*/ 102680 h 103536"/>
                <a:gd name="connsiteX12" fmla="*/ 126968 w 157448"/>
                <a:gd name="connsiteY12" fmla="*/ 96965 h 103536"/>
                <a:gd name="connsiteX13" fmla="*/ 122111 w 157448"/>
                <a:gd name="connsiteY13" fmla="*/ 95441 h 103536"/>
                <a:gd name="connsiteX14" fmla="*/ 117443 w 157448"/>
                <a:gd name="connsiteY14" fmla="*/ 95060 h 103536"/>
                <a:gd name="connsiteX15" fmla="*/ 114014 w 157448"/>
                <a:gd name="connsiteY15" fmla="*/ 98108 h 103536"/>
                <a:gd name="connsiteX16" fmla="*/ 112681 w 157448"/>
                <a:gd name="connsiteY16" fmla="*/ 101060 h 103536"/>
                <a:gd name="connsiteX17" fmla="*/ 111062 w 157448"/>
                <a:gd name="connsiteY17" fmla="*/ 103537 h 103536"/>
                <a:gd name="connsiteX18" fmla="*/ 107061 w 157448"/>
                <a:gd name="connsiteY18" fmla="*/ 103537 h 103536"/>
                <a:gd name="connsiteX19" fmla="*/ 100870 w 157448"/>
                <a:gd name="connsiteY19" fmla="*/ 101537 h 103536"/>
                <a:gd name="connsiteX20" fmla="*/ 72485 w 157448"/>
                <a:gd name="connsiteY20" fmla="*/ 86582 h 103536"/>
                <a:gd name="connsiteX21" fmla="*/ 62103 w 157448"/>
                <a:gd name="connsiteY21" fmla="*/ 88678 h 103536"/>
                <a:gd name="connsiteX22" fmla="*/ 45815 w 157448"/>
                <a:gd name="connsiteY22" fmla="*/ 88678 h 103536"/>
                <a:gd name="connsiteX23" fmla="*/ 38481 w 157448"/>
                <a:gd name="connsiteY23" fmla="*/ 71914 h 103536"/>
                <a:gd name="connsiteX24" fmla="*/ 29337 w 157448"/>
                <a:gd name="connsiteY24" fmla="*/ 71914 h 103536"/>
                <a:gd name="connsiteX25" fmla="*/ 15907 w 157448"/>
                <a:gd name="connsiteY25" fmla="*/ 61817 h 103536"/>
                <a:gd name="connsiteX26" fmla="*/ 4286 w 157448"/>
                <a:gd name="connsiteY26" fmla="*/ 48292 h 103536"/>
                <a:gd name="connsiteX27" fmla="*/ 0 w 157448"/>
                <a:gd name="connsiteY27" fmla="*/ 37052 h 103536"/>
                <a:gd name="connsiteX28" fmla="*/ 3048 w 157448"/>
                <a:gd name="connsiteY28" fmla="*/ 15716 h 103536"/>
                <a:gd name="connsiteX29" fmla="*/ 13430 w 157448"/>
                <a:gd name="connsiteY29" fmla="*/ 8954 h 103536"/>
                <a:gd name="connsiteX30" fmla="*/ 21336 w 157448"/>
                <a:gd name="connsiteY30" fmla="*/ 10097 h 103536"/>
                <a:gd name="connsiteX31" fmla="*/ 33528 w 157448"/>
                <a:gd name="connsiteY31" fmla="*/ 18002 h 103536"/>
                <a:gd name="connsiteX32" fmla="*/ 40862 w 157448"/>
                <a:gd name="connsiteY32" fmla="*/ 25908 h 103536"/>
                <a:gd name="connsiteX33" fmla="*/ 50578 w 157448"/>
                <a:gd name="connsiteY33" fmla="*/ 25908 h 103536"/>
                <a:gd name="connsiteX34" fmla="*/ 70676 w 157448"/>
                <a:gd name="connsiteY34" fmla="*/ 21431 h 103536"/>
                <a:gd name="connsiteX35" fmla="*/ 87725 w 157448"/>
                <a:gd name="connsiteY35" fmla="*/ 10192 h 103536"/>
                <a:gd name="connsiteX36" fmla="*/ 97155 w 157448"/>
                <a:gd name="connsiteY36" fmla="*/ 0 h 103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57448" h="103536">
                  <a:moveTo>
                    <a:pt x="97250" y="191"/>
                  </a:moveTo>
                  <a:lnTo>
                    <a:pt x="116205" y="2953"/>
                  </a:lnTo>
                  <a:lnTo>
                    <a:pt x="121634" y="4667"/>
                  </a:lnTo>
                  <a:lnTo>
                    <a:pt x="126778" y="8096"/>
                  </a:lnTo>
                  <a:lnTo>
                    <a:pt x="131921" y="14288"/>
                  </a:lnTo>
                  <a:lnTo>
                    <a:pt x="143256" y="35338"/>
                  </a:lnTo>
                  <a:lnTo>
                    <a:pt x="157448" y="55817"/>
                  </a:lnTo>
                  <a:lnTo>
                    <a:pt x="156591" y="62389"/>
                  </a:lnTo>
                  <a:lnTo>
                    <a:pt x="154877" y="66294"/>
                  </a:lnTo>
                  <a:lnTo>
                    <a:pt x="146495" y="80867"/>
                  </a:lnTo>
                  <a:lnTo>
                    <a:pt x="143923" y="89059"/>
                  </a:lnTo>
                  <a:lnTo>
                    <a:pt x="137541" y="102680"/>
                  </a:lnTo>
                  <a:lnTo>
                    <a:pt x="126968" y="96965"/>
                  </a:lnTo>
                  <a:lnTo>
                    <a:pt x="122111" y="95441"/>
                  </a:lnTo>
                  <a:lnTo>
                    <a:pt x="117443" y="95060"/>
                  </a:lnTo>
                  <a:lnTo>
                    <a:pt x="114014" y="98108"/>
                  </a:lnTo>
                  <a:lnTo>
                    <a:pt x="112681" y="101060"/>
                  </a:lnTo>
                  <a:lnTo>
                    <a:pt x="111062" y="103537"/>
                  </a:lnTo>
                  <a:lnTo>
                    <a:pt x="107061" y="103537"/>
                  </a:lnTo>
                  <a:cubicBezTo>
                    <a:pt x="107061" y="103537"/>
                    <a:pt x="100870" y="101537"/>
                    <a:pt x="100870" y="101537"/>
                  </a:cubicBezTo>
                  <a:lnTo>
                    <a:pt x="72485" y="86582"/>
                  </a:lnTo>
                  <a:lnTo>
                    <a:pt x="62103" y="88678"/>
                  </a:lnTo>
                  <a:lnTo>
                    <a:pt x="45815" y="88678"/>
                  </a:lnTo>
                  <a:cubicBezTo>
                    <a:pt x="45815" y="88678"/>
                    <a:pt x="38481" y="71914"/>
                    <a:pt x="38481" y="71914"/>
                  </a:cubicBezTo>
                  <a:lnTo>
                    <a:pt x="29337" y="71914"/>
                  </a:lnTo>
                  <a:lnTo>
                    <a:pt x="15907" y="61817"/>
                  </a:lnTo>
                  <a:lnTo>
                    <a:pt x="4286" y="48292"/>
                  </a:lnTo>
                  <a:lnTo>
                    <a:pt x="0" y="37052"/>
                  </a:lnTo>
                  <a:lnTo>
                    <a:pt x="3048" y="15716"/>
                  </a:lnTo>
                  <a:lnTo>
                    <a:pt x="13430" y="8954"/>
                  </a:lnTo>
                  <a:lnTo>
                    <a:pt x="21336" y="10097"/>
                  </a:lnTo>
                  <a:lnTo>
                    <a:pt x="33528" y="18002"/>
                  </a:lnTo>
                  <a:lnTo>
                    <a:pt x="40862" y="25908"/>
                  </a:lnTo>
                  <a:lnTo>
                    <a:pt x="50578" y="25908"/>
                  </a:lnTo>
                  <a:lnTo>
                    <a:pt x="70676" y="21431"/>
                  </a:lnTo>
                  <a:lnTo>
                    <a:pt x="87725" y="10192"/>
                  </a:lnTo>
                  <a:lnTo>
                    <a:pt x="97155" y="0"/>
                  </a:lnTo>
                </a:path>
              </a:pathLst>
            </a:custGeom>
            <a:grpFill/>
            <a:ln w="2381" cap="sq">
              <a:noFill/>
              <a:prstDash val="solid"/>
              <a:bevel/>
            </a:ln>
          </p:spPr>
          <p:txBody>
            <a:bodyPr rtlCol="0" anchor="ctr"/>
            <a:lstStyle/>
            <a:p>
              <a:endParaRPr lang="cs-CZ"/>
            </a:p>
          </p:txBody>
        </p:sp>
        <p:sp>
          <p:nvSpPr>
            <p:cNvPr id="233" name="Freeform: Shape 232">
              <a:extLst>
                <a:ext uri="{FF2B5EF4-FFF2-40B4-BE49-F238E27FC236}">
                  <a16:creationId xmlns:a16="http://schemas.microsoft.com/office/drawing/2014/main" id="{89ACED04-3EFA-6D57-D48E-90745C346D49}"/>
                </a:ext>
              </a:extLst>
            </p:cNvPr>
            <p:cNvSpPr/>
            <p:nvPr/>
          </p:nvSpPr>
          <p:spPr>
            <a:xfrm>
              <a:off x="13880780" y="8541858"/>
              <a:ext cx="175545" cy="159543"/>
            </a:xfrm>
            <a:custGeom>
              <a:avLst/>
              <a:gdLst>
                <a:gd name="connsiteX0" fmla="*/ 58388 w 175545"/>
                <a:gd name="connsiteY0" fmla="*/ 21527 h 159543"/>
                <a:gd name="connsiteX1" fmla="*/ 60770 w 175545"/>
                <a:gd name="connsiteY1" fmla="*/ 24384 h 159543"/>
                <a:gd name="connsiteX2" fmla="*/ 64770 w 175545"/>
                <a:gd name="connsiteY2" fmla="*/ 26194 h 159543"/>
                <a:gd name="connsiteX3" fmla="*/ 73914 w 175545"/>
                <a:gd name="connsiteY3" fmla="*/ 27908 h 159543"/>
                <a:gd name="connsiteX4" fmla="*/ 83249 w 175545"/>
                <a:gd name="connsiteY4" fmla="*/ 27908 h 159543"/>
                <a:gd name="connsiteX5" fmla="*/ 81915 w 175545"/>
                <a:gd name="connsiteY5" fmla="*/ 21812 h 159543"/>
                <a:gd name="connsiteX6" fmla="*/ 81629 w 175545"/>
                <a:gd name="connsiteY6" fmla="*/ 20098 h 159543"/>
                <a:gd name="connsiteX7" fmla="*/ 82391 w 175545"/>
                <a:gd name="connsiteY7" fmla="*/ 17050 h 159543"/>
                <a:gd name="connsiteX8" fmla="*/ 83439 w 175545"/>
                <a:gd name="connsiteY8" fmla="*/ 15145 h 159543"/>
                <a:gd name="connsiteX9" fmla="*/ 92583 w 175545"/>
                <a:gd name="connsiteY9" fmla="*/ 10382 h 159543"/>
                <a:gd name="connsiteX10" fmla="*/ 102299 w 175545"/>
                <a:gd name="connsiteY10" fmla="*/ 1619 h 159543"/>
                <a:gd name="connsiteX11" fmla="*/ 106775 w 175545"/>
                <a:gd name="connsiteY11" fmla="*/ 0 h 159543"/>
                <a:gd name="connsiteX12" fmla="*/ 110966 w 175545"/>
                <a:gd name="connsiteY12" fmla="*/ 1715 h 159543"/>
                <a:gd name="connsiteX13" fmla="*/ 158782 w 175545"/>
                <a:gd name="connsiteY13" fmla="*/ 5429 h 159543"/>
                <a:gd name="connsiteX14" fmla="*/ 160401 w 175545"/>
                <a:gd name="connsiteY14" fmla="*/ 20383 h 159543"/>
                <a:gd name="connsiteX15" fmla="*/ 172498 w 175545"/>
                <a:gd name="connsiteY15" fmla="*/ 34862 h 159543"/>
                <a:gd name="connsiteX16" fmla="*/ 175546 w 175545"/>
                <a:gd name="connsiteY16" fmla="*/ 49340 h 159543"/>
                <a:gd name="connsiteX17" fmla="*/ 163449 w 175545"/>
                <a:gd name="connsiteY17" fmla="*/ 60198 h 159543"/>
                <a:gd name="connsiteX18" fmla="*/ 137255 w 175545"/>
                <a:gd name="connsiteY18" fmla="*/ 69247 h 159543"/>
                <a:gd name="connsiteX19" fmla="*/ 146304 w 175545"/>
                <a:gd name="connsiteY19" fmla="*/ 96393 h 159543"/>
                <a:gd name="connsiteX20" fmla="*/ 117062 w 175545"/>
                <a:gd name="connsiteY20" fmla="*/ 109061 h 159543"/>
                <a:gd name="connsiteX21" fmla="*/ 119063 w 175545"/>
                <a:gd name="connsiteY21" fmla="*/ 139732 h 159543"/>
                <a:gd name="connsiteX22" fmla="*/ 100870 w 175545"/>
                <a:gd name="connsiteY22" fmla="*/ 157734 h 159543"/>
                <a:gd name="connsiteX23" fmla="*/ 83725 w 175545"/>
                <a:gd name="connsiteY23" fmla="*/ 155924 h 159543"/>
                <a:gd name="connsiteX24" fmla="*/ 59531 w 175545"/>
                <a:gd name="connsiteY24" fmla="*/ 159544 h 159543"/>
                <a:gd name="connsiteX25" fmla="*/ 43434 w 175545"/>
                <a:gd name="connsiteY25" fmla="*/ 154115 h 159543"/>
                <a:gd name="connsiteX26" fmla="*/ 30956 w 175545"/>
                <a:gd name="connsiteY26" fmla="*/ 141732 h 159543"/>
                <a:gd name="connsiteX27" fmla="*/ 31623 w 175545"/>
                <a:gd name="connsiteY27" fmla="*/ 137732 h 159543"/>
                <a:gd name="connsiteX28" fmla="*/ 27242 w 175545"/>
                <a:gd name="connsiteY28" fmla="*/ 128302 h 159543"/>
                <a:gd name="connsiteX29" fmla="*/ 25432 w 175545"/>
                <a:gd name="connsiteY29" fmla="*/ 123254 h 159543"/>
                <a:gd name="connsiteX30" fmla="*/ 24765 w 175545"/>
                <a:gd name="connsiteY30" fmla="*/ 118586 h 159543"/>
                <a:gd name="connsiteX31" fmla="*/ 31337 w 175545"/>
                <a:gd name="connsiteY31" fmla="*/ 105251 h 159543"/>
                <a:gd name="connsiteX32" fmla="*/ 16669 w 175545"/>
                <a:gd name="connsiteY32" fmla="*/ 106299 h 159543"/>
                <a:gd name="connsiteX33" fmla="*/ 953 w 175545"/>
                <a:gd name="connsiteY33" fmla="*/ 73914 h 159543"/>
                <a:gd name="connsiteX34" fmla="*/ 0 w 175545"/>
                <a:gd name="connsiteY34" fmla="*/ 57245 h 159543"/>
                <a:gd name="connsiteX35" fmla="*/ 15621 w 175545"/>
                <a:gd name="connsiteY35" fmla="*/ 60484 h 159543"/>
                <a:gd name="connsiteX36" fmla="*/ 18860 w 175545"/>
                <a:gd name="connsiteY36" fmla="*/ 52388 h 159543"/>
                <a:gd name="connsiteX37" fmla="*/ 12383 w 175545"/>
                <a:gd name="connsiteY37" fmla="*/ 45434 h 159543"/>
                <a:gd name="connsiteX38" fmla="*/ 16859 w 175545"/>
                <a:gd name="connsiteY38" fmla="*/ 37338 h 159543"/>
                <a:gd name="connsiteX39" fmla="*/ 31052 w 175545"/>
                <a:gd name="connsiteY39" fmla="*/ 29242 h 159543"/>
                <a:gd name="connsiteX40" fmla="*/ 43339 w 175545"/>
                <a:gd name="connsiteY40" fmla="*/ 28099 h 159543"/>
                <a:gd name="connsiteX41" fmla="*/ 58293 w 175545"/>
                <a:gd name="connsiteY41" fmla="*/ 21431 h 159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5545" h="159543">
                  <a:moveTo>
                    <a:pt x="58388" y="21527"/>
                  </a:moveTo>
                  <a:lnTo>
                    <a:pt x="60770" y="24384"/>
                  </a:lnTo>
                  <a:lnTo>
                    <a:pt x="64770" y="26194"/>
                  </a:lnTo>
                  <a:lnTo>
                    <a:pt x="73914" y="27908"/>
                  </a:lnTo>
                  <a:lnTo>
                    <a:pt x="83249" y="27908"/>
                  </a:lnTo>
                  <a:cubicBezTo>
                    <a:pt x="83249" y="27908"/>
                    <a:pt x="81915" y="21812"/>
                    <a:pt x="81915" y="21812"/>
                  </a:cubicBezTo>
                  <a:lnTo>
                    <a:pt x="81629" y="20098"/>
                  </a:lnTo>
                  <a:lnTo>
                    <a:pt x="82391" y="17050"/>
                  </a:lnTo>
                  <a:lnTo>
                    <a:pt x="83439" y="15145"/>
                  </a:lnTo>
                  <a:lnTo>
                    <a:pt x="92583" y="10382"/>
                  </a:lnTo>
                  <a:lnTo>
                    <a:pt x="102299" y="1619"/>
                  </a:lnTo>
                  <a:lnTo>
                    <a:pt x="106775" y="0"/>
                  </a:lnTo>
                  <a:lnTo>
                    <a:pt x="110966" y="1715"/>
                  </a:lnTo>
                  <a:lnTo>
                    <a:pt x="158782" y="5429"/>
                  </a:lnTo>
                  <a:lnTo>
                    <a:pt x="160401" y="20383"/>
                  </a:lnTo>
                  <a:lnTo>
                    <a:pt x="172498" y="34862"/>
                  </a:lnTo>
                  <a:lnTo>
                    <a:pt x="175546" y="49340"/>
                  </a:lnTo>
                  <a:lnTo>
                    <a:pt x="163449" y="60198"/>
                  </a:lnTo>
                  <a:lnTo>
                    <a:pt x="137255" y="69247"/>
                  </a:lnTo>
                  <a:lnTo>
                    <a:pt x="146304" y="96393"/>
                  </a:lnTo>
                  <a:lnTo>
                    <a:pt x="117062" y="109061"/>
                  </a:lnTo>
                  <a:lnTo>
                    <a:pt x="119063" y="139732"/>
                  </a:lnTo>
                  <a:lnTo>
                    <a:pt x="100870" y="157734"/>
                  </a:lnTo>
                  <a:lnTo>
                    <a:pt x="83725" y="155924"/>
                  </a:lnTo>
                  <a:lnTo>
                    <a:pt x="59531" y="159544"/>
                  </a:lnTo>
                  <a:lnTo>
                    <a:pt x="43434" y="154115"/>
                  </a:lnTo>
                  <a:lnTo>
                    <a:pt x="30956" y="141732"/>
                  </a:lnTo>
                  <a:lnTo>
                    <a:pt x="31623" y="137732"/>
                  </a:lnTo>
                  <a:lnTo>
                    <a:pt x="27242" y="128302"/>
                  </a:lnTo>
                  <a:lnTo>
                    <a:pt x="25432" y="123254"/>
                  </a:lnTo>
                  <a:lnTo>
                    <a:pt x="24765" y="118586"/>
                  </a:lnTo>
                  <a:lnTo>
                    <a:pt x="31337" y="105251"/>
                  </a:lnTo>
                  <a:lnTo>
                    <a:pt x="16669" y="106299"/>
                  </a:lnTo>
                  <a:lnTo>
                    <a:pt x="953" y="73914"/>
                  </a:lnTo>
                  <a:lnTo>
                    <a:pt x="0" y="57245"/>
                  </a:lnTo>
                  <a:lnTo>
                    <a:pt x="15621" y="60484"/>
                  </a:lnTo>
                  <a:lnTo>
                    <a:pt x="18860" y="52388"/>
                  </a:lnTo>
                  <a:lnTo>
                    <a:pt x="12383" y="45434"/>
                  </a:lnTo>
                  <a:lnTo>
                    <a:pt x="16859" y="37338"/>
                  </a:lnTo>
                  <a:lnTo>
                    <a:pt x="31052" y="29242"/>
                  </a:lnTo>
                  <a:lnTo>
                    <a:pt x="43339" y="28099"/>
                  </a:lnTo>
                  <a:lnTo>
                    <a:pt x="58293" y="21431"/>
                  </a:lnTo>
                </a:path>
              </a:pathLst>
            </a:custGeom>
            <a:grpFill/>
            <a:ln w="2381" cap="sq">
              <a:noFill/>
              <a:prstDash val="solid"/>
              <a:bevel/>
            </a:ln>
          </p:spPr>
          <p:txBody>
            <a:bodyPr rtlCol="0" anchor="ctr"/>
            <a:lstStyle/>
            <a:p>
              <a:endParaRPr lang="cs-CZ"/>
            </a:p>
          </p:txBody>
        </p:sp>
        <p:sp>
          <p:nvSpPr>
            <p:cNvPr id="234" name="Freeform: Shape 233">
              <a:extLst>
                <a:ext uri="{FF2B5EF4-FFF2-40B4-BE49-F238E27FC236}">
                  <a16:creationId xmlns:a16="http://schemas.microsoft.com/office/drawing/2014/main" id="{29E05E19-1D18-B4AF-EB28-CAFF8E66A931}"/>
                </a:ext>
              </a:extLst>
            </p:cNvPr>
            <p:cNvSpPr/>
            <p:nvPr/>
          </p:nvSpPr>
          <p:spPr>
            <a:xfrm>
              <a:off x="13744001" y="8296875"/>
              <a:ext cx="195167" cy="305657"/>
            </a:xfrm>
            <a:custGeom>
              <a:avLst/>
              <a:gdLst>
                <a:gd name="connsiteX0" fmla="*/ 151257 w 195167"/>
                <a:gd name="connsiteY0" fmla="*/ 78772 h 305657"/>
                <a:gd name="connsiteX1" fmla="*/ 147066 w 195167"/>
                <a:gd name="connsiteY1" fmla="*/ 88773 h 305657"/>
                <a:gd name="connsiteX2" fmla="*/ 145256 w 195167"/>
                <a:gd name="connsiteY2" fmla="*/ 94679 h 305657"/>
                <a:gd name="connsiteX3" fmla="*/ 141351 w 195167"/>
                <a:gd name="connsiteY3" fmla="*/ 99346 h 305657"/>
                <a:gd name="connsiteX4" fmla="*/ 140399 w 195167"/>
                <a:gd name="connsiteY4" fmla="*/ 104394 h 305657"/>
                <a:gd name="connsiteX5" fmla="*/ 161449 w 195167"/>
                <a:gd name="connsiteY5" fmla="*/ 131636 h 305657"/>
                <a:gd name="connsiteX6" fmla="*/ 167164 w 195167"/>
                <a:gd name="connsiteY6" fmla="*/ 141161 h 305657"/>
                <a:gd name="connsiteX7" fmla="*/ 176784 w 195167"/>
                <a:gd name="connsiteY7" fmla="*/ 160496 h 305657"/>
                <a:gd name="connsiteX8" fmla="*/ 170783 w 195167"/>
                <a:gd name="connsiteY8" fmla="*/ 168497 h 305657"/>
                <a:gd name="connsiteX9" fmla="*/ 161068 w 195167"/>
                <a:gd name="connsiteY9" fmla="*/ 168783 h 305657"/>
                <a:gd name="connsiteX10" fmla="*/ 158496 w 195167"/>
                <a:gd name="connsiteY10" fmla="*/ 173545 h 305657"/>
                <a:gd name="connsiteX11" fmla="*/ 159353 w 195167"/>
                <a:gd name="connsiteY11" fmla="*/ 179641 h 305657"/>
                <a:gd name="connsiteX12" fmla="*/ 160401 w 195167"/>
                <a:gd name="connsiteY12" fmla="*/ 184214 h 305657"/>
                <a:gd name="connsiteX13" fmla="*/ 164592 w 195167"/>
                <a:gd name="connsiteY13" fmla="*/ 193834 h 305657"/>
                <a:gd name="connsiteX14" fmla="*/ 174879 w 195167"/>
                <a:gd name="connsiteY14" fmla="*/ 208407 h 305657"/>
                <a:gd name="connsiteX15" fmla="*/ 175832 w 195167"/>
                <a:gd name="connsiteY15" fmla="*/ 219170 h 305657"/>
                <a:gd name="connsiteX16" fmla="*/ 179261 w 195167"/>
                <a:gd name="connsiteY16" fmla="*/ 225743 h 305657"/>
                <a:gd name="connsiteX17" fmla="*/ 180975 w 195167"/>
                <a:gd name="connsiteY17" fmla="*/ 231362 h 305657"/>
                <a:gd name="connsiteX18" fmla="*/ 186500 w 195167"/>
                <a:gd name="connsiteY18" fmla="*/ 235839 h 305657"/>
                <a:gd name="connsiteX19" fmla="*/ 191643 w 195167"/>
                <a:gd name="connsiteY19" fmla="*/ 241935 h 305657"/>
                <a:gd name="connsiteX20" fmla="*/ 193739 w 195167"/>
                <a:gd name="connsiteY20" fmla="*/ 247269 h 305657"/>
                <a:gd name="connsiteX21" fmla="*/ 194310 w 195167"/>
                <a:gd name="connsiteY21" fmla="*/ 254032 h 305657"/>
                <a:gd name="connsiteX22" fmla="*/ 193834 w 195167"/>
                <a:gd name="connsiteY22" fmla="*/ 262033 h 305657"/>
                <a:gd name="connsiteX23" fmla="*/ 195167 w 195167"/>
                <a:gd name="connsiteY23" fmla="*/ 266605 h 305657"/>
                <a:gd name="connsiteX24" fmla="*/ 180213 w 195167"/>
                <a:gd name="connsiteY24" fmla="*/ 273272 h 305657"/>
                <a:gd name="connsiteX25" fmla="*/ 167926 w 195167"/>
                <a:gd name="connsiteY25" fmla="*/ 274415 h 305657"/>
                <a:gd name="connsiteX26" fmla="*/ 153734 w 195167"/>
                <a:gd name="connsiteY26" fmla="*/ 282511 h 305657"/>
                <a:gd name="connsiteX27" fmla="*/ 149257 w 195167"/>
                <a:gd name="connsiteY27" fmla="*/ 290608 h 305657"/>
                <a:gd name="connsiteX28" fmla="*/ 155734 w 195167"/>
                <a:gd name="connsiteY28" fmla="*/ 297561 h 305657"/>
                <a:gd name="connsiteX29" fmla="*/ 152495 w 195167"/>
                <a:gd name="connsiteY29" fmla="*/ 305657 h 305657"/>
                <a:gd name="connsiteX30" fmla="*/ 136874 w 195167"/>
                <a:gd name="connsiteY30" fmla="*/ 302419 h 305657"/>
                <a:gd name="connsiteX31" fmla="*/ 134493 w 195167"/>
                <a:gd name="connsiteY31" fmla="*/ 286226 h 305657"/>
                <a:gd name="connsiteX32" fmla="*/ 126492 w 195167"/>
                <a:gd name="connsiteY32" fmla="*/ 278987 h 305657"/>
                <a:gd name="connsiteX33" fmla="*/ 112776 w 195167"/>
                <a:gd name="connsiteY33" fmla="*/ 268891 h 305657"/>
                <a:gd name="connsiteX34" fmla="*/ 103156 w 195167"/>
                <a:gd name="connsiteY34" fmla="*/ 263081 h 305657"/>
                <a:gd name="connsiteX35" fmla="*/ 116015 w 195167"/>
                <a:gd name="connsiteY35" fmla="*/ 252984 h 305657"/>
                <a:gd name="connsiteX36" fmla="*/ 117634 w 195167"/>
                <a:gd name="connsiteY36" fmla="*/ 242792 h 305657"/>
                <a:gd name="connsiteX37" fmla="*/ 108014 w 195167"/>
                <a:gd name="connsiteY37" fmla="*/ 215265 h 305657"/>
                <a:gd name="connsiteX38" fmla="*/ 95917 w 195167"/>
                <a:gd name="connsiteY38" fmla="*/ 194977 h 305657"/>
                <a:gd name="connsiteX39" fmla="*/ 79820 w 195167"/>
                <a:gd name="connsiteY39" fmla="*/ 189166 h 305657"/>
                <a:gd name="connsiteX40" fmla="*/ 64484 w 195167"/>
                <a:gd name="connsiteY40" fmla="*/ 173165 h 305657"/>
                <a:gd name="connsiteX41" fmla="*/ 50006 w 195167"/>
                <a:gd name="connsiteY41" fmla="*/ 167354 h 305657"/>
                <a:gd name="connsiteX42" fmla="*/ 44387 w 195167"/>
                <a:gd name="connsiteY42" fmla="*/ 157162 h 305657"/>
                <a:gd name="connsiteX43" fmla="*/ 51625 w 195167"/>
                <a:gd name="connsiteY43" fmla="*/ 133922 h 305657"/>
                <a:gd name="connsiteX44" fmla="*/ 67723 w 195167"/>
                <a:gd name="connsiteY44" fmla="*/ 123730 h 305657"/>
                <a:gd name="connsiteX45" fmla="*/ 76581 w 195167"/>
                <a:gd name="connsiteY45" fmla="*/ 114967 h 305657"/>
                <a:gd name="connsiteX46" fmla="*/ 58007 w 195167"/>
                <a:gd name="connsiteY46" fmla="*/ 91631 h 305657"/>
                <a:gd name="connsiteX47" fmla="*/ 33814 w 195167"/>
                <a:gd name="connsiteY47" fmla="*/ 77057 h 305657"/>
                <a:gd name="connsiteX48" fmla="*/ 20955 w 195167"/>
                <a:gd name="connsiteY48" fmla="*/ 79915 h 305657"/>
                <a:gd name="connsiteX49" fmla="*/ 15335 w 195167"/>
                <a:gd name="connsiteY49" fmla="*/ 88678 h 305657"/>
                <a:gd name="connsiteX50" fmla="*/ 8858 w 195167"/>
                <a:gd name="connsiteY50" fmla="*/ 84296 h 305657"/>
                <a:gd name="connsiteX51" fmla="*/ 0 w 195167"/>
                <a:gd name="connsiteY51" fmla="*/ 79915 h 305657"/>
                <a:gd name="connsiteX52" fmla="*/ 0 w 195167"/>
                <a:gd name="connsiteY52" fmla="*/ 65342 h 305657"/>
                <a:gd name="connsiteX53" fmla="*/ 1333 w 195167"/>
                <a:gd name="connsiteY53" fmla="*/ 48863 h 305657"/>
                <a:gd name="connsiteX54" fmla="*/ 8763 w 195167"/>
                <a:gd name="connsiteY54" fmla="*/ 51340 h 305657"/>
                <a:gd name="connsiteX55" fmla="*/ 23146 w 195167"/>
                <a:gd name="connsiteY55" fmla="*/ 49530 h 305657"/>
                <a:gd name="connsiteX56" fmla="*/ 23336 w 195167"/>
                <a:gd name="connsiteY56" fmla="*/ 45529 h 305657"/>
                <a:gd name="connsiteX57" fmla="*/ 23336 w 195167"/>
                <a:gd name="connsiteY57" fmla="*/ 44767 h 305657"/>
                <a:gd name="connsiteX58" fmla="*/ 21812 w 195167"/>
                <a:gd name="connsiteY58" fmla="*/ 44006 h 305657"/>
                <a:gd name="connsiteX59" fmla="*/ 22098 w 195167"/>
                <a:gd name="connsiteY59" fmla="*/ 40481 h 305657"/>
                <a:gd name="connsiteX60" fmla="*/ 22670 w 195167"/>
                <a:gd name="connsiteY60" fmla="*/ 36957 h 305657"/>
                <a:gd name="connsiteX61" fmla="*/ 35338 w 195167"/>
                <a:gd name="connsiteY61" fmla="*/ 10763 h 305657"/>
                <a:gd name="connsiteX62" fmla="*/ 66008 w 195167"/>
                <a:gd name="connsiteY62" fmla="*/ 9049 h 305657"/>
                <a:gd name="connsiteX63" fmla="*/ 72200 w 195167"/>
                <a:gd name="connsiteY63" fmla="*/ 11144 h 305657"/>
                <a:gd name="connsiteX64" fmla="*/ 80486 w 195167"/>
                <a:gd name="connsiteY64" fmla="*/ 0 h 305657"/>
                <a:gd name="connsiteX65" fmla="*/ 91154 w 195167"/>
                <a:gd name="connsiteY65" fmla="*/ 2000 h 305657"/>
                <a:gd name="connsiteX66" fmla="*/ 108490 w 195167"/>
                <a:gd name="connsiteY66" fmla="*/ 13335 h 305657"/>
                <a:gd name="connsiteX67" fmla="*/ 112490 w 195167"/>
                <a:gd name="connsiteY67" fmla="*/ 24479 h 305657"/>
                <a:gd name="connsiteX68" fmla="*/ 92774 w 195167"/>
                <a:gd name="connsiteY68" fmla="*/ 33052 h 305657"/>
                <a:gd name="connsiteX69" fmla="*/ 102679 w 195167"/>
                <a:gd name="connsiteY69" fmla="*/ 36385 h 305657"/>
                <a:gd name="connsiteX70" fmla="*/ 105251 w 195167"/>
                <a:gd name="connsiteY70" fmla="*/ 42577 h 305657"/>
                <a:gd name="connsiteX71" fmla="*/ 110204 w 195167"/>
                <a:gd name="connsiteY71" fmla="*/ 44672 h 305657"/>
                <a:gd name="connsiteX72" fmla="*/ 115253 w 195167"/>
                <a:gd name="connsiteY72" fmla="*/ 45148 h 305657"/>
                <a:gd name="connsiteX73" fmla="*/ 120777 w 195167"/>
                <a:gd name="connsiteY73" fmla="*/ 44672 h 305657"/>
                <a:gd name="connsiteX74" fmla="*/ 124873 w 195167"/>
                <a:gd name="connsiteY74" fmla="*/ 46768 h 305657"/>
                <a:gd name="connsiteX75" fmla="*/ 128016 w 195167"/>
                <a:gd name="connsiteY75" fmla="*/ 51530 h 305657"/>
                <a:gd name="connsiteX76" fmla="*/ 142208 w 195167"/>
                <a:gd name="connsiteY76" fmla="*/ 56198 h 305657"/>
                <a:gd name="connsiteX77" fmla="*/ 161830 w 195167"/>
                <a:gd name="connsiteY77" fmla="*/ 57817 h 305657"/>
                <a:gd name="connsiteX78" fmla="*/ 164021 w 195167"/>
                <a:gd name="connsiteY78" fmla="*/ 68961 h 305657"/>
                <a:gd name="connsiteX79" fmla="*/ 160592 w 195167"/>
                <a:gd name="connsiteY79" fmla="*/ 71056 h 305657"/>
                <a:gd name="connsiteX80" fmla="*/ 154115 w 195167"/>
                <a:gd name="connsiteY80" fmla="*/ 73342 h 305657"/>
                <a:gd name="connsiteX81" fmla="*/ 151067 w 195167"/>
                <a:gd name="connsiteY81" fmla="*/ 78486 h 305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95167" h="305657">
                  <a:moveTo>
                    <a:pt x="151257" y="78772"/>
                  </a:moveTo>
                  <a:lnTo>
                    <a:pt x="147066" y="88773"/>
                  </a:lnTo>
                  <a:lnTo>
                    <a:pt x="145256" y="94679"/>
                  </a:lnTo>
                  <a:lnTo>
                    <a:pt x="141351" y="99346"/>
                  </a:lnTo>
                  <a:lnTo>
                    <a:pt x="140399" y="104394"/>
                  </a:lnTo>
                  <a:lnTo>
                    <a:pt x="161449" y="131636"/>
                  </a:lnTo>
                  <a:lnTo>
                    <a:pt x="167164" y="141161"/>
                  </a:lnTo>
                  <a:lnTo>
                    <a:pt x="176784" y="160496"/>
                  </a:lnTo>
                  <a:lnTo>
                    <a:pt x="170783" y="168497"/>
                  </a:lnTo>
                  <a:lnTo>
                    <a:pt x="161068" y="168783"/>
                  </a:lnTo>
                  <a:lnTo>
                    <a:pt x="158496" y="173545"/>
                  </a:lnTo>
                  <a:lnTo>
                    <a:pt x="159353" y="179641"/>
                  </a:lnTo>
                  <a:lnTo>
                    <a:pt x="160401" y="184214"/>
                  </a:lnTo>
                  <a:lnTo>
                    <a:pt x="164592" y="193834"/>
                  </a:lnTo>
                  <a:lnTo>
                    <a:pt x="174879" y="208407"/>
                  </a:lnTo>
                  <a:lnTo>
                    <a:pt x="175832" y="219170"/>
                  </a:lnTo>
                  <a:lnTo>
                    <a:pt x="179261" y="225743"/>
                  </a:lnTo>
                  <a:lnTo>
                    <a:pt x="180975" y="231362"/>
                  </a:lnTo>
                  <a:lnTo>
                    <a:pt x="186500" y="235839"/>
                  </a:lnTo>
                  <a:lnTo>
                    <a:pt x="191643" y="241935"/>
                  </a:lnTo>
                  <a:lnTo>
                    <a:pt x="193739" y="247269"/>
                  </a:lnTo>
                  <a:lnTo>
                    <a:pt x="194310" y="254032"/>
                  </a:lnTo>
                  <a:lnTo>
                    <a:pt x="193834" y="262033"/>
                  </a:lnTo>
                  <a:lnTo>
                    <a:pt x="195167" y="266605"/>
                  </a:lnTo>
                  <a:lnTo>
                    <a:pt x="180213" y="273272"/>
                  </a:lnTo>
                  <a:lnTo>
                    <a:pt x="167926" y="274415"/>
                  </a:lnTo>
                  <a:lnTo>
                    <a:pt x="153734" y="282511"/>
                  </a:lnTo>
                  <a:lnTo>
                    <a:pt x="149257" y="290608"/>
                  </a:lnTo>
                  <a:lnTo>
                    <a:pt x="155734" y="297561"/>
                  </a:lnTo>
                  <a:lnTo>
                    <a:pt x="152495" y="305657"/>
                  </a:lnTo>
                  <a:lnTo>
                    <a:pt x="136874" y="302419"/>
                  </a:lnTo>
                  <a:lnTo>
                    <a:pt x="134493" y="286226"/>
                  </a:lnTo>
                  <a:lnTo>
                    <a:pt x="126492" y="278987"/>
                  </a:lnTo>
                  <a:lnTo>
                    <a:pt x="112776" y="268891"/>
                  </a:lnTo>
                  <a:lnTo>
                    <a:pt x="103156" y="263081"/>
                  </a:lnTo>
                  <a:lnTo>
                    <a:pt x="116015" y="252984"/>
                  </a:lnTo>
                  <a:lnTo>
                    <a:pt x="117634" y="242792"/>
                  </a:lnTo>
                  <a:lnTo>
                    <a:pt x="108014" y="215265"/>
                  </a:lnTo>
                  <a:lnTo>
                    <a:pt x="95917" y="194977"/>
                  </a:lnTo>
                  <a:lnTo>
                    <a:pt x="79820" y="189166"/>
                  </a:lnTo>
                  <a:lnTo>
                    <a:pt x="64484" y="173165"/>
                  </a:lnTo>
                  <a:lnTo>
                    <a:pt x="50006" y="167354"/>
                  </a:lnTo>
                  <a:lnTo>
                    <a:pt x="44387" y="157162"/>
                  </a:lnTo>
                  <a:lnTo>
                    <a:pt x="51625" y="133922"/>
                  </a:lnTo>
                  <a:lnTo>
                    <a:pt x="67723" y="123730"/>
                  </a:lnTo>
                  <a:lnTo>
                    <a:pt x="76581" y="114967"/>
                  </a:lnTo>
                  <a:lnTo>
                    <a:pt x="58007" y="91631"/>
                  </a:lnTo>
                  <a:lnTo>
                    <a:pt x="33814" y="77057"/>
                  </a:lnTo>
                  <a:lnTo>
                    <a:pt x="20955" y="79915"/>
                  </a:lnTo>
                  <a:lnTo>
                    <a:pt x="15335" y="88678"/>
                  </a:lnTo>
                  <a:lnTo>
                    <a:pt x="8858" y="84296"/>
                  </a:lnTo>
                  <a:lnTo>
                    <a:pt x="0" y="79915"/>
                  </a:lnTo>
                  <a:lnTo>
                    <a:pt x="0" y="65342"/>
                  </a:lnTo>
                  <a:lnTo>
                    <a:pt x="1333" y="48863"/>
                  </a:lnTo>
                  <a:lnTo>
                    <a:pt x="8763" y="51340"/>
                  </a:lnTo>
                  <a:lnTo>
                    <a:pt x="23146" y="49530"/>
                  </a:lnTo>
                  <a:lnTo>
                    <a:pt x="23336" y="45529"/>
                  </a:lnTo>
                  <a:lnTo>
                    <a:pt x="23336" y="44767"/>
                  </a:lnTo>
                  <a:cubicBezTo>
                    <a:pt x="23336" y="44767"/>
                    <a:pt x="21812" y="44006"/>
                    <a:pt x="21812" y="44006"/>
                  </a:cubicBezTo>
                  <a:lnTo>
                    <a:pt x="22098" y="40481"/>
                  </a:lnTo>
                  <a:lnTo>
                    <a:pt x="22670" y="36957"/>
                  </a:lnTo>
                  <a:lnTo>
                    <a:pt x="35338" y="10763"/>
                  </a:lnTo>
                  <a:lnTo>
                    <a:pt x="66008" y="9049"/>
                  </a:lnTo>
                  <a:lnTo>
                    <a:pt x="72200" y="11144"/>
                  </a:lnTo>
                  <a:lnTo>
                    <a:pt x="80486" y="0"/>
                  </a:lnTo>
                  <a:lnTo>
                    <a:pt x="91154" y="2000"/>
                  </a:lnTo>
                  <a:lnTo>
                    <a:pt x="108490" y="13335"/>
                  </a:lnTo>
                  <a:lnTo>
                    <a:pt x="112490" y="24479"/>
                  </a:lnTo>
                  <a:lnTo>
                    <a:pt x="92774" y="33052"/>
                  </a:lnTo>
                  <a:lnTo>
                    <a:pt x="102679" y="36385"/>
                  </a:lnTo>
                  <a:lnTo>
                    <a:pt x="105251" y="42577"/>
                  </a:lnTo>
                  <a:lnTo>
                    <a:pt x="110204" y="44672"/>
                  </a:lnTo>
                  <a:lnTo>
                    <a:pt x="115253" y="45148"/>
                  </a:lnTo>
                  <a:lnTo>
                    <a:pt x="120777" y="44672"/>
                  </a:lnTo>
                  <a:lnTo>
                    <a:pt x="124873" y="46768"/>
                  </a:lnTo>
                  <a:lnTo>
                    <a:pt x="128016" y="51530"/>
                  </a:lnTo>
                  <a:lnTo>
                    <a:pt x="142208" y="56198"/>
                  </a:lnTo>
                  <a:lnTo>
                    <a:pt x="161830" y="57817"/>
                  </a:lnTo>
                  <a:lnTo>
                    <a:pt x="164021" y="68961"/>
                  </a:lnTo>
                  <a:lnTo>
                    <a:pt x="160592" y="71056"/>
                  </a:lnTo>
                  <a:lnTo>
                    <a:pt x="154115" y="73342"/>
                  </a:lnTo>
                  <a:lnTo>
                    <a:pt x="151067" y="78486"/>
                  </a:lnTo>
                </a:path>
              </a:pathLst>
            </a:custGeom>
            <a:grpFill/>
            <a:ln w="2381" cap="sq">
              <a:noFill/>
              <a:prstDash val="solid"/>
              <a:bevel/>
            </a:ln>
          </p:spPr>
          <p:txBody>
            <a:bodyPr rtlCol="0" anchor="ctr"/>
            <a:lstStyle/>
            <a:p>
              <a:endParaRPr lang="cs-CZ"/>
            </a:p>
          </p:txBody>
        </p:sp>
        <p:sp>
          <p:nvSpPr>
            <p:cNvPr id="235" name="Freeform: Shape 234">
              <a:extLst>
                <a:ext uri="{FF2B5EF4-FFF2-40B4-BE49-F238E27FC236}">
                  <a16:creationId xmlns:a16="http://schemas.microsoft.com/office/drawing/2014/main" id="{F652D53F-FFC0-4066-02CF-FE78810F7062}"/>
                </a:ext>
              </a:extLst>
            </p:cNvPr>
            <p:cNvSpPr/>
            <p:nvPr/>
          </p:nvSpPr>
          <p:spPr>
            <a:xfrm>
              <a:off x="13819058" y="8210769"/>
              <a:ext cx="121443" cy="165068"/>
            </a:xfrm>
            <a:custGeom>
              <a:avLst/>
              <a:gdLst>
                <a:gd name="connsiteX0" fmla="*/ 40386 w 121443"/>
                <a:gd name="connsiteY0" fmla="*/ 131540 h 165068"/>
                <a:gd name="connsiteX1" fmla="*/ 35338 w 121443"/>
                <a:gd name="connsiteY1" fmla="*/ 131064 h 165068"/>
                <a:gd name="connsiteX2" fmla="*/ 30385 w 121443"/>
                <a:gd name="connsiteY2" fmla="*/ 128969 h 165068"/>
                <a:gd name="connsiteX3" fmla="*/ 27813 w 121443"/>
                <a:gd name="connsiteY3" fmla="*/ 122777 h 165068"/>
                <a:gd name="connsiteX4" fmla="*/ 17907 w 121443"/>
                <a:gd name="connsiteY4" fmla="*/ 119444 h 165068"/>
                <a:gd name="connsiteX5" fmla="*/ 37624 w 121443"/>
                <a:gd name="connsiteY5" fmla="*/ 110871 h 165068"/>
                <a:gd name="connsiteX6" fmla="*/ 33623 w 121443"/>
                <a:gd name="connsiteY6" fmla="*/ 99727 h 165068"/>
                <a:gd name="connsiteX7" fmla="*/ 16288 w 121443"/>
                <a:gd name="connsiteY7" fmla="*/ 88392 h 165068"/>
                <a:gd name="connsiteX8" fmla="*/ 5620 w 121443"/>
                <a:gd name="connsiteY8" fmla="*/ 86392 h 165068"/>
                <a:gd name="connsiteX9" fmla="*/ 0 w 121443"/>
                <a:gd name="connsiteY9" fmla="*/ 72676 h 165068"/>
                <a:gd name="connsiteX10" fmla="*/ 2858 w 121443"/>
                <a:gd name="connsiteY10" fmla="*/ 66294 h 165068"/>
                <a:gd name="connsiteX11" fmla="*/ 8001 w 121443"/>
                <a:gd name="connsiteY11" fmla="*/ 60293 h 165068"/>
                <a:gd name="connsiteX12" fmla="*/ 23241 w 121443"/>
                <a:gd name="connsiteY12" fmla="*/ 52388 h 165068"/>
                <a:gd name="connsiteX13" fmla="*/ 24575 w 121443"/>
                <a:gd name="connsiteY13" fmla="*/ 50102 h 165068"/>
                <a:gd name="connsiteX14" fmla="*/ 23050 w 121443"/>
                <a:gd name="connsiteY14" fmla="*/ 46387 h 165068"/>
                <a:gd name="connsiteX15" fmla="*/ 19621 w 121443"/>
                <a:gd name="connsiteY15" fmla="*/ 42196 h 165068"/>
                <a:gd name="connsiteX16" fmla="*/ 18669 w 121443"/>
                <a:gd name="connsiteY16" fmla="*/ 34290 h 165068"/>
                <a:gd name="connsiteX17" fmla="*/ 20098 w 121443"/>
                <a:gd name="connsiteY17" fmla="*/ 25527 h 165068"/>
                <a:gd name="connsiteX18" fmla="*/ 18955 w 121443"/>
                <a:gd name="connsiteY18" fmla="*/ 17717 h 165068"/>
                <a:gd name="connsiteX19" fmla="*/ 18764 w 121443"/>
                <a:gd name="connsiteY19" fmla="*/ 12192 h 165068"/>
                <a:gd name="connsiteX20" fmla="*/ 16383 w 121443"/>
                <a:gd name="connsiteY20" fmla="*/ 2477 h 165068"/>
                <a:gd name="connsiteX21" fmla="*/ 16859 w 121443"/>
                <a:gd name="connsiteY21" fmla="*/ 0 h 165068"/>
                <a:gd name="connsiteX22" fmla="*/ 30766 w 121443"/>
                <a:gd name="connsiteY22" fmla="*/ 10858 h 165068"/>
                <a:gd name="connsiteX23" fmla="*/ 47911 w 121443"/>
                <a:gd name="connsiteY23" fmla="*/ 16383 h 165068"/>
                <a:gd name="connsiteX24" fmla="*/ 60008 w 121443"/>
                <a:gd name="connsiteY24" fmla="*/ 31052 h 165068"/>
                <a:gd name="connsiteX25" fmla="*/ 72104 w 121443"/>
                <a:gd name="connsiteY25" fmla="*/ 56674 h 165068"/>
                <a:gd name="connsiteX26" fmla="*/ 98298 w 121443"/>
                <a:gd name="connsiteY26" fmla="*/ 62198 h 165068"/>
                <a:gd name="connsiteX27" fmla="*/ 107347 w 121443"/>
                <a:gd name="connsiteY27" fmla="*/ 84201 h 165068"/>
                <a:gd name="connsiteX28" fmla="*/ 108395 w 121443"/>
                <a:gd name="connsiteY28" fmla="*/ 111633 h 165068"/>
                <a:gd name="connsiteX29" fmla="*/ 121444 w 121443"/>
                <a:gd name="connsiteY29" fmla="*/ 151829 h 165068"/>
                <a:gd name="connsiteX30" fmla="*/ 118396 w 121443"/>
                <a:gd name="connsiteY30" fmla="*/ 164592 h 165068"/>
                <a:gd name="connsiteX31" fmla="*/ 102299 w 121443"/>
                <a:gd name="connsiteY31" fmla="*/ 162782 h 165068"/>
                <a:gd name="connsiteX32" fmla="*/ 76295 w 121443"/>
                <a:gd name="connsiteY32" fmla="*/ 165068 h 165068"/>
                <a:gd name="connsiteX33" fmla="*/ 79343 w 121443"/>
                <a:gd name="connsiteY33" fmla="*/ 159925 h 165068"/>
                <a:gd name="connsiteX34" fmla="*/ 85820 w 121443"/>
                <a:gd name="connsiteY34" fmla="*/ 157639 h 165068"/>
                <a:gd name="connsiteX35" fmla="*/ 89249 w 121443"/>
                <a:gd name="connsiteY35" fmla="*/ 155543 h 165068"/>
                <a:gd name="connsiteX36" fmla="*/ 87058 w 121443"/>
                <a:gd name="connsiteY36" fmla="*/ 144399 h 165068"/>
                <a:gd name="connsiteX37" fmla="*/ 67437 w 121443"/>
                <a:gd name="connsiteY37" fmla="*/ 142780 h 165068"/>
                <a:gd name="connsiteX38" fmla="*/ 53245 w 121443"/>
                <a:gd name="connsiteY38" fmla="*/ 138113 h 165068"/>
                <a:gd name="connsiteX39" fmla="*/ 50101 w 121443"/>
                <a:gd name="connsiteY39" fmla="*/ 133350 h 165068"/>
                <a:gd name="connsiteX40" fmla="*/ 46006 w 121443"/>
                <a:gd name="connsiteY40" fmla="*/ 131254 h 165068"/>
                <a:gd name="connsiteX41" fmla="*/ 40481 w 121443"/>
                <a:gd name="connsiteY41" fmla="*/ 131731 h 165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443" h="165068">
                  <a:moveTo>
                    <a:pt x="40386" y="131540"/>
                  </a:moveTo>
                  <a:lnTo>
                    <a:pt x="35338" y="131064"/>
                  </a:lnTo>
                  <a:lnTo>
                    <a:pt x="30385" y="128969"/>
                  </a:lnTo>
                  <a:lnTo>
                    <a:pt x="27813" y="122777"/>
                  </a:lnTo>
                  <a:lnTo>
                    <a:pt x="17907" y="119444"/>
                  </a:lnTo>
                  <a:lnTo>
                    <a:pt x="37624" y="110871"/>
                  </a:lnTo>
                  <a:lnTo>
                    <a:pt x="33623" y="99727"/>
                  </a:lnTo>
                  <a:lnTo>
                    <a:pt x="16288" y="88392"/>
                  </a:lnTo>
                  <a:lnTo>
                    <a:pt x="5620" y="86392"/>
                  </a:lnTo>
                  <a:lnTo>
                    <a:pt x="0" y="72676"/>
                  </a:lnTo>
                  <a:lnTo>
                    <a:pt x="2858" y="66294"/>
                  </a:lnTo>
                  <a:lnTo>
                    <a:pt x="8001" y="60293"/>
                  </a:lnTo>
                  <a:lnTo>
                    <a:pt x="23241" y="52388"/>
                  </a:lnTo>
                  <a:lnTo>
                    <a:pt x="24575" y="50102"/>
                  </a:lnTo>
                  <a:lnTo>
                    <a:pt x="23050" y="46387"/>
                  </a:lnTo>
                  <a:lnTo>
                    <a:pt x="19621" y="42196"/>
                  </a:lnTo>
                  <a:lnTo>
                    <a:pt x="18669" y="34290"/>
                  </a:lnTo>
                  <a:lnTo>
                    <a:pt x="20098" y="25527"/>
                  </a:lnTo>
                  <a:lnTo>
                    <a:pt x="18955" y="17717"/>
                  </a:lnTo>
                  <a:lnTo>
                    <a:pt x="18764" y="12192"/>
                  </a:lnTo>
                  <a:lnTo>
                    <a:pt x="16383" y="2477"/>
                  </a:lnTo>
                  <a:lnTo>
                    <a:pt x="16859" y="0"/>
                  </a:lnTo>
                  <a:lnTo>
                    <a:pt x="30766" y="10858"/>
                  </a:lnTo>
                  <a:lnTo>
                    <a:pt x="47911" y="16383"/>
                  </a:lnTo>
                  <a:lnTo>
                    <a:pt x="60008" y="31052"/>
                  </a:lnTo>
                  <a:lnTo>
                    <a:pt x="72104" y="56674"/>
                  </a:lnTo>
                  <a:lnTo>
                    <a:pt x="98298" y="62198"/>
                  </a:lnTo>
                  <a:lnTo>
                    <a:pt x="107347" y="84201"/>
                  </a:lnTo>
                  <a:lnTo>
                    <a:pt x="108395" y="111633"/>
                  </a:lnTo>
                  <a:lnTo>
                    <a:pt x="121444" y="151829"/>
                  </a:lnTo>
                  <a:lnTo>
                    <a:pt x="118396" y="164592"/>
                  </a:lnTo>
                  <a:lnTo>
                    <a:pt x="102299" y="162782"/>
                  </a:lnTo>
                  <a:lnTo>
                    <a:pt x="76295" y="165068"/>
                  </a:lnTo>
                  <a:lnTo>
                    <a:pt x="79343" y="159925"/>
                  </a:lnTo>
                  <a:lnTo>
                    <a:pt x="85820" y="157639"/>
                  </a:lnTo>
                  <a:lnTo>
                    <a:pt x="89249" y="155543"/>
                  </a:lnTo>
                  <a:lnTo>
                    <a:pt x="87058" y="144399"/>
                  </a:lnTo>
                  <a:lnTo>
                    <a:pt x="67437" y="142780"/>
                  </a:lnTo>
                  <a:lnTo>
                    <a:pt x="53245" y="138113"/>
                  </a:lnTo>
                  <a:lnTo>
                    <a:pt x="50101" y="133350"/>
                  </a:lnTo>
                  <a:lnTo>
                    <a:pt x="46006" y="131254"/>
                  </a:lnTo>
                  <a:lnTo>
                    <a:pt x="40481" y="131731"/>
                  </a:lnTo>
                </a:path>
              </a:pathLst>
            </a:custGeom>
            <a:grpFill/>
            <a:ln w="2381" cap="sq">
              <a:noFill/>
              <a:prstDash val="solid"/>
              <a:bevel/>
            </a:ln>
          </p:spPr>
          <p:txBody>
            <a:bodyPr rtlCol="0" anchor="ctr"/>
            <a:lstStyle/>
            <a:p>
              <a:endParaRPr lang="cs-CZ"/>
            </a:p>
          </p:txBody>
        </p:sp>
        <p:sp>
          <p:nvSpPr>
            <p:cNvPr id="236" name="Freeform: Shape 235">
              <a:extLst>
                <a:ext uri="{FF2B5EF4-FFF2-40B4-BE49-F238E27FC236}">
                  <a16:creationId xmlns:a16="http://schemas.microsoft.com/office/drawing/2014/main" id="{22B8CEB0-CC6C-BE35-528A-093B97E1735A}"/>
                </a:ext>
              </a:extLst>
            </p:cNvPr>
            <p:cNvSpPr/>
            <p:nvPr/>
          </p:nvSpPr>
          <p:spPr>
            <a:xfrm>
              <a:off x="12558425" y="7989694"/>
              <a:ext cx="198119" cy="136588"/>
            </a:xfrm>
            <a:custGeom>
              <a:avLst/>
              <a:gdLst>
                <a:gd name="connsiteX0" fmla="*/ 180023 w 198119"/>
                <a:gd name="connsiteY0" fmla="*/ 0 h 136588"/>
                <a:gd name="connsiteX1" fmla="*/ 185166 w 198119"/>
                <a:gd name="connsiteY1" fmla="*/ 2667 h 136588"/>
                <a:gd name="connsiteX2" fmla="*/ 194881 w 198119"/>
                <a:gd name="connsiteY2" fmla="*/ 4953 h 136588"/>
                <a:gd name="connsiteX3" fmla="*/ 198120 w 198119"/>
                <a:gd name="connsiteY3" fmla="*/ 8763 h 136588"/>
                <a:gd name="connsiteX4" fmla="*/ 195453 w 198119"/>
                <a:gd name="connsiteY4" fmla="*/ 13144 h 136588"/>
                <a:gd name="connsiteX5" fmla="*/ 193262 w 198119"/>
                <a:gd name="connsiteY5" fmla="*/ 19240 h 136588"/>
                <a:gd name="connsiteX6" fmla="*/ 177927 w 198119"/>
                <a:gd name="connsiteY6" fmla="*/ 32004 h 136588"/>
                <a:gd name="connsiteX7" fmla="*/ 175355 w 198119"/>
                <a:gd name="connsiteY7" fmla="*/ 37814 h 136588"/>
                <a:gd name="connsiteX8" fmla="*/ 165544 w 198119"/>
                <a:gd name="connsiteY8" fmla="*/ 45244 h 136588"/>
                <a:gd name="connsiteX9" fmla="*/ 158591 w 198119"/>
                <a:gd name="connsiteY9" fmla="*/ 55435 h 136588"/>
                <a:gd name="connsiteX10" fmla="*/ 141923 w 198119"/>
                <a:gd name="connsiteY10" fmla="*/ 66961 h 136588"/>
                <a:gd name="connsiteX11" fmla="*/ 128683 w 198119"/>
                <a:gd name="connsiteY11" fmla="*/ 77152 h 136588"/>
                <a:gd name="connsiteX12" fmla="*/ 137065 w 198119"/>
                <a:gd name="connsiteY12" fmla="*/ 102584 h 136588"/>
                <a:gd name="connsiteX13" fmla="*/ 141256 w 198119"/>
                <a:gd name="connsiteY13" fmla="*/ 117824 h 136588"/>
                <a:gd name="connsiteX14" fmla="*/ 129445 w 198119"/>
                <a:gd name="connsiteY14" fmla="*/ 134398 h 136588"/>
                <a:gd name="connsiteX15" fmla="*/ 112776 w 198119"/>
                <a:gd name="connsiteY15" fmla="*/ 121634 h 136588"/>
                <a:gd name="connsiteX16" fmla="*/ 108109 w 198119"/>
                <a:gd name="connsiteY16" fmla="*/ 136588 h 136588"/>
                <a:gd name="connsiteX17" fmla="*/ 94298 w 198119"/>
                <a:gd name="connsiteY17" fmla="*/ 120967 h 136588"/>
                <a:gd name="connsiteX18" fmla="*/ 88202 w 198119"/>
                <a:gd name="connsiteY18" fmla="*/ 111061 h 136588"/>
                <a:gd name="connsiteX19" fmla="*/ 83820 w 198119"/>
                <a:gd name="connsiteY19" fmla="*/ 99536 h 136588"/>
                <a:gd name="connsiteX20" fmla="*/ 69152 w 198119"/>
                <a:gd name="connsiteY20" fmla="*/ 83344 h 136588"/>
                <a:gd name="connsiteX21" fmla="*/ 52292 w 198119"/>
                <a:gd name="connsiteY21" fmla="*/ 73152 h 136588"/>
                <a:gd name="connsiteX22" fmla="*/ 42386 w 198119"/>
                <a:gd name="connsiteY22" fmla="*/ 73152 h 136588"/>
                <a:gd name="connsiteX23" fmla="*/ 37243 w 198119"/>
                <a:gd name="connsiteY23" fmla="*/ 71723 h 136588"/>
                <a:gd name="connsiteX24" fmla="*/ 5715 w 198119"/>
                <a:gd name="connsiteY24" fmla="*/ 69342 h 136588"/>
                <a:gd name="connsiteX25" fmla="*/ 0 w 198119"/>
                <a:gd name="connsiteY25" fmla="*/ 40767 h 136588"/>
                <a:gd name="connsiteX26" fmla="*/ 22288 w 198119"/>
                <a:gd name="connsiteY26" fmla="*/ 47815 h 136588"/>
                <a:gd name="connsiteX27" fmla="*/ 38290 w 198119"/>
                <a:gd name="connsiteY27" fmla="*/ 49054 h 136588"/>
                <a:gd name="connsiteX28" fmla="*/ 47339 w 198119"/>
                <a:gd name="connsiteY28" fmla="*/ 42672 h 136588"/>
                <a:gd name="connsiteX29" fmla="*/ 57055 w 198119"/>
                <a:gd name="connsiteY29" fmla="*/ 45244 h 136588"/>
                <a:gd name="connsiteX30" fmla="*/ 70294 w 198119"/>
                <a:gd name="connsiteY30" fmla="*/ 45244 h 136588"/>
                <a:gd name="connsiteX31" fmla="*/ 83534 w 198119"/>
                <a:gd name="connsiteY31" fmla="*/ 42672 h 136588"/>
                <a:gd name="connsiteX32" fmla="*/ 107252 w 198119"/>
                <a:gd name="connsiteY32" fmla="*/ 35052 h 136588"/>
                <a:gd name="connsiteX33" fmla="*/ 112109 w 198119"/>
                <a:gd name="connsiteY33" fmla="*/ 24860 h 136588"/>
                <a:gd name="connsiteX34" fmla="*/ 120491 w 198119"/>
                <a:gd name="connsiteY34" fmla="*/ 30004 h 136588"/>
                <a:gd name="connsiteX35" fmla="*/ 144875 w 198119"/>
                <a:gd name="connsiteY35" fmla="*/ 26194 h 136588"/>
                <a:gd name="connsiteX36" fmla="*/ 160211 w 198119"/>
                <a:gd name="connsiteY36" fmla="*/ 21050 h 136588"/>
                <a:gd name="connsiteX37" fmla="*/ 173450 w 198119"/>
                <a:gd name="connsiteY37" fmla="*/ 13430 h 136588"/>
                <a:gd name="connsiteX38" fmla="*/ 180118 w 198119"/>
                <a:gd name="connsiteY38" fmla="*/ 286 h 136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98119" h="136588">
                  <a:moveTo>
                    <a:pt x="180023" y="0"/>
                  </a:moveTo>
                  <a:lnTo>
                    <a:pt x="185166" y="2667"/>
                  </a:lnTo>
                  <a:lnTo>
                    <a:pt x="194881" y="4953"/>
                  </a:lnTo>
                  <a:lnTo>
                    <a:pt x="198120" y="8763"/>
                  </a:lnTo>
                  <a:lnTo>
                    <a:pt x="195453" y="13144"/>
                  </a:lnTo>
                  <a:lnTo>
                    <a:pt x="193262" y="19240"/>
                  </a:lnTo>
                  <a:lnTo>
                    <a:pt x="177927" y="32004"/>
                  </a:lnTo>
                  <a:lnTo>
                    <a:pt x="175355" y="37814"/>
                  </a:lnTo>
                  <a:lnTo>
                    <a:pt x="165544" y="45244"/>
                  </a:lnTo>
                  <a:lnTo>
                    <a:pt x="158591" y="55435"/>
                  </a:lnTo>
                  <a:lnTo>
                    <a:pt x="141923" y="66961"/>
                  </a:lnTo>
                  <a:lnTo>
                    <a:pt x="128683" y="77152"/>
                  </a:lnTo>
                  <a:lnTo>
                    <a:pt x="137065" y="102584"/>
                  </a:lnTo>
                  <a:lnTo>
                    <a:pt x="141256" y="117824"/>
                  </a:lnTo>
                  <a:lnTo>
                    <a:pt x="129445" y="134398"/>
                  </a:lnTo>
                  <a:lnTo>
                    <a:pt x="112776" y="121634"/>
                  </a:lnTo>
                  <a:lnTo>
                    <a:pt x="108109" y="136588"/>
                  </a:lnTo>
                  <a:lnTo>
                    <a:pt x="94298" y="120967"/>
                  </a:lnTo>
                  <a:lnTo>
                    <a:pt x="88202" y="111061"/>
                  </a:lnTo>
                  <a:lnTo>
                    <a:pt x="83820" y="99536"/>
                  </a:lnTo>
                  <a:lnTo>
                    <a:pt x="69152" y="83344"/>
                  </a:lnTo>
                  <a:lnTo>
                    <a:pt x="52292" y="73152"/>
                  </a:lnTo>
                  <a:lnTo>
                    <a:pt x="42386" y="73152"/>
                  </a:lnTo>
                  <a:cubicBezTo>
                    <a:pt x="42386" y="73152"/>
                    <a:pt x="37243" y="71723"/>
                    <a:pt x="37243" y="71723"/>
                  </a:cubicBezTo>
                  <a:lnTo>
                    <a:pt x="5715" y="69342"/>
                  </a:lnTo>
                  <a:lnTo>
                    <a:pt x="0" y="40767"/>
                  </a:lnTo>
                  <a:lnTo>
                    <a:pt x="22288" y="47815"/>
                  </a:lnTo>
                  <a:lnTo>
                    <a:pt x="38290" y="49054"/>
                  </a:lnTo>
                  <a:lnTo>
                    <a:pt x="47339" y="42672"/>
                  </a:lnTo>
                  <a:lnTo>
                    <a:pt x="57055" y="45244"/>
                  </a:lnTo>
                  <a:lnTo>
                    <a:pt x="70294" y="45244"/>
                  </a:lnTo>
                  <a:lnTo>
                    <a:pt x="83534" y="42672"/>
                  </a:lnTo>
                  <a:lnTo>
                    <a:pt x="107252" y="35052"/>
                  </a:lnTo>
                  <a:lnTo>
                    <a:pt x="112109" y="24860"/>
                  </a:lnTo>
                  <a:lnTo>
                    <a:pt x="120491" y="30004"/>
                  </a:lnTo>
                  <a:lnTo>
                    <a:pt x="144875" y="26194"/>
                  </a:lnTo>
                  <a:lnTo>
                    <a:pt x="160211" y="21050"/>
                  </a:lnTo>
                  <a:lnTo>
                    <a:pt x="173450" y="13430"/>
                  </a:lnTo>
                  <a:lnTo>
                    <a:pt x="180118" y="286"/>
                  </a:lnTo>
                </a:path>
              </a:pathLst>
            </a:custGeom>
            <a:grpFill/>
            <a:ln w="2381" cap="sq">
              <a:noFill/>
              <a:prstDash val="solid"/>
              <a:bevel/>
            </a:ln>
          </p:spPr>
          <p:txBody>
            <a:bodyPr rtlCol="0" anchor="ctr"/>
            <a:lstStyle/>
            <a:p>
              <a:endParaRPr lang="cs-CZ"/>
            </a:p>
          </p:txBody>
        </p:sp>
        <p:sp>
          <p:nvSpPr>
            <p:cNvPr id="237" name="Freeform: Shape 236">
              <a:extLst>
                <a:ext uri="{FF2B5EF4-FFF2-40B4-BE49-F238E27FC236}">
                  <a16:creationId xmlns:a16="http://schemas.microsoft.com/office/drawing/2014/main" id="{602B2ABD-045F-E0EF-0897-49D51AD85D5F}"/>
                </a:ext>
              </a:extLst>
            </p:cNvPr>
            <p:cNvSpPr/>
            <p:nvPr/>
          </p:nvSpPr>
          <p:spPr>
            <a:xfrm>
              <a:off x="12819505" y="7907588"/>
              <a:ext cx="157067" cy="115538"/>
            </a:xfrm>
            <a:custGeom>
              <a:avLst/>
              <a:gdLst>
                <a:gd name="connsiteX0" fmla="*/ 61341 w 157067"/>
                <a:gd name="connsiteY0" fmla="*/ 98108 h 115538"/>
                <a:gd name="connsiteX1" fmla="*/ 54483 w 157067"/>
                <a:gd name="connsiteY1" fmla="*/ 82391 h 115538"/>
                <a:gd name="connsiteX2" fmla="*/ 48768 w 157067"/>
                <a:gd name="connsiteY2" fmla="*/ 76010 h 115538"/>
                <a:gd name="connsiteX3" fmla="*/ 43529 w 157067"/>
                <a:gd name="connsiteY3" fmla="*/ 71342 h 115538"/>
                <a:gd name="connsiteX4" fmla="*/ 34004 w 157067"/>
                <a:gd name="connsiteY4" fmla="*/ 66866 h 115538"/>
                <a:gd name="connsiteX5" fmla="*/ 24098 w 157067"/>
                <a:gd name="connsiteY5" fmla="*/ 60484 h 115538"/>
                <a:gd name="connsiteX6" fmla="*/ 7334 w 157067"/>
                <a:gd name="connsiteY6" fmla="*/ 41624 h 115538"/>
                <a:gd name="connsiteX7" fmla="*/ 0 w 157067"/>
                <a:gd name="connsiteY7" fmla="*/ 38100 h 115538"/>
                <a:gd name="connsiteX8" fmla="*/ 27146 w 157067"/>
                <a:gd name="connsiteY8" fmla="*/ 23908 h 115538"/>
                <a:gd name="connsiteX9" fmla="*/ 33147 w 157067"/>
                <a:gd name="connsiteY9" fmla="*/ 32861 h 115538"/>
                <a:gd name="connsiteX10" fmla="*/ 38576 w 157067"/>
                <a:gd name="connsiteY10" fmla="*/ 45815 h 115538"/>
                <a:gd name="connsiteX11" fmla="*/ 49911 w 157067"/>
                <a:gd name="connsiteY11" fmla="*/ 53721 h 115538"/>
                <a:gd name="connsiteX12" fmla="*/ 61817 w 157067"/>
                <a:gd name="connsiteY12" fmla="*/ 55721 h 115538"/>
                <a:gd name="connsiteX13" fmla="*/ 78105 w 157067"/>
                <a:gd name="connsiteY13" fmla="*/ 34862 h 115538"/>
                <a:gd name="connsiteX14" fmla="*/ 95441 w 157067"/>
                <a:gd name="connsiteY14" fmla="*/ 31909 h 115538"/>
                <a:gd name="connsiteX15" fmla="*/ 115443 w 157067"/>
                <a:gd name="connsiteY15" fmla="*/ 23908 h 115538"/>
                <a:gd name="connsiteX16" fmla="*/ 132207 w 157067"/>
                <a:gd name="connsiteY16" fmla="*/ 8001 h 115538"/>
                <a:gd name="connsiteX17" fmla="*/ 134874 w 157067"/>
                <a:gd name="connsiteY17" fmla="*/ 0 h 115538"/>
                <a:gd name="connsiteX18" fmla="*/ 137065 w 157067"/>
                <a:gd name="connsiteY18" fmla="*/ 18955 h 115538"/>
                <a:gd name="connsiteX19" fmla="*/ 151162 w 157067"/>
                <a:gd name="connsiteY19" fmla="*/ 16002 h 115538"/>
                <a:gd name="connsiteX20" fmla="*/ 157067 w 157067"/>
                <a:gd name="connsiteY20" fmla="*/ 32956 h 115538"/>
                <a:gd name="connsiteX21" fmla="*/ 149542 w 157067"/>
                <a:gd name="connsiteY21" fmla="*/ 32195 h 115538"/>
                <a:gd name="connsiteX22" fmla="*/ 139827 w 157067"/>
                <a:gd name="connsiteY22" fmla="*/ 38576 h 115538"/>
                <a:gd name="connsiteX23" fmla="*/ 144018 w 157067"/>
                <a:gd name="connsiteY23" fmla="*/ 74390 h 115538"/>
                <a:gd name="connsiteX24" fmla="*/ 112681 w 157067"/>
                <a:gd name="connsiteY24" fmla="*/ 74390 h 115538"/>
                <a:gd name="connsiteX25" fmla="*/ 93154 w 157067"/>
                <a:gd name="connsiteY25" fmla="*/ 79534 h 115538"/>
                <a:gd name="connsiteX26" fmla="*/ 91059 w 157067"/>
                <a:gd name="connsiteY26" fmla="*/ 98679 h 115538"/>
                <a:gd name="connsiteX27" fmla="*/ 81629 w 157067"/>
                <a:gd name="connsiteY27" fmla="*/ 115538 h 115538"/>
                <a:gd name="connsiteX28" fmla="*/ 74009 w 157067"/>
                <a:gd name="connsiteY28" fmla="*/ 106585 h 115538"/>
                <a:gd name="connsiteX29" fmla="*/ 61627 w 157067"/>
                <a:gd name="connsiteY29" fmla="*/ 97917 h 11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57067" h="115538">
                  <a:moveTo>
                    <a:pt x="61341" y="98108"/>
                  </a:moveTo>
                  <a:lnTo>
                    <a:pt x="54483" y="82391"/>
                  </a:lnTo>
                  <a:lnTo>
                    <a:pt x="48768" y="76010"/>
                  </a:lnTo>
                  <a:lnTo>
                    <a:pt x="43529" y="71342"/>
                  </a:lnTo>
                  <a:lnTo>
                    <a:pt x="34004" y="66866"/>
                  </a:lnTo>
                  <a:lnTo>
                    <a:pt x="24098" y="60484"/>
                  </a:lnTo>
                  <a:lnTo>
                    <a:pt x="7334" y="41624"/>
                  </a:lnTo>
                  <a:lnTo>
                    <a:pt x="0" y="38100"/>
                  </a:lnTo>
                  <a:lnTo>
                    <a:pt x="27146" y="23908"/>
                  </a:lnTo>
                  <a:lnTo>
                    <a:pt x="33147" y="32861"/>
                  </a:lnTo>
                  <a:lnTo>
                    <a:pt x="38576" y="45815"/>
                  </a:lnTo>
                  <a:lnTo>
                    <a:pt x="49911" y="53721"/>
                  </a:lnTo>
                  <a:lnTo>
                    <a:pt x="61817" y="55721"/>
                  </a:lnTo>
                  <a:lnTo>
                    <a:pt x="78105" y="34862"/>
                  </a:lnTo>
                  <a:lnTo>
                    <a:pt x="95441" y="31909"/>
                  </a:lnTo>
                  <a:lnTo>
                    <a:pt x="115443" y="23908"/>
                  </a:lnTo>
                  <a:lnTo>
                    <a:pt x="132207" y="8001"/>
                  </a:lnTo>
                  <a:lnTo>
                    <a:pt x="134874" y="0"/>
                  </a:lnTo>
                  <a:lnTo>
                    <a:pt x="137065" y="18955"/>
                  </a:lnTo>
                  <a:lnTo>
                    <a:pt x="151162" y="16002"/>
                  </a:lnTo>
                  <a:lnTo>
                    <a:pt x="157067" y="32956"/>
                  </a:lnTo>
                  <a:lnTo>
                    <a:pt x="149542" y="32195"/>
                  </a:lnTo>
                  <a:lnTo>
                    <a:pt x="139827" y="38576"/>
                  </a:lnTo>
                  <a:lnTo>
                    <a:pt x="144018" y="74390"/>
                  </a:lnTo>
                  <a:lnTo>
                    <a:pt x="112681" y="74390"/>
                  </a:lnTo>
                  <a:lnTo>
                    <a:pt x="93154" y="79534"/>
                  </a:lnTo>
                  <a:lnTo>
                    <a:pt x="91059" y="98679"/>
                  </a:lnTo>
                  <a:lnTo>
                    <a:pt x="81629" y="115538"/>
                  </a:lnTo>
                  <a:lnTo>
                    <a:pt x="74009" y="106585"/>
                  </a:lnTo>
                  <a:lnTo>
                    <a:pt x="61627" y="97917"/>
                  </a:lnTo>
                </a:path>
              </a:pathLst>
            </a:custGeom>
            <a:grpFill/>
            <a:ln w="2381" cap="sq">
              <a:noFill/>
              <a:prstDash val="solid"/>
              <a:bevel/>
            </a:ln>
          </p:spPr>
          <p:txBody>
            <a:bodyPr rtlCol="0" anchor="ctr"/>
            <a:lstStyle/>
            <a:p>
              <a:endParaRPr lang="cs-CZ"/>
            </a:p>
          </p:txBody>
        </p:sp>
        <p:sp>
          <p:nvSpPr>
            <p:cNvPr id="238" name="Freeform: Shape 237">
              <a:extLst>
                <a:ext uri="{FF2B5EF4-FFF2-40B4-BE49-F238E27FC236}">
                  <a16:creationId xmlns:a16="http://schemas.microsoft.com/office/drawing/2014/main" id="{E9C34359-F4ED-E2E9-DA12-BA425FE8F402}"/>
                </a:ext>
              </a:extLst>
            </p:cNvPr>
            <p:cNvSpPr/>
            <p:nvPr/>
          </p:nvSpPr>
          <p:spPr>
            <a:xfrm>
              <a:off x="12754640" y="8053225"/>
              <a:ext cx="210788" cy="136969"/>
            </a:xfrm>
            <a:custGeom>
              <a:avLst/>
              <a:gdLst>
                <a:gd name="connsiteX0" fmla="*/ 62008 w 210788"/>
                <a:gd name="connsiteY0" fmla="*/ 0 h 136969"/>
                <a:gd name="connsiteX1" fmla="*/ 78200 w 210788"/>
                <a:gd name="connsiteY1" fmla="*/ 14478 h 136969"/>
                <a:gd name="connsiteX2" fmla="*/ 70295 w 210788"/>
                <a:gd name="connsiteY2" fmla="*/ 24765 h 136969"/>
                <a:gd name="connsiteX3" fmla="*/ 75152 w 210788"/>
                <a:gd name="connsiteY3" fmla="*/ 36195 h 136969"/>
                <a:gd name="connsiteX4" fmla="*/ 86296 w 210788"/>
                <a:gd name="connsiteY4" fmla="*/ 52769 h 136969"/>
                <a:gd name="connsiteX5" fmla="*/ 102299 w 210788"/>
                <a:gd name="connsiteY5" fmla="*/ 55340 h 136969"/>
                <a:gd name="connsiteX6" fmla="*/ 122492 w 210788"/>
                <a:gd name="connsiteY6" fmla="*/ 55340 h 136969"/>
                <a:gd name="connsiteX7" fmla="*/ 134588 w 210788"/>
                <a:gd name="connsiteY7" fmla="*/ 36481 h 136969"/>
                <a:gd name="connsiteX8" fmla="*/ 151829 w 210788"/>
                <a:gd name="connsiteY8" fmla="*/ 42863 h 136969"/>
                <a:gd name="connsiteX9" fmla="*/ 165163 w 210788"/>
                <a:gd name="connsiteY9" fmla="*/ 44482 h 136969"/>
                <a:gd name="connsiteX10" fmla="*/ 174403 w 210788"/>
                <a:gd name="connsiteY10" fmla="*/ 46006 h 136969"/>
                <a:gd name="connsiteX11" fmla="*/ 177546 w 210788"/>
                <a:gd name="connsiteY11" fmla="*/ 45815 h 136969"/>
                <a:gd name="connsiteX12" fmla="*/ 179737 w 210788"/>
                <a:gd name="connsiteY12" fmla="*/ 46101 h 136969"/>
                <a:gd name="connsiteX13" fmla="*/ 186785 w 210788"/>
                <a:gd name="connsiteY13" fmla="*/ 49911 h 136969"/>
                <a:gd name="connsiteX14" fmla="*/ 198215 w 210788"/>
                <a:gd name="connsiteY14" fmla="*/ 59627 h 136969"/>
                <a:gd name="connsiteX15" fmla="*/ 201073 w 210788"/>
                <a:gd name="connsiteY15" fmla="*/ 60674 h 136969"/>
                <a:gd name="connsiteX16" fmla="*/ 205073 w 210788"/>
                <a:gd name="connsiteY16" fmla="*/ 76200 h 136969"/>
                <a:gd name="connsiteX17" fmla="*/ 210503 w 210788"/>
                <a:gd name="connsiteY17" fmla="*/ 88868 h 136969"/>
                <a:gd name="connsiteX18" fmla="*/ 210788 w 210788"/>
                <a:gd name="connsiteY18" fmla="*/ 93917 h 136969"/>
                <a:gd name="connsiteX19" fmla="*/ 209074 w 210788"/>
                <a:gd name="connsiteY19" fmla="*/ 101822 h 136969"/>
                <a:gd name="connsiteX20" fmla="*/ 206121 w 210788"/>
                <a:gd name="connsiteY20" fmla="*/ 106680 h 136969"/>
                <a:gd name="connsiteX21" fmla="*/ 183166 w 210788"/>
                <a:gd name="connsiteY21" fmla="*/ 98584 h 136969"/>
                <a:gd name="connsiteX22" fmla="*/ 162973 w 210788"/>
                <a:gd name="connsiteY22" fmla="*/ 89725 h 136969"/>
                <a:gd name="connsiteX23" fmla="*/ 136493 w 210788"/>
                <a:gd name="connsiteY23" fmla="*/ 82106 h 136969"/>
                <a:gd name="connsiteX24" fmla="*/ 116300 w 210788"/>
                <a:gd name="connsiteY24" fmla="*/ 80867 h 136969"/>
                <a:gd name="connsiteX25" fmla="*/ 100298 w 210788"/>
                <a:gd name="connsiteY25" fmla="*/ 83439 h 136969"/>
                <a:gd name="connsiteX26" fmla="*/ 103822 w 210788"/>
                <a:gd name="connsiteY26" fmla="*/ 99917 h 136969"/>
                <a:gd name="connsiteX27" fmla="*/ 106585 w 210788"/>
                <a:gd name="connsiteY27" fmla="*/ 111347 h 136969"/>
                <a:gd name="connsiteX28" fmla="*/ 100298 w 210788"/>
                <a:gd name="connsiteY28" fmla="*/ 116396 h 136969"/>
                <a:gd name="connsiteX29" fmla="*/ 90583 w 210788"/>
                <a:gd name="connsiteY29" fmla="*/ 107537 h 136969"/>
                <a:gd name="connsiteX30" fmla="*/ 77343 w 210788"/>
                <a:gd name="connsiteY30" fmla="*/ 115157 h 136969"/>
                <a:gd name="connsiteX31" fmla="*/ 74771 w 210788"/>
                <a:gd name="connsiteY31" fmla="*/ 131254 h 136969"/>
                <a:gd name="connsiteX32" fmla="*/ 58198 w 210788"/>
                <a:gd name="connsiteY32" fmla="*/ 124016 h 136969"/>
                <a:gd name="connsiteX33" fmla="*/ 15335 w 210788"/>
                <a:gd name="connsiteY33" fmla="*/ 129159 h 136969"/>
                <a:gd name="connsiteX34" fmla="*/ 4667 w 210788"/>
                <a:gd name="connsiteY34" fmla="*/ 136970 h 136969"/>
                <a:gd name="connsiteX35" fmla="*/ 762 w 210788"/>
                <a:gd name="connsiteY35" fmla="*/ 128683 h 136969"/>
                <a:gd name="connsiteX36" fmla="*/ 0 w 210788"/>
                <a:gd name="connsiteY36" fmla="*/ 122396 h 136969"/>
                <a:gd name="connsiteX37" fmla="*/ 3143 w 210788"/>
                <a:gd name="connsiteY37" fmla="*/ 117253 h 136969"/>
                <a:gd name="connsiteX38" fmla="*/ 3429 w 210788"/>
                <a:gd name="connsiteY38" fmla="*/ 99917 h 136969"/>
                <a:gd name="connsiteX39" fmla="*/ 15240 w 210788"/>
                <a:gd name="connsiteY39" fmla="*/ 96107 h 136969"/>
                <a:gd name="connsiteX40" fmla="*/ 34766 w 210788"/>
                <a:gd name="connsiteY40" fmla="*/ 99917 h 136969"/>
                <a:gd name="connsiteX41" fmla="*/ 35433 w 210788"/>
                <a:gd name="connsiteY41" fmla="*/ 87249 h 136969"/>
                <a:gd name="connsiteX42" fmla="*/ 45911 w 210788"/>
                <a:gd name="connsiteY42" fmla="*/ 72009 h 136969"/>
                <a:gd name="connsiteX43" fmla="*/ 49435 w 210788"/>
                <a:gd name="connsiteY43" fmla="*/ 58007 h 136969"/>
                <a:gd name="connsiteX44" fmla="*/ 41815 w 210788"/>
                <a:gd name="connsiteY44" fmla="*/ 47816 h 136969"/>
                <a:gd name="connsiteX45" fmla="*/ 36957 w 210788"/>
                <a:gd name="connsiteY45" fmla="*/ 40196 h 136969"/>
                <a:gd name="connsiteX46" fmla="*/ 35814 w 210788"/>
                <a:gd name="connsiteY46" fmla="*/ 18764 h 136969"/>
                <a:gd name="connsiteX47" fmla="*/ 40196 w 210788"/>
                <a:gd name="connsiteY47" fmla="*/ 17050 h 136969"/>
                <a:gd name="connsiteX48" fmla="*/ 42005 w 210788"/>
                <a:gd name="connsiteY48" fmla="*/ 13430 h 136969"/>
                <a:gd name="connsiteX49" fmla="*/ 45244 w 210788"/>
                <a:gd name="connsiteY49" fmla="*/ 7048 h 136969"/>
                <a:gd name="connsiteX50" fmla="*/ 53245 w 210788"/>
                <a:gd name="connsiteY50" fmla="*/ 2953 h 136969"/>
                <a:gd name="connsiteX51" fmla="*/ 62103 w 210788"/>
                <a:gd name="connsiteY51" fmla="*/ 95 h 13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10788" h="136969">
                  <a:moveTo>
                    <a:pt x="62008" y="0"/>
                  </a:moveTo>
                  <a:lnTo>
                    <a:pt x="78200" y="14478"/>
                  </a:lnTo>
                  <a:lnTo>
                    <a:pt x="70295" y="24765"/>
                  </a:lnTo>
                  <a:lnTo>
                    <a:pt x="75152" y="36195"/>
                  </a:lnTo>
                  <a:lnTo>
                    <a:pt x="86296" y="52769"/>
                  </a:lnTo>
                  <a:lnTo>
                    <a:pt x="102299" y="55340"/>
                  </a:lnTo>
                  <a:lnTo>
                    <a:pt x="122492" y="55340"/>
                  </a:lnTo>
                  <a:lnTo>
                    <a:pt x="134588" y="36481"/>
                  </a:lnTo>
                  <a:lnTo>
                    <a:pt x="151829" y="42863"/>
                  </a:lnTo>
                  <a:lnTo>
                    <a:pt x="165163" y="44482"/>
                  </a:lnTo>
                  <a:lnTo>
                    <a:pt x="174403" y="46006"/>
                  </a:lnTo>
                  <a:lnTo>
                    <a:pt x="177546" y="45815"/>
                  </a:lnTo>
                  <a:lnTo>
                    <a:pt x="179737" y="46101"/>
                  </a:lnTo>
                  <a:lnTo>
                    <a:pt x="186785" y="49911"/>
                  </a:lnTo>
                  <a:lnTo>
                    <a:pt x="198215" y="59627"/>
                  </a:lnTo>
                  <a:lnTo>
                    <a:pt x="201073" y="60674"/>
                  </a:lnTo>
                  <a:lnTo>
                    <a:pt x="205073" y="76200"/>
                  </a:lnTo>
                  <a:lnTo>
                    <a:pt x="210503" y="88868"/>
                  </a:lnTo>
                  <a:lnTo>
                    <a:pt x="210788" y="93917"/>
                  </a:lnTo>
                  <a:lnTo>
                    <a:pt x="209074" y="101822"/>
                  </a:lnTo>
                  <a:lnTo>
                    <a:pt x="206121" y="106680"/>
                  </a:lnTo>
                  <a:lnTo>
                    <a:pt x="183166" y="98584"/>
                  </a:lnTo>
                  <a:lnTo>
                    <a:pt x="162973" y="89725"/>
                  </a:lnTo>
                  <a:lnTo>
                    <a:pt x="136493" y="82106"/>
                  </a:lnTo>
                  <a:lnTo>
                    <a:pt x="116300" y="80867"/>
                  </a:lnTo>
                  <a:lnTo>
                    <a:pt x="100298" y="83439"/>
                  </a:lnTo>
                  <a:lnTo>
                    <a:pt x="103822" y="99917"/>
                  </a:lnTo>
                  <a:lnTo>
                    <a:pt x="106585" y="111347"/>
                  </a:lnTo>
                  <a:lnTo>
                    <a:pt x="100298" y="116396"/>
                  </a:lnTo>
                  <a:lnTo>
                    <a:pt x="90583" y="107537"/>
                  </a:lnTo>
                  <a:lnTo>
                    <a:pt x="77343" y="115157"/>
                  </a:lnTo>
                  <a:lnTo>
                    <a:pt x="74771" y="131254"/>
                  </a:lnTo>
                  <a:lnTo>
                    <a:pt x="58198" y="124016"/>
                  </a:lnTo>
                  <a:lnTo>
                    <a:pt x="15335" y="129159"/>
                  </a:lnTo>
                  <a:lnTo>
                    <a:pt x="4667" y="136970"/>
                  </a:lnTo>
                  <a:lnTo>
                    <a:pt x="762" y="128683"/>
                  </a:lnTo>
                  <a:lnTo>
                    <a:pt x="0" y="122396"/>
                  </a:lnTo>
                  <a:lnTo>
                    <a:pt x="3143" y="117253"/>
                  </a:lnTo>
                  <a:lnTo>
                    <a:pt x="3429" y="99917"/>
                  </a:lnTo>
                  <a:lnTo>
                    <a:pt x="15240" y="96107"/>
                  </a:lnTo>
                  <a:lnTo>
                    <a:pt x="34766" y="99917"/>
                  </a:lnTo>
                  <a:lnTo>
                    <a:pt x="35433" y="87249"/>
                  </a:lnTo>
                  <a:lnTo>
                    <a:pt x="45911" y="72009"/>
                  </a:lnTo>
                  <a:lnTo>
                    <a:pt x="49435" y="58007"/>
                  </a:lnTo>
                  <a:lnTo>
                    <a:pt x="41815" y="47816"/>
                  </a:lnTo>
                  <a:lnTo>
                    <a:pt x="36957" y="40196"/>
                  </a:lnTo>
                  <a:lnTo>
                    <a:pt x="35814" y="18764"/>
                  </a:lnTo>
                  <a:lnTo>
                    <a:pt x="40196" y="17050"/>
                  </a:lnTo>
                  <a:lnTo>
                    <a:pt x="42005" y="13430"/>
                  </a:lnTo>
                  <a:lnTo>
                    <a:pt x="45244" y="7048"/>
                  </a:lnTo>
                  <a:lnTo>
                    <a:pt x="53245" y="2953"/>
                  </a:lnTo>
                  <a:lnTo>
                    <a:pt x="62103" y="95"/>
                  </a:lnTo>
                </a:path>
              </a:pathLst>
            </a:custGeom>
            <a:grpFill/>
            <a:ln w="2381" cap="sq">
              <a:noFill/>
              <a:prstDash val="solid"/>
              <a:bevel/>
            </a:ln>
          </p:spPr>
          <p:txBody>
            <a:bodyPr rtlCol="0" anchor="ctr"/>
            <a:lstStyle/>
            <a:p>
              <a:endParaRPr lang="cs-CZ"/>
            </a:p>
          </p:txBody>
        </p:sp>
        <p:sp>
          <p:nvSpPr>
            <p:cNvPr id="239" name="Freeform: Shape 238">
              <a:extLst>
                <a:ext uri="{FF2B5EF4-FFF2-40B4-BE49-F238E27FC236}">
                  <a16:creationId xmlns:a16="http://schemas.microsoft.com/office/drawing/2014/main" id="{79819F1A-7F07-A2AD-37D7-6FF0C67E9DC8}"/>
                </a:ext>
              </a:extLst>
            </p:cNvPr>
            <p:cNvSpPr/>
            <p:nvPr/>
          </p:nvSpPr>
          <p:spPr>
            <a:xfrm>
              <a:off x="12687203" y="8027412"/>
              <a:ext cx="94773" cy="80010"/>
            </a:xfrm>
            <a:custGeom>
              <a:avLst/>
              <a:gdLst>
                <a:gd name="connsiteX0" fmla="*/ 46673 w 94773"/>
                <a:gd name="connsiteY0" fmla="*/ 0 h 80010"/>
                <a:gd name="connsiteX1" fmla="*/ 57912 w 94773"/>
                <a:gd name="connsiteY1" fmla="*/ 3905 h 80010"/>
                <a:gd name="connsiteX2" fmla="*/ 69914 w 94773"/>
                <a:gd name="connsiteY2" fmla="*/ 10763 h 80010"/>
                <a:gd name="connsiteX3" fmla="*/ 79343 w 94773"/>
                <a:gd name="connsiteY3" fmla="*/ 13716 h 80010"/>
                <a:gd name="connsiteX4" fmla="*/ 84677 w 94773"/>
                <a:gd name="connsiteY4" fmla="*/ 20574 h 80010"/>
                <a:gd name="connsiteX5" fmla="*/ 93154 w 94773"/>
                <a:gd name="connsiteY5" fmla="*/ 28861 h 80010"/>
                <a:gd name="connsiteX6" fmla="*/ 94774 w 94773"/>
                <a:gd name="connsiteY6" fmla="*/ 37624 h 80010"/>
                <a:gd name="connsiteX7" fmla="*/ 82868 w 94773"/>
                <a:gd name="connsiteY7" fmla="*/ 50864 h 80010"/>
                <a:gd name="connsiteX8" fmla="*/ 73819 w 94773"/>
                <a:gd name="connsiteY8" fmla="*/ 62294 h 80010"/>
                <a:gd name="connsiteX9" fmla="*/ 56388 w 94773"/>
                <a:gd name="connsiteY9" fmla="*/ 63532 h 80010"/>
                <a:gd name="connsiteX10" fmla="*/ 24384 w 94773"/>
                <a:gd name="connsiteY10" fmla="*/ 68580 h 80010"/>
                <a:gd name="connsiteX11" fmla="*/ 12573 w 94773"/>
                <a:gd name="connsiteY11" fmla="*/ 80010 h 80010"/>
                <a:gd name="connsiteX12" fmla="*/ 8382 w 94773"/>
                <a:gd name="connsiteY12" fmla="*/ 64770 h 80010"/>
                <a:gd name="connsiteX13" fmla="*/ 0 w 94773"/>
                <a:gd name="connsiteY13" fmla="*/ 39338 h 80010"/>
                <a:gd name="connsiteX14" fmla="*/ 13240 w 94773"/>
                <a:gd name="connsiteY14" fmla="*/ 29146 h 80010"/>
                <a:gd name="connsiteX15" fmla="*/ 29908 w 94773"/>
                <a:gd name="connsiteY15" fmla="*/ 17621 h 80010"/>
                <a:gd name="connsiteX16" fmla="*/ 36862 w 94773"/>
                <a:gd name="connsiteY16" fmla="*/ 7429 h 80010"/>
                <a:gd name="connsiteX17" fmla="*/ 46673 w 94773"/>
                <a:gd name="connsiteY17" fmla="*/ 0 h 8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773" h="80010">
                  <a:moveTo>
                    <a:pt x="46673" y="0"/>
                  </a:moveTo>
                  <a:lnTo>
                    <a:pt x="57912" y="3905"/>
                  </a:lnTo>
                  <a:lnTo>
                    <a:pt x="69914" y="10763"/>
                  </a:lnTo>
                  <a:lnTo>
                    <a:pt x="79343" y="13716"/>
                  </a:lnTo>
                  <a:lnTo>
                    <a:pt x="84677" y="20574"/>
                  </a:lnTo>
                  <a:lnTo>
                    <a:pt x="93154" y="28861"/>
                  </a:lnTo>
                  <a:lnTo>
                    <a:pt x="94774" y="37624"/>
                  </a:lnTo>
                  <a:lnTo>
                    <a:pt x="82868" y="50864"/>
                  </a:lnTo>
                  <a:lnTo>
                    <a:pt x="73819" y="62294"/>
                  </a:lnTo>
                  <a:lnTo>
                    <a:pt x="56388" y="63532"/>
                  </a:lnTo>
                  <a:lnTo>
                    <a:pt x="24384" y="68580"/>
                  </a:lnTo>
                  <a:lnTo>
                    <a:pt x="12573" y="80010"/>
                  </a:lnTo>
                  <a:lnTo>
                    <a:pt x="8382" y="64770"/>
                  </a:lnTo>
                  <a:lnTo>
                    <a:pt x="0" y="39338"/>
                  </a:lnTo>
                  <a:lnTo>
                    <a:pt x="13240" y="29146"/>
                  </a:lnTo>
                  <a:lnTo>
                    <a:pt x="29908" y="17621"/>
                  </a:lnTo>
                  <a:lnTo>
                    <a:pt x="36862" y="7429"/>
                  </a:lnTo>
                  <a:lnTo>
                    <a:pt x="46673" y="0"/>
                  </a:lnTo>
                </a:path>
              </a:pathLst>
            </a:custGeom>
            <a:grpFill/>
            <a:ln w="2381" cap="sq">
              <a:noFill/>
              <a:prstDash val="solid"/>
              <a:bevel/>
            </a:ln>
          </p:spPr>
          <p:txBody>
            <a:bodyPr rtlCol="0" anchor="ctr"/>
            <a:lstStyle/>
            <a:p>
              <a:endParaRPr lang="cs-CZ"/>
            </a:p>
          </p:txBody>
        </p:sp>
        <p:sp>
          <p:nvSpPr>
            <p:cNvPr id="240" name="Freeform: Shape 239">
              <a:extLst>
                <a:ext uri="{FF2B5EF4-FFF2-40B4-BE49-F238E27FC236}">
                  <a16:creationId xmlns:a16="http://schemas.microsoft.com/office/drawing/2014/main" id="{61FEE90C-DB71-80AE-C8E0-47B35BA9AFBA}"/>
                </a:ext>
              </a:extLst>
            </p:cNvPr>
            <p:cNvSpPr/>
            <p:nvPr/>
          </p:nvSpPr>
          <p:spPr>
            <a:xfrm>
              <a:off x="12661200" y="8064846"/>
              <a:ext cx="142970" cy="112109"/>
            </a:xfrm>
            <a:custGeom>
              <a:avLst/>
              <a:gdLst>
                <a:gd name="connsiteX0" fmla="*/ 120777 w 142970"/>
                <a:gd name="connsiteY0" fmla="*/ 0 h 112109"/>
                <a:gd name="connsiteX1" fmla="*/ 122587 w 142970"/>
                <a:gd name="connsiteY1" fmla="*/ 9715 h 112109"/>
                <a:gd name="connsiteX2" fmla="*/ 129350 w 142970"/>
                <a:gd name="connsiteY2" fmla="*/ 7144 h 112109"/>
                <a:gd name="connsiteX3" fmla="*/ 130492 w 142970"/>
                <a:gd name="connsiteY3" fmla="*/ 28575 h 112109"/>
                <a:gd name="connsiteX4" fmla="*/ 135350 w 142970"/>
                <a:gd name="connsiteY4" fmla="*/ 36195 h 112109"/>
                <a:gd name="connsiteX5" fmla="*/ 142970 w 142970"/>
                <a:gd name="connsiteY5" fmla="*/ 46387 h 112109"/>
                <a:gd name="connsiteX6" fmla="*/ 139446 w 142970"/>
                <a:gd name="connsiteY6" fmla="*/ 60389 h 112109"/>
                <a:gd name="connsiteX7" fmla="*/ 128969 w 142970"/>
                <a:gd name="connsiteY7" fmla="*/ 75629 h 112109"/>
                <a:gd name="connsiteX8" fmla="*/ 128302 w 142970"/>
                <a:gd name="connsiteY8" fmla="*/ 88297 h 112109"/>
                <a:gd name="connsiteX9" fmla="*/ 108775 w 142970"/>
                <a:gd name="connsiteY9" fmla="*/ 84487 h 112109"/>
                <a:gd name="connsiteX10" fmla="*/ 96965 w 142970"/>
                <a:gd name="connsiteY10" fmla="*/ 88297 h 112109"/>
                <a:gd name="connsiteX11" fmla="*/ 96679 w 142970"/>
                <a:gd name="connsiteY11" fmla="*/ 105632 h 112109"/>
                <a:gd name="connsiteX12" fmla="*/ 93536 w 142970"/>
                <a:gd name="connsiteY12" fmla="*/ 110776 h 112109"/>
                <a:gd name="connsiteX13" fmla="*/ 72104 w 142970"/>
                <a:gd name="connsiteY13" fmla="*/ 112109 h 112109"/>
                <a:gd name="connsiteX14" fmla="*/ 69723 w 142970"/>
                <a:gd name="connsiteY14" fmla="*/ 110204 h 112109"/>
                <a:gd name="connsiteX15" fmla="*/ 65723 w 142970"/>
                <a:gd name="connsiteY15" fmla="*/ 108204 h 112109"/>
                <a:gd name="connsiteX16" fmla="*/ 63627 w 142970"/>
                <a:gd name="connsiteY16" fmla="*/ 102489 h 112109"/>
                <a:gd name="connsiteX17" fmla="*/ 61055 w 142970"/>
                <a:gd name="connsiteY17" fmla="*/ 100203 h 112109"/>
                <a:gd name="connsiteX18" fmla="*/ 56388 w 142970"/>
                <a:gd name="connsiteY18" fmla="*/ 99917 h 112109"/>
                <a:gd name="connsiteX19" fmla="*/ 28099 w 142970"/>
                <a:gd name="connsiteY19" fmla="*/ 105346 h 112109"/>
                <a:gd name="connsiteX20" fmla="*/ 24194 w 142970"/>
                <a:gd name="connsiteY20" fmla="*/ 107252 h 112109"/>
                <a:gd name="connsiteX21" fmla="*/ 21431 w 142970"/>
                <a:gd name="connsiteY21" fmla="*/ 109347 h 112109"/>
                <a:gd name="connsiteX22" fmla="*/ 17526 w 142970"/>
                <a:gd name="connsiteY22" fmla="*/ 111538 h 112109"/>
                <a:gd name="connsiteX23" fmla="*/ 10763 w 142970"/>
                <a:gd name="connsiteY23" fmla="*/ 109728 h 112109"/>
                <a:gd name="connsiteX24" fmla="*/ 4381 w 142970"/>
                <a:gd name="connsiteY24" fmla="*/ 105632 h 112109"/>
                <a:gd name="connsiteX25" fmla="*/ 0 w 142970"/>
                <a:gd name="connsiteY25" fmla="*/ 101251 h 112109"/>
                <a:gd name="connsiteX26" fmla="*/ 3048 w 142970"/>
                <a:gd name="connsiteY26" fmla="*/ 84106 h 112109"/>
                <a:gd name="connsiteX27" fmla="*/ 1333 w 142970"/>
                <a:gd name="connsiteY27" fmla="*/ 81534 h 112109"/>
                <a:gd name="connsiteX28" fmla="*/ 5239 w 142970"/>
                <a:gd name="connsiteY28" fmla="*/ 61531 h 112109"/>
                <a:gd name="connsiteX29" fmla="*/ 9906 w 142970"/>
                <a:gd name="connsiteY29" fmla="*/ 46577 h 112109"/>
                <a:gd name="connsiteX30" fmla="*/ 26575 w 142970"/>
                <a:gd name="connsiteY30" fmla="*/ 59341 h 112109"/>
                <a:gd name="connsiteX31" fmla="*/ 38386 w 142970"/>
                <a:gd name="connsiteY31" fmla="*/ 42767 h 112109"/>
                <a:gd name="connsiteX32" fmla="*/ 50197 w 142970"/>
                <a:gd name="connsiteY32" fmla="*/ 31337 h 112109"/>
                <a:gd name="connsiteX33" fmla="*/ 82201 w 142970"/>
                <a:gd name="connsiteY33" fmla="*/ 26289 h 112109"/>
                <a:gd name="connsiteX34" fmla="*/ 99631 w 142970"/>
                <a:gd name="connsiteY34" fmla="*/ 25051 h 112109"/>
                <a:gd name="connsiteX35" fmla="*/ 108680 w 142970"/>
                <a:gd name="connsiteY35" fmla="*/ 13621 h 112109"/>
                <a:gd name="connsiteX36" fmla="*/ 120586 w 142970"/>
                <a:gd name="connsiteY36" fmla="*/ 381 h 112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2970" h="112109">
                  <a:moveTo>
                    <a:pt x="120777" y="0"/>
                  </a:moveTo>
                  <a:lnTo>
                    <a:pt x="122587" y="9715"/>
                  </a:lnTo>
                  <a:lnTo>
                    <a:pt x="129350" y="7144"/>
                  </a:lnTo>
                  <a:lnTo>
                    <a:pt x="130492" y="28575"/>
                  </a:lnTo>
                  <a:lnTo>
                    <a:pt x="135350" y="36195"/>
                  </a:lnTo>
                  <a:lnTo>
                    <a:pt x="142970" y="46387"/>
                  </a:lnTo>
                  <a:lnTo>
                    <a:pt x="139446" y="60389"/>
                  </a:lnTo>
                  <a:lnTo>
                    <a:pt x="128969" y="75629"/>
                  </a:lnTo>
                  <a:lnTo>
                    <a:pt x="128302" y="88297"/>
                  </a:lnTo>
                  <a:lnTo>
                    <a:pt x="108775" y="84487"/>
                  </a:lnTo>
                  <a:lnTo>
                    <a:pt x="96965" y="88297"/>
                  </a:lnTo>
                  <a:lnTo>
                    <a:pt x="96679" y="105632"/>
                  </a:lnTo>
                  <a:lnTo>
                    <a:pt x="93536" y="110776"/>
                  </a:lnTo>
                  <a:lnTo>
                    <a:pt x="72104" y="112109"/>
                  </a:lnTo>
                  <a:lnTo>
                    <a:pt x="69723" y="110204"/>
                  </a:lnTo>
                  <a:lnTo>
                    <a:pt x="65723" y="108204"/>
                  </a:lnTo>
                  <a:lnTo>
                    <a:pt x="63627" y="102489"/>
                  </a:lnTo>
                  <a:lnTo>
                    <a:pt x="61055" y="100203"/>
                  </a:lnTo>
                  <a:lnTo>
                    <a:pt x="56388" y="99917"/>
                  </a:lnTo>
                  <a:lnTo>
                    <a:pt x="28099" y="105346"/>
                  </a:lnTo>
                  <a:lnTo>
                    <a:pt x="24194" y="107252"/>
                  </a:lnTo>
                  <a:lnTo>
                    <a:pt x="21431" y="109347"/>
                  </a:lnTo>
                  <a:lnTo>
                    <a:pt x="17526" y="111538"/>
                  </a:lnTo>
                  <a:lnTo>
                    <a:pt x="10763" y="109728"/>
                  </a:lnTo>
                  <a:lnTo>
                    <a:pt x="4381" y="105632"/>
                  </a:lnTo>
                  <a:lnTo>
                    <a:pt x="0" y="101251"/>
                  </a:lnTo>
                  <a:lnTo>
                    <a:pt x="3048" y="84106"/>
                  </a:lnTo>
                  <a:lnTo>
                    <a:pt x="1333" y="81534"/>
                  </a:lnTo>
                  <a:lnTo>
                    <a:pt x="5239" y="61531"/>
                  </a:lnTo>
                  <a:lnTo>
                    <a:pt x="9906" y="46577"/>
                  </a:lnTo>
                  <a:lnTo>
                    <a:pt x="26575" y="59341"/>
                  </a:lnTo>
                  <a:lnTo>
                    <a:pt x="38386" y="42767"/>
                  </a:lnTo>
                  <a:lnTo>
                    <a:pt x="50197" y="31337"/>
                  </a:lnTo>
                  <a:lnTo>
                    <a:pt x="82201" y="26289"/>
                  </a:lnTo>
                  <a:lnTo>
                    <a:pt x="99631" y="25051"/>
                  </a:lnTo>
                  <a:lnTo>
                    <a:pt x="108680" y="13621"/>
                  </a:lnTo>
                  <a:lnTo>
                    <a:pt x="120586" y="381"/>
                  </a:lnTo>
                </a:path>
              </a:pathLst>
            </a:custGeom>
            <a:grpFill/>
            <a:ln w="2381" cap="sq">
              <a:noFill/>
              <a:prstDash val="solid"/>
              <a:bevel/>
            </a:ln>
          </p:spPr>
          <p:txBody>
            <a:bodyPr rtlCol="0" anchor="ctr"/>
            <a:lstStyle/>
            <a:p>
              <a:endParaRPr lang="cs-CZ"/>
            </a:p>
          </p:txBody>
        </p:sp>
        <p:sp>
          <p:nvSpPr>
            <p:cNvPr id="241" name="Freeform: Shape 240">
              <a:extLst>
                <a:ext uri="{FF2B5EF4-FFF2-40B4-BE49-F238E27FC236}">
                  <a16:creationId xmlns:a16="http://schemas.microsoft.com/office/drawing/2014/main" id="{FD2FA7A3-636D-B663-3D40-C9E54685E7C6}"/>
                </a:ext>
              </a:extLst>
            </p:cNvPr>
            <p:cNvSpPr/>
            <p:nvPr/>
          </p:nvSpPr>
          <p:spPr>
            <a:xfrm>
              <a:off x="12756354" y="8177146"/>
              <a:ext cx="89535" cy="42671"/>
            </a:xfrm>
            <a:custGeom>
              <a:avLst/>
              <a:gdLst>
                <a:gd name="connsiteX0" fmla="*/ 89535 w 89535"/>
                <a:gd name="connsiteY0" fmla="*/ 20479 h 42671"/>
                <a:gd name="connsiteX1" fmla="*/ 81248 w 89535"/>
                <a:gd name="connsiteY1" fmla="*/ 24670 h 42671"/>
                <a:gd name="connsiteX2" fmla="*/ 76105 w 89535"/>
                <a:gd name="connsiteY2" fmla="*/ 26003 h 42671"/>
                <a:gd name="connsiteX3" fmla="*/ 71723 w 89535"/>
                <a:gd name="connsiteY3" fmla="*/ 25241 h 42671"/>
                <a:gd name="connsiteX4" fmla="*/ 69628 w 89535"/>
                <a:gd name="connsiteY4" fmla="*/ 26765 h 42671"/>
                <a:gd name="connsiteX5" fmla="*/ 67437 w 89535"/>
                <a:gd name="connsiteY5" fmla="*/ 30575 h 42671"/>
                <a:gd name="connsiteX6" fmla="*/ 66961 w 89535"/>
                <a:gd name="connsiteY6" fmla="*/ 35242 h 42671"/>
                <a:gd name="connsiteX7" fmla="*/ 62198 w 89535"/>
                <a:gd name="connsiteY7" fmla="*/ 41243 h 42671"/>
                <a:gd name="connsiteX8" fmla="*/ 57626 w 89535"/>
                <a:gd name="connsiteY8" fmla="*/ 42672 h 42671"/>
                <a:gd name="connsiteX9" fmla="*/ 50768 w 89535"/>
                <a:gd name="connsiteY9" fmla="*/ 42481 h 42671"/>
                <a:gd name="connsiteX10" fmla="*/ 45720 w 89535"/>
                <a:gd name="connsiteY10" fmla="*/ 40291 h 42671"/>
                <a:gd name="connsiteX11" fmla="*/ 33719 w 89535"/>
                <a:gd name="connsiteY11" fmla="*/ 32766 h 42671"/>
                <a:gd name="connsiteX12" fmla="*/ 12954 w 89535"/>
                <a:gd name="connsiteY12" fmla="*/ 28384 h 42671"/>
                <a:gd name="connsiteX13" fmla="*/ 0 w 89535"/>
                <a:gd name="connsiteY13" fmla="*/ 23146 h 42671"/>
                <a:gd name="connsiteX14" fmla="*/ 2858 w 89535"/>
                <a:gd name="connsiteY14" fmla="*/ 12954 h 42671"/>
                <a:gd name="connsiteX15" fmla="*/ 13525 w 89535"/>
                <a:gd name="connsiteY15" fmla="*/ 5144 h 42671"/>
                <a:gd name="connsiteX16" fmla="*/ 56388 w 89535"/>
                <a:gd name="connsiteY16" fmla="*/ 0 h 42671"/>
                <a:gd name="connsiteX17" fmla="*/ 72961 w 89535"/>
                <a:gd name="connsiteY17" fmla="*/ 7239 h 42671"/>
                <a:gd name="connsiteX18" fmla="*/ 79629 w 89535"/>
                <a:gd name="connsiteY18" fmla="*/ 10192 h 42671"/>
                <a:gd name="connsiteX19" fmla="*/ 89344 w 89535"/>
                <a:gd name="connsiteY19" fmla="*/ 20383 h 42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9535" h="42671">
                  <a:moveTo>
                    <a:pt x="89535" y="20479"/>
                  </a:moveTo>
                  <a:lnTo>
                    <a:pt x="81248" y="24670"/>
                  </a:lnTo>
                  <a:lnTo>
                    <a:pt x="76105" y="26003"/>
                  </a:lnTo>
                  <a:lnTo>
                    <a:pt x="71723" y="25241"/>
                  </a:lnTo>
                  <a:lnTo>
                    <a:pt x="69628" y="26765"/>
                  </a:lnTo>
                  <a:lnTo>
                    <a:pt x="67437" y="30575"/>
                  </a:lnTo>
                  <a:lnTo>
                    <a:pt x="66961" y="35242"/>
                  </a:lnTo>
                  <a:lnTo>
                    <a:pt x="62198" y="41243"/>
                  </a:lnTo>
                  <a:lnTo>
                    <a:pt x="57626" y="42672"/>
                  </a:lnTo>
                  <a:lnTo>
                    <a:pt x="50768" y="42481"/>
                  </a:lnTo>
                  <a:lnTo>
                    <a:pt x="45720" y="40291"/>
                  </a:lnTo>
                  <a:lnTo>
                    <a:pt x="33719" y="32766"/>
                  </a:lnTo>
                  <a:lnTo>
                    <a:pt x="12954" y="28384"/>
                  </a:lnTo>
                  <a:lnTo>
                    <a:pt x="0" y="23146"/>
                  </a:lnTo>
                  <a:lnTo>
                    <a:pt x="2858" y="12954"/>
                  </a:lnTo>
                  <a:lnTo>
                    <a:pt x="13525" y="5144"/>
                  </a:lnTo>
                  <a:lnTo>
                    <a:pt x="56388" y="0"/>
                  </a:lnTo>
                  <a:lnTo>
                    <a:pt x="72961" y="7239"/>
                  </a:lnTo>
                  <a:lnTo>
                    <a:pt x="79629" y="10192"/>
                  </a:lnTo>
                  <a:lnTo>
                    <a:pt x="89344" y="20383"/>
                  </a:lnTo>
                </a:path>
              </a:pathLst>
            </a:custGeom>
            <a:grpFill/>
            <a:ln w="2381" cap="sq">
              <a:noFill/>
              <a:prstDash val="solid"/>
              <a:bevel/>
            </a:ln>
          </p:spPr>
          <p:txBody>
            <a:bodyPr rtlCol="0" anchor="ctr"/>
            <a:lstStyle/>
            <a:p>
              <a:endParaRPr lang="cs-CZ"/>
            </a:p>
          </p:txBody>
        </p:sp>
        <p:sp>
          <p:nvSpPr>
            <p:cNvPr id="242" name="Freeform: Shape 241">
              <a:extLst>
                <a:ext uri="{FF2B5EF4-FFF2-40B4-BE49-F238E27FC236}">
                  <a16:creationId xmlns:a16="http://schemas.microsoft.com/office/drawing/2014/main" id="{29451303-86A4-E940-FFAD-35676EB3A256}"/>
                </a:ext>
              </a:extLst>
            </p:cNvPr>
            <p:cNvSpPr/>
            <p:nvPr/>
          </p:nvSpPr>
          <p:spPr>
            <a:xfrm>
              <a:off x="12824839" y="8033318"/>
              <a:ext cx="109442" cy="75437"/>
            </a:xfrm>
            <a:custGeom>
              <a:avLst/>
              <a:gdLst>
                <a:gd name="connsiteX0" fmla="*/ 32099 w 109442"/>
                <a:gd name="connsiteY0" fmla="*/ 40957 h 75437"/>
                <a:gd name="connsiteX1" fmla="*/ 23527 w 109442"/>
                <a:gd name="connsiteY1" fmla="*/ 18764 h 75437"/>
                <a:gd name="connsiteX2" fmla="*/ 22765 w 109442"/>
                <a:gd name="connsiteY2" fmla="*/ 0 h 75437"/>
                <a:gd name="connsiteX3" fmla="*/ 46863 w 109442"/>
                <a:gd name="connsiteY3" fmla="*/ 6572 h 75437"/>
                <a:gd name="connsiteX4" fmla="*/ 58007 w 109442"/>
                <a:gd name="connsiteY4" fmla="*/ 10382 h 75437"/>
                <a:gd name="connsiteX5" fmla="*/ 62198 w 109442"/>
                <a:gd name="connsiteY5" fmla="*/ 24384 h 75437"/>
                <a:gd name="connsiteX6" fmla="*/ 69152 w 109442"/>
                <a:gd name="connsiteY6" fmla="*/ 14192 h 75437"/>
                <a:gd name="connsiteX7" fmla="*/ 89345 w 109442"/>
                <a:gd name="connsiteY7" fmla="*/ 2762 h 75437"/>
                <a:gd name="connsiteX8" fmla="*/ 98393 w 109442"/>
                <a:gd name="connsiteY8" fmla="*/ 4000 h 75437"/>
                <a:gd name="connsiteX9" fmla="*/ 109442 w 109442"/>
                <a:gd name="connsiteY9" fmla="*/ 31051 h 75437"/>
                <a:gd name="connsiteX10" fmla="*/ 102584 w 109442"/>
                <a:gd name="connsiteY10" fmla="*/ 30575 h 75437"/>
                <a:gd name="connsiteX11" fmla="*/ 100965 w 109442"/>
                <a:gd name="connsiteY11" fmla="*/ 33052 h 75437"/>
                <a:gd name="connsiteX12" fmla="*/ 101822 w 109442"/>
                <a:gd name="connsiteY12" fmla="*/ 37148 h 75437"/>
                <a:gd name="connsiteX13" fmla="*/ 104394 w 109442"/>
                <a:gd name="connsiteY13" fmla="*/ 41338 h 75437"/>
                <a:gd name="connsiteX14" fmla="*/ 105823 w 109442"/>
                <a:gd name="connsiteY14" fmla="*/ 46196 h 75437"/>
                <a:gd name="connsiteX15" fmla="*/ 105537 w 109442"/>
                <a:gd name="connsiteY15" fmla="*/ 51911 h 75437"/>
                <a:gd name="connsiteX16" fmla="*/ 103727 w 109442"/>
                <a:gd name="connsiteY16" fmla="*/ 60674 h 75437"/>
                <a:gd name="connsiteX17" fmla="*/ 104108 w 109442"/>
                <a:gd name="connsiteY17" fmla="*/ 66103 h 75437"/>
                <a:gd name="connsiteX18" fmla="*/ 94869 w 109442"/>
                <a:gd name="connsiteY18" fmla="*/ 64579 h 75437"/>
                <a:gd name="connsiteX19" fmla="*/ 81534 w 109442"/>
                <a:gd name="connsiteY19" fmla="*/ 62960 h 75437"/>
                <a:gd name="connsiteX20" fmla="*/ 64294 w 109442"/>
                <a:gd name="connsiteY20" fmla="*/ 56578 h 75437"/>
                <a:gd name="connsiteX21" fmla="*/ 52197 w 109442"/>
                <a:gd name="connsiteY21" fmla="*/ 75438 h 75437"/>
                <a:gd name="connsiteX22" fmla="*/ 32004 w 109442"/>
                <a:gd name="connsiteY22" fmla="*/ 75438 h 75437"/>
                <a:gd name="connsiteX23" fmla="*/ 16002 w 109442"/>
                <a:gd name="connsiteY23" fmla="*/ 72866 h 75437"/>
                <a:gd name="connsiteX24" fmla="*/ 4858 w 109442"/>
                <a:gd name="connsiteY24" fmla="*/ 56293 h 75437"/>
                <a:gd name="connsiteX25" fmla="*/ 0 w 109442"/>
                <a:gd name="connsiteY25" fmla="*/ 44863 h 75437"/>
                <a:gd name="connsiteX26" fmla="*/ 7906 w 109442"/>
                <a:gd name="connsiteY26" fmla="*/ 34576 h 75437"/>
                <a:gd name="connsiteX27" fmla="*/ 31909 w 109442"/>
                <a:gd name="connsiteY27" fmla="*/ 41053 h 7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9442" h="75437">
                  <a:moveTo>
                    <a:pt x="32099" y="40957"/>
                  </a:moveTo>
                  <a:lnTo>
                    <a:pt x="23527" y="18764"/>
                  </a:lnTo>
                  <a:lnTo>
                    <a:pt x="22765" y="0"/>
                  </a:lnTo>
                  <a:lnTo>
                    <a:pt x="46863" y="6572"/>
                  </a:lnTo>
                  <a:lnTo>
                    <a:pt x="58007" y="10382"/>
                  </a:lnTo>
                  <a:lnTo>
                    <a:pt x="62198" y="24384"/>
                  </a:lnTo>
                  <a:lnTo>
                    <a:pt x="69152" y="14192"/>
                  </a:lnTo>
                  <a:lnTo>
                    <a:pt x="89345" y="2762"/>
                  </a:lnTo>
                  <a:lnTo>
                    <a:pt x="98393" y="4000"/>
                  </a:lnTo>
                  <a:lnTo>
                    <a:pt x="109442" y="31051"/>
                  </a:lnTo>
                  <a:lnTo>
                    <a:pt x="102584" y="30575"/>
                  </a:lnTo>
                  <a:lnTo>
                    <a:pt x="100965" y="33052"/>
                  </a:lnTo>
                  <a:lnTo>
                    <a:pt x="101822" y="37148"/>
                  </a:lnTo>
                  <a:lnTo>
                    <a:pt x="104394" y="41338"/>
                  </a:lnTo>
                  <a:lnTo>
                    <a:pt x="105823" y="46196"/>
                  </a:lnTo>
                  <a:lnTo>
                    <a:pt x="105537" y="51911"/>
                  </a:lnTo>
                  <a:lnTo>
                    <a:pt x="103727" y="60674"/>
                  </a:lnTo>
                  <a:lnTo>
                    <a:pt x="104108" y="66103"/>
                  </a:lnTo>
                  <a:lnTo>
                    <a:pt x="94869" y="64579"/>
                  </a:lnTo>
                  <a:lnTo>
                    <a:pt x="81534" y="62960"/>
                  </a:lnTo>
                  <a:lnTo>
                    <a:pt x="64294" y="56578"/>
                  </a:lnTo>
                  <a:lnTo>
                    <a:pt x="52197" y="75438"/>
                  </a:lnTo>
                  <a:lnTo>
                    <a:pt x="32004" y="75438"/>
                  </a:lnTo>
                  <a:lnTo>
                    <a:pt x="16002" y="72866"/>
                  </a:lnTo>
                  <a:lnTo>
                    <a:pt x="4858" y="56293"/>
                  </a:lnTo>
                  <a:lnTo>
                    <a:pt x="0" y="44863"/>
                  </a:lnTo>
                  <a:lnTo>
                    <a:pt x="7906" y="34576"/>
                  </a:lnTo>
                  <a:lnTo>
                    <a:pt x="31909" y="41053"/>
                  </a:lnTo>
                </a:path>
              </a:pathLst>
            </a:custGeom>
            <a:grpFill/>
            <a:ln w="2381" cap="sq">
              <a:noFill/>
              <a:prstDash val="solid"/>
              <a:bevel/>
            </a:ln>
          </p:spPr>
          <p:txBody>
            <a:bodyPr rtlCol="0" anchor="ctr"/>
            <a:lstStyle/>
            <a:p>
              <a:endParaRPr lang="cs-CZ"/>
            </a:p>
          </p:txBody>
        </p:sp>
        <p:sp>
          <p:nvSpPr>
            <p:cNvPr id="243" name="Freeform: Shape 242">
              <a:extLst>
                <a:ext uri="{FF2B5EF4-FFF2-40B4-BE49-F238E27FC236}">
                  <a16:creationId xmlns:a16="http://schemas.microsoft.com/office/drawing/2014/main" id="{4518597B-9CFC-53C4-6045-8F4DB0A4B4A2}"/>
                </a:ext>
              </a:extLst>
            </p:cNvPr>
            <p:cNvSpPr/>
            <p:nvPr/>
          </p:nvSpPr>
          <p:spPr>
            <a:xfrm>
              <a:off x="12847413" y="8005696"/>
              <a:ext cx="66579" cy="52006"/>
            </a:xfrm>
            <a:custGeom>
              <a:avLst/>
              <a:gdLst>
                <a:gd name="connsiteX0" fmla="*/ 95 w 66579"/>
                <a:gd name="connsiteY0" fmla="*/ 27623 h 52006"/>
                <a:gd name="connsiteX1" fmla="*/ 4667 w 66579"/>
                <a:gd name="connsiteY1" fmla="*/ 20098 h 52006"/>
                <a:gd name="connsiteX2" fmla="*/ 9334 w 66579"/>
                <a:gd name="connsiteY2" fmla="*/ 16478 h 52006"/>
                <a:gd name="connsiteX3" fmla="*/ 25146 w 66579"/>
                <a:gd name="connsiteY3" fmla="*/ 9620 h 52006"/>
                <a:gd name="connsiteX4" fmla="*/ 33338 w 66579"/>
                <a:gd name="connsiteY4" fmla="*/ 0 h 52006"/>
                <a:gd name="connsiteX5" fmla="*/ 45720 w 66579"/>
                <a:gd name="connsiteY5" fmla="*/ 8668 h 52006"/>
                <a:gd name="connsiteX6" fmla="*/ 53340 w 66579"/>
                <a:gd name="connsiteY6" fmla="*/ 17621 h 52006"/>
                <a:gd name="connsiteX7" fmla="*/ 66580 w 66579"/>
                <a:gd name="connsiteY7" fmla="*/ 30385 h 52006"/>
                <a:gd name="connsiteX8" fmla="*/ 46387 w 66579"/>
                <a:gd name="connsiteY8" fmla="*/ 41815 h 52006"/>
                <a:gd name="connsiteX9" fmla="*/ 39433 w 66579"/>
                <a:gd name="connsiteY9" fmla="*/ 52006 h 52006"/>
                <a:gd name="connsiteX10" fmla="*/ 35242 w 66579"/>
                <a:gd name="connsiteY10" fmla="*/ 38005 h 52006"/>
                <a:gd name="connsiteX11" fmla="*/ 24098 w 66579"/>
                <a:gd name="connsiteY11" fmla="*/ 34195 h 52006"/>
                <a:gd name="connsiteX12" fmla="*/ 0 w 66579"/>
                <a:gd name="connsiteY12" fmla="*/ 27623 h 52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579" h="52006">
                  <a:moveTo>
                    <a:pt x="95" y="27623"/>
                  </a:moveTo>
                  <a:lnTo>
                    <a:pt x="4667" y="20098"/>
                  </a:lnTo>
                  <a:lnTo>
                    <a:pt x="9334" y="16478"/>
                  </a:lnTo>
                  <a:lnTo>
                    <a:pt x="25146" y="9620"/>
                  </a:lnTo>
                  <a:lnTo>
                    <a:pt x="33338" y="0"/>
                  </a:lnTo>
                  <a:lnTo>
                    <a:pt x="45720" y="8668"/>
                  </a:lnTo>
                  <a:lnTo>
                    <a:pt x="53340" y="17621"/>
                  </a:lnTo>
                  <a:lnTo>
                    <a:pt x="66580" y="30385"/>
                  </a:lnTo>
                  <a:lnTo>
                    <a:pt x="46387" y="41815"/>
                  </a:lnTo>
                  <a:lnTo>
                    <a:pt x="39433" y="52006"/>
                  </a:lnTo>
                  <a:lnTo>
                    <a:pt x="35242" y="38005"/>
                  </a:lnTo>
                  <a:lnTo>
                    <a:pt x="24098" y="34195"/>
                  </a:lnTo>
                  <a:lnTo>
                    <a:pt x="0" y="27623"/>
                  </a:lnTo>
                </a:path>
              </a:pathLst>
            </a:custGeom>
            <a:grpFill/>
            <a:ln w="2381" cap="sq">
              <a:noFill/>
              <a:prstDash val="solid"/>
              <a:bevel/>
            </a:ln>
          </p:spPr>
          <p:txBody>
            <a:bodyPr rtlCol="0" anchor="ctr"/>
            <a:lstStyle/>
            <a:p>
              <a:endParaRPr lang="cs-CZ"/>
            </a:p>
          </p:txBody>
        </p:sp>
        <p:sp>
          <p:nvSpPr>
            <p:cNvPr id="244" name="Freeform: Shape 243">
              <a:extLst>
                <a:ext uri="{FF2B5EF4-FFF2-40B4-BE49-F238E27FC236}">
                  <a16:creationId xmlns:a16="http://schemas.microsoft.com/office/drawing/2014/main" id="{50C68652-AEF6-4F39-F8C7-6079DD56B6A0}"/>
                </a:ext>
              </a:extLst>
            </p:cNvPr>
            <p:cNvSpPr/>
            <p:nvPr/>
          </p:nvSpPr>
          <p:spPr>
            <a:xfrm>
              <a:off x="12901039" y="7756426"/>
              <a:ext cx="120586" cy="151352"/>
            </a:xfrm>
            <a:custGeom>
              <a:avLst/>
              <a:gdLst>
                <a:gd name="connsiteX0" fmla="*/ 69342 w 120586"/>
                <a:gd name="connsiteY0" fmla="*/ 0 h 151352"/>
                <a:gd name="connsiteX1" fmla="*/ 75724 w 120586"/>
                <a:gd name="connsiteY1" fmla="*/ 4572 h 151352"/>
                <a:gd name="connsiteX2" fmla="*/ 78581 w 120586"/>
                <a:gd name="connsiteY2" fmla="*/ 14859 h 151352"/>
                <a:gd name="connsiteX3" fmla="*/ 79248 w 120586"/>
                <a:gd name="connsiteY3" fmla="*/ 18383 h 151352"/>
                <a:gd name="connsiteX4" fmla="*/ 80296 w 120586"/>
                <a:gd name="connsiteY4" fmla="*/ 19907 h 151352"/>
                <a:gd name="connsiteX5" fmla="*/ 84582 w 120586"/>
                <a:gd name="connsiteY5" fmla="*/ 22384 h 151352"/>
                <a:gd name="connsiteX6" fmla="*/ 89440 w 120586"/>
                <a:gd name="connsiteY6" fmla="*/ 26956 h 151352"/>
                <a:gd name="connsiteX7" fmla="*/ 97441 w 120586"/>
                <a:gd name="connsiteY7" fmla="*/ 36576 h 151352"/>
                <a:gd name="connsiteX8" fmla="*/ 105632 w 120586"/>
                <a:gd name="connsiteY8" fmla="*/ 57055 h 151352"/>
                <a:gd name="connsiteX9" fmla="*/ 120587 w 120586"/>
                <a:gd name="connsiteY9" fmla="*/ 67247 h 151352"/>
                <a:gd name="connsiteX10" fmla="*/ 112300 w 120586"/>
                <a:gd name="connsiteY10" fmla="*/ 76486 h 151352"/>
                <a:gd name="connsiteX11" fmla="*/ 94964 w 120586"/>
                <a:gd name="connsiteY11" fmla="*/ 81534 h 151352"/>
                <a:gd name="connsiteX12" fmla="*/ 96583 w 120586"/>
                <a:gd name="connsiteY12" fmla="*/ 100489 h 151352"/>
                <a:gd name="connsiteX13" fmla="*/ 111157 w 120586"/>
                <a:gd name="connsiteY13" fmla="*/ 98489 h 151352"/>
                <a:gd name="connsiteX14" fmla="*/ 117634 w 120586"/>
                <a:gd name="connsiteY14" fmla="*/ 105442 h 151352"/>
                <a:gd name="connsiteX15" fmla="*/ 118205 w 120586"/>
                <a:gd name="connsiteY15" fmla="*/ 120396 h 151352"/>
                <a:gd name="connsiteX16" fmla="*/ 114395 w 120586"/>
                <a:gd name="connsiteY16" fmla="*/ 137351 h 151352"/>
                <a:gd name="connsiteX17" fmla="*/ 96012 w 120586"/>
                <a:gd name="connsiteY17" fmla="*/ 132397 h 151352"/>
                <a:gd name="connsiteX18" fmla="*/ 76486 w 120586"/>
                <a:gd name="connsiteY18" fmla="*/ 128397 h 151352"/>
                <a:gd name="connsiteX19" fmla="*/ 70485 w 120586"/>
                <a:gd name="connsiteY19" fmla="*/ 138398 h 151352"/>
                <a:gd name="connsiteX20" fmla="*/ 53150 w 120586"/>
                <a:gd name="connsiteY20" fmla="*/ 151352 h 151352"/>
                <a:gd name="connsiteX21" fmla="*/ 36862 w 120586"/>
                <a:gd name="connsiteY21" fmla="*/ 96488 h 151352"/>
                <a:gd name="connsiteX22" fmla="*/ 20574 w 120586"/>
                <a:gd name="connsiteY22" fmla="*/ 97441 h 151352"/>
                <a:gd name="connsiteX23" fmla="*/ 8668 w 120586"/>
                <a:gd name="connsiteY23" fmla="*/ 99441 h 151352"/>
                <a:gd name="connsiteX24" fmla="*/ 0 w 120586"/>
                <a:gd name="connsiteY24" fmla="*/ 96488 h 151352"/>
                <a:gd name="connsiteX25" fmla="*/ 28194 w 120586"/>
                <a:gd name="connsiteY25" fmla="*/ 58484 h 151352"/>
                <a:gd name="connsiteX26" fmla="*/ 44958 w 120586"/>
                <a:gd name="connsiteY26" fmla="*/ 56483 h 151352"/>
                <a:gd name="connsiteX27" fmla="*/ 40672 w 120586"/>
                <a:gd name="connsiteY27" fmla="*/ 33433 h 151352"/>
                <a:gd name="connsiteX28" fmla="*/ 34671 w 120586"/>
                <a:gd name="connsiteY28" fmla="*/ 15621 h 151352"/>
                <a:gd name="connsiteX29" fmla="*/ 38957 w 120586"/>
                <a:gd name="connsiteY29" fmla="*/ 16383 h 151352"/>
                <a:gd name="connsiteX30" fmla="*/ 69247 w 120586"/>
                <a:gd name="connsiteY30" fmla="*/ 95 h 15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0586" h="151352">
                  <a:moveTo>
                    <a:pt x="69342" y="0"/>
                  </a:moveTo>
                  <a:lnTo>
                    <a:pt x="75724" y="4572"/>
                  </a:lnTo>
                  <a:lnTo>
                    <a:pt x="78581" y="14859"/>
                  </a:lnTo>
                  <a:lnTo>
                    <a:pt x="79248" y="18383"/>
                  </a:lnTo>
                  <a:lnTo>
                    <a:pt x="80296" y="19907"/>
                  </a:lnTo>
                  <a:lnTo>
                    <a:pt x="84582" y="22384"/>
                  </a:lnTo>
                  <a:lnTo>
                    <a:pt x="89440" y="26956"/>
                  </a:lnTo>
                  <a:lnTo>
                    <a:pt x="97441" y="36576"/>
                  </a:lnTo>
                  <a:lnTo>
                    <a:pt x="105632" y="57055"/>
                  </a:lnTo>
                  <a:lnTo>
                    <a:pt x="120587" y="67247"/>
                  </a:lnTo>
                  <a:lnTo>
                    <a:pt x="112300" y="76486"/>
                  </a:lnTo>
                  <a:lnTo>
                    <a:pt x="94964" y="81534"/>
                  </a:lnTo>
                  <a:lnTo>
                    <a:pt x="96583" y="100489"/>
                  </a:lnTo>
                  <a:lnTo>
                    <a:pt x="111157" y="98489"/>
                  </a:lnTo>
                  <a:lnTo>
                    <a:pt x="117634" y="105442"/>
                  </a:lnTo>
                  <a:lnTo>
                    <a:pt x="118205" y="120396"/>
                  </a:lnTo>
                  <a:lnTo>
                    <a:pt x="114395" y="137351"/>
                  </a:lnTo>
                  <a:lnTo>
                    <a:pt x="96012" y="132397"/>
                  </a:lnTo>
                  <a:lnTo>
                    <a:pt x="76486" y="128397"/>
                  </a:lnTo>
                  <a:lnTo>
                    <a:pt x="70485" y="138398"/>
                  </a:lnTo>
                  <a:lnTo>
                    <a:pt x="53150" y="151352"/>
                  </a:lnTo>
                  <a:lnTo>
                    <a:pt x="36862" y="96488"/>
                  </a:lnTo>
                  <a:lnTo>
                    <a:pt x="20574" y="97441"/>
                  </a:lnTo>
                  <a:lnTo>
                    <a:pt x="8668" y="99441"/>
                  </a:lnTo>
                  <a:lnTo>
                    <a:pt x="0" y="96488"/>
                  </a:lnTo>
                  <a:lnTo>
                    <a:pt x="28194" y="58484"/>
                  </a:lnTo>
                  <a:lnTo>
                    <a:pt x="44958" y="56483"/>
                  </a:lnTo>
                  <a:lnTo>
                    <a:pt x="40672" y="33433"/>
                  </a:lnTo>
                  <a:lnTo>
                    <a:pt x="34671" y="15621"/>
                  </a:lnTo>
                  <a:lnTo>
                    <a:pt x="38957" y="16383"/>
                  </a:lnTo>
                  <a:lnTo>
                    <a:pt x="69247" y="95"/>
                  </a:lnTo>
                </a:path>
              </a:pathLst>
            </a:custGeom>
            <a:grpFill/>
            <a:ln w="2381" cap="sq">
              <a:noFill/>
              <a:prstDash val="solid"/>
              <a:bevel/>
            </a:ln>
          </p:spPr>
          <p:txBody>
            <a:bodyPr rtlCol="0" anchor="ctr"/>
            <a:lstStyle/>
            <a:p>
              <a:endParaRPr lang="cs-CZ"/>
            </a:p>
          </p:txBody>
        </p:sp>
        <p:sp>
          <p:nvSpPr>
            <p:cNvPr id="245" name="Freeform: Shape 244">
              <a:extLst>
                <a:ext uri="{FF2B5EF4-FFF2-40B4-BE49-F238E27FC236}">
                  <a16:creationId xmlns:a16="http://schemas.microsoft.com/office/drawing/2014/main" id="{FCB23B66-44DC-147B-5DE9-44495E1D9A47}"/>
                </a:ext>
              </a:extLst>
            </p:cNvPr>
            <p:cNvSpPr/>
            <p:nvPr/>
          </p:nvSpPr>
          <p:spPr>
            <a:xfrm>
              <a:off x="13070489" y="7908731"/>
              <a:ext cx="132492" cy="130873"/>
            </a:xfrm>
            <a:custGeom>
              <a:avLst/>
              <a:gdLst>
                <a:gd name="connsiteX0" fmla="*/ 68866 w 132492"/>
                <a:gd name="connsiteY0" fmla="*/ 17621 h 130873"/>
                <a:gd name="connsiteX1" fmla="*/ 70961 w 132492"/>
                <a:gd name="connsiteY1" fmla="*/ 31433 h 130873"/>
                <a:gd name="connsiteX2" fmla="*/ 79248 w 132492"/>
                <a:gd name="connsiteY2" fmla="*/ 39433 h 130873"/>
                <a:gd name="connsiteX3" fmla="*/ 90773 w 132492"/>
                <a:gd name="connsiteY3" fmla="*/ 47720 h 130873"/>
                <a:gd name="connsiteX4" fmla="*/ 93821 w 132492"/>
                <a:gd name="connsiteY4" fmla="*/ 54007 h 130873"/>
                <a:gd name="connsiteX5" fmla="*/ 96774 w 132492"/>
                <a:gd name="connsiteY5" fmla="*/ 56960 h 130873"/>
                <a:gd name="connsiteX6" fmla="*/ 99631 w 132492"/>
                <a:gd name="connsiteY6" fmla="*/ 57436 h 130873"/>
                <a:gd name="connsiteX7" fmla="*/ 110966 w 132492"/>
                <a:gd name="connsiteY7" fmla="*/ 63341 h 130873"/>
                <a:gd name="connsiteX8" fmla="*/ 114300 w 132492"/>
                <a:gd name="connsiteY8" fmla="*/ 67818 h 130873"/>
                <a:gd name="connsiteX9" fmla="*/ 124111 w 132492"/>
                <a:gd name="connsiteY9" fmla="*/ 73723 h 130873"/>
                <a:gd name="connsiteX10" fmla="*/ 132493 w 132492"/>
                <a:gd name="connsiteY10" fmla="*/ 82486 h 130873"/>
                <a:gd name="connsiteX11" fmla="*/ 128778 w 132492"/>
                <a:gd name="connsiteY11" fmla="*/ 89154 h 130873"/>
                <a:gd name="connsiteX12" fmla="*/ 130492 w 132492"/>
                <a:gd name="connsiteY12" fmla="*/ 110014 h 130873"/>
                <a:gd name="connsiteX13" fmla="*/ 89154 w 132492"/>
                <a:gd name="connsiteY13" fmla="*/ 122015 h 130873"/>
                <a:gd name="connsiteX14" fmla="*/ 75057 w 132492"/>
                <a:gd name="connsiteY14" fmla="*/ 118015 h 130873"/>
                <a:gd name="connsiteX15" fmla="*/ 65913 w 132492"/>
                <a:gd name="connsiteY15" fmla="*/ 120967 h 130873"/>
                <a:gd name="connsiteX16" fmla="*/ 57436 w 132492"/>
                <a:gd name="connsiteY16" fmla="*/ 117253 h 130873"/>
                <a:gd name="connsiteX17" fmla="*/ 50959 w 132492"/>
                <a:gd name="connsiteY17" fmla="*/ 118300 h 130873"/>
                <a:gd name="connsiteX18" fmla="*/ 43434 w 132492"/>
                <a:gd name="connsiteY18" fmla="*/ 121539 h 130873"/>
                <a:gd name="connsiteX19" fmla="*/ 32385 w 132492"/>
                <a:gd name="connsiteY19" fmla="*/ 130016 h 130873"/>
                <a:gd name="connsiteX20" fmla="*/ 27242 w 132492"/>
                <a:gd name="connsiteY20" fmla="*/ 130873 h 130873"/>
                <a:gd name="connsiteX21" fmla="*/ 12859 w 132492"/>
                <a:gd name="connsiteY21" fmla="*/ 127635 h 130873"/>
                <a:gd name="connsiteX22" fmla="*/ 0 w 132492"/>
                <a:gd name="connsiteY22" fmla="*/ 122015 h 130873"/>
                <a:gd name="connsiteX23" fmla="*/ 3334 w 132492"/>
                <a:gd name="connsiteY23" fmla="*/ 98869 h 130873"/>
                <a:gd name="connsiteX24" fmla="*/ 4000 w 132492"/>
                <a:gd name="connsiteY24" fmla="*/ 82296 h 130873"/>
                <a:gd name="connsiteX25" fmla="*/ 14668 w 132492"/>
                <a:gd name="connsiteY25" fmla="*/ 85535 h 130873"/>
                <a:gd name="connsiteX26" fmla="*/ 32004 w 132492"/>
                <a:gd name="connsiteY26" fmla="*/ 66675 h 130873"/>
                <a:gd name="connsiteX27" fmla="*/ 28194 w 132492"/>
                <a:gd name="connsiteY27" fmla="*/ 47815 h 130873"/>
                <a:gd name="connsiteX28" fmla="*/ 31433 w 132492"/>
                <a:gd name="connsiteY28" fmla="*/ 34861 h 130873"/>
                <a:gd name="connsiteX29" fmla="*/ 22765 w 132492"/>
                <a:gd name="connsiteY29" fmla="*/ 8001 h 130873"/>
                <a:gd name="connsiteX30" fmla="*/ 27622 w 132492"/>
                <a:gd name="connsiteY30" fmla="*/ 0 h 130873"/>
                <a:gd name="connsiteX31" fmla="*/ 35719 w 132492"/>
                <a:gd name="connsiteY31" fmla="*/ 12002 h 130873"/>
                <a:gd name="connsiteX32" fmla="*/ 49816 w 132492"/>
                <a:gd name="connsiteY32" fmla="*/ 16954 h 130873"/>
                <a:gd name="connsiteX33" fmla="*/ 68675 w 132492"/>
                <a:gd name="connsiteY33" fmla="*/ 17621 h 130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2492" h="130873">
                  <a:moveTo>
                    <a:pt x="68866" y="17621"/>
                  </a:moveTo>
                  <a:lnTo>
                    <a:pt x="70961" y="31433"/>
                  </a:lnTo>
                  <a:lnTo>
                    <a:pt x="79248" y="39433"/>
                  </a:lnTo>
                  <a:lnTo>
                    <a:pt x="90773" y="47720"/>
                  </a:lnTo>
                  <a:lnTo>
                    <a:pt x="93821" y="54007"/>
                  </a:lnTo>
                  <a:lnTo>
                    <a:pt x="96774" y="56960"/>
                  </a:lnTo>
                  <a:lnTo>
                    <a:pt x="99631" y="57436"/>
                  </a:lnTo>
                  <a:lnTo>
                    <a:pt x="110966" y="63341"/>
                  </a:lnTo>
                  <a:lnTo>
                    <a:pt x="114300" y="67818"/>
                  </a:lnTo>
                  <a:lnTo>
                    <a:pt x="124111" y="73723"/>
                  </a:lnTo>
                  <a:lnTo>
                    <a:pt x="132493" y="82486"/>
                  </a:lnTo>
                  <a:lnTo>
                    <a:pt x="128778" y="89154"/>
                  </a:lnTo>
                  <a:lnTo>
                    <a:pt x="130492" y="110014"/>
                  </a:lnTo>
                  <a:lnTo>
                    <a:pt x="89154" y="122015"/>
                  </a:lnTo>
                  <a:lnTo>
                    <a:pt x="75057" y="118015"/>
                  </a:lnTo>
                  <a:lnTo>
                    <a:pt x="65913" y="120967"/>
                  </a:lnTo>
                  <a:lnTo>
                    <a:pt x="57436" y="117253"/>
                  </a:lnTo>
                  <a:lnTo>
                    <a:pt x="50959" y="118300"/>
                  </a:lnTo>
                  <a:lnTo>
                    <a:pt x="43434" y="121539"/>
                  </a:lnTo>
                  <a:lnTo>
                    <a:pt x="32385" y="130016"/>
                  </a:lnTo>
                  <a:lnTo>
                    <a:pt x="27242" y="130873"/>
                  </a:lnTo>
                  <a:lnTo>
                    <a:pt x="12859" y="127635"/>
                  </a:lnTo>
                  <a:lnTo>
                    <a:pt x="0" y="122015"/>
                  </a:lnTo>
                  <a:lnTo>
                    <a:pt x="3334" y="98869"/>
                  </a:lnTo>
                  <a:lnTo>
                    <a:pt x="4000" y="82296"/>
                  </a:lnTo>
                  <a:lnTo>
                    <a:pt x="14668" y="85535"/>
                  </a:lnTo>
                  <a:lnTo>
                    <a:pt x="32004" y="66675"/>
                  </a:lnTo>
                  <a:lnTo>
                    <a:pt x="28194" y="47815"/>
                  </a:lnTo>
                  <a:lnTo>
                    <a:pt x="31433" y="34861"/>
                  </a:lnTo>
                  <a:lnTo>
                    <a:pt x="22765" y="8001"/>
                  </a:lnTo>
                  <a:lnTo>
                    <a:pt x="27622" y="0"/>
                  </a:lnTo>
                  <a:lnTo>
                    <a:pt x="35719" y="12002"/>
                  </a:lnTo>
                  <a:lnTo>
                    <a:pt x="49816" y="16954"/>
                  </a:lnTo>
                  <a:lnTo>
                    <a:pt x="68675" y="17621"/>
                  </a:lnTo>
                </a:path>
              </a:pathLst>
            </a:custGeom>
            <a:grpFill/>
            <a:ln w="2381" cap="sq">
              <a:noFill/>
              <a:prstDash val="solid"/>
              <a:bevel/>
            </a:ln>
          </p:spPr>
          <p:txBody>
            <a:bodyPr rtlCol="0" anchor="ctr"/>
            <a:lstStyle/>
            <a:p>
              <a:endParaRPr lang="cs-CZ"/>
            </a:p>
          </p:txBody>
        </p:sp>
        <p:sp>
          <p:nvSpPr>
            <p:cNvPr id="246" name="Freeform: Shape 245">
              <a:extLst>
                <a:ext uri="{FF2B5EF4-FFF2-40B4-BE49-F238E27FC236}">
                  <a16:creationId xmlns:a16="http://schemas.microsoft.com/office/drawing/2014/main" id="{04BDC056-BFE3-7915-110A-6BB5DC027536}"/>
                </a:ext>
              </a:extLst>
            </p:cNvPr>
            <p:cNvSpPr/>
            <p:nvPr/>
          </p:nvSpPr>
          <p:spPr>
            <a:xfrm>
              <a:off x="13001623" y="7826721"/>
              <a:ext cx="209645" cy="167544"/>
            </a:xfrm>
            <a:custGeom>
              <a:avLst/>
              <a:gdLst>
                <a:gd name="connsiteX0" fmla="*/ 201359 w 209645"/>
                <a:gd name="connsiteY0" fmla="*/ 164497 h 167544"/>
                <a:gd name="connsiteX1" fmla="*/ 192976 w 209645"/>
                <a:gd name="connsiteY1" fmla="*/ 155734 h 167544"/>
                <a:gd name="connsiteX2" fmla="*/ 183166 w 209645"/>
                <a:gd name="connsiteY2" fmla="*/ 149828 h 167544"/>
                <a:gd name="connsiteX3" fmla="*/ 179832 w 209645"/>
                <a:gd name="connsiteY3" fmla="*/ 145352 h 167544"/>
                <a:gd name="connsiteX4" fmla="*/ 168497 w 209645"/>
                <a:gd name="connsiteY4" fmla="*/ 139446 h 167544"/>
                <a:gd name="connsiteX5" fmla="*/ 165640 w 209645"/>
                <a:gd name="connsiteY5" fmla="*/ 138970 h 167544"/>
                <a:gd name="connsiteX6" fmla="*/ 162687 w 209645"/>
                <a:gd name="connsiteY6" fmla="*/ 136017 h 167544"/>
                <a:gd name="connsiteX7" fmla="*/ 159639 w 209645"/>
                <a:gd name="connsiteY7" fmla="*/ 129731 h 167544"/>
                <a:gd name="connsiteX8" fmla="*/ 148114 w 209645"/>
                <a:gd name="connsiteY8" fmla="*/ 121444 h 167544"/>
                <a:gd name="connsiteX9" fmla="*/ 139827 w 209645"/>
                <a:gd name="connsiteY9" fmla="*/ 113443 h 167544"/>
                <a:gd name="connsiteX10" fmla="*/ 137731 w 209645"/>
                <a:gd name="connsiteY10" fmla="*/ 99631 h 167544"/>
                <a:gd name="connsiteX11" fmla="*/ 118872 w 209645"/>
                <a:gd name="connsiteY11" fmla="*/ 98965 h 167544"/>
                <a:gd name="connsiteX12" fmla="*/ 104775 w 209645"/>
                <a:gd name="connsiteY12" fmla="*/ 94012 h 167544"/>
                <a:gd name="connsiteX13" fmla="*/ 96679 w 209645"/>
                <a:gd name="connsiteY13" fmla="*/ 82010 h 167544"/>
                <a:gd name="connsiteX14" fmla="*/ 91821 w 209645"/>
                <a:gd name="connsiteY14" fmla="*/ 90011 h 167544"/>
                <a:gd name="connsiteX15" fmla="*/ 100489 w 209645"/>
                <a:gd name="connsiteY15" fmla="*/ 116872 h 167544"/>
                <a:gd name="connsiteX16" fmla="*/ 97250 w 209645"/>
                <a:gd name="connsiteY16" fmla="*/ 129826 h 167544"/>
                <a:gd name="connsiteX17" fmla="*/ 101060 w 209645"/>
                <a:gd name="connsiteY17" fmla="*/ 148685 h 167544"/>
                <a:gd name="connsiteX18" fmla="*/ 83725 w 209645"/>
                <a:gd name="connsiteY18" fmla="*/ 167545 h 167544"/>
                <a:gd name="connsiteX19" fmla="*/ 73057 w 209645"/>
                <a:gd name="connsiteY19" fmla="*/ 164306 h 167544"/>
                <a:gd name="connsiteX20" fmla="*/ 56388 w 209645"/>
                <a:gd name="connsiteY20" fmla="*/ 157925 h 167544"/>
                <a:gd name="connsiteX21" fmla="*/ 37624 w 209645"/>
                <a:gd name="connsiteY21" fmla="*/ 164306 h 167544"/>
                <a:gd name="connsiteX22" fmla="*/ 15335 w 209645"/>
                <a:gd name="connsiteY22" fmla="*/ 147733 h 167544"/>
                <a:gd name="connsiteX23" fmla="*/ 0 w 209645"/>
                <a:gd name="connsiteY23" fmla="*/ 113157 h 167544"/>
                <a:gd name="connsiteX24" fmla="*/ 8001 w 209645"/>
                <a:gd name="connsiteY24" fmla="*/ 103918 h 167544"/>
                <a:gd name="connsiteX25" fmla="*/ 18859 w 209645"/>
                <a:gd name="connsiteY25" fmla="*/ 113919 h 167544"/>
                <a:gd name="connsiteX26" fmla="*/ 30194 w 209645"/>
                <a:gd name="connsiteY26" fmla="*/ 111919 h 167544"/>
                <a:gd name="connsiteX27" fmla="*/ 50197 w 209645"/>
                <a:gd name="connsiteY27" fmla="*/ 100965 h 167544"/>
                <a:gd name="connsiteX28" fmla="*/ 46387 w 209645"/>
                <a:gd name="connsiteY28" fmla="*/ 86011 h 167544"/>
                <a:gd name="connsiteX29" fmla="*/ 52864 w 209645"/>
                <a:gd name="connsiteY29" fmla="*/ 74009 h 167544"/>
                <a:gd name="connsiteX30" fmla="*/ 58293 w 209645"/>
                <a:gd name="connsiteY30" fmla="*/ 60008 h 167544"/>
                <a:gd name="connsiteX31" fmla="*/ 64770 w 209645"/>
                <a:gd name="connsiteY31" fmla="*/ 55054 h 167544"/>
                <a:gd name="connsiteX32" fmla="*/ 68008 w 209645"/>
                <a:gd name="connsiteY32" fmla="*/ 38100 h 167544"/>
                <a:gd name="connsiteX33" fmla="*/ 75057 w 209645"/>
                <a:gd name="connsiteY33" fmla="*/ 26098 h 167544"/>
                <a:gd name="connsiteX34" fmla="*/ 90202 w 209645"/>
                <a:gd name="connsiteY34" fmla="*/ 21050 h 167544"/>
                <a:gd name="connsiteX35" fmla="*/ 98869 w 209645"/>
                <a:gd name="connsiteY35" fmla="*/ 14097 h 167544"/>
                <a:gd name="connsiteX36" fmla="*/ 105156 w 209645"/>
                <a:gd name="connsiteY36" fmla="*/ 0 h 167544"/>
                <a:gd name="connsiteX37" fmla="*/ 118396 w 209645"/>
                <a:gd name="connsiteY37" fmla="*/ 7429 h 167544"/>
                <a:gd name="connsiteX38" fmla="*/ 131254 w 209645"/>
                <a:gd name="connsiteY38" fmla="*/ 24289 h 167544"/>
                <a:gd name="connsiteX39" fmla="*/ 133445 w 209645"/>
                <a:gd name="connsiteY39" fmla="*/ 29527 h 167544"/>
                <a:gd name="connsiteX40" fmla="*/ 134398 w 209645"/>
                <a:gd name="connsiteY40" fmla="*/ 34671 h 167544"/>
                <a:gd name="connsiteX41" fmla="*/ 135445 w 209645"/>
                <a:gd name="connsiteY41" fmla="*/ 43244 h 167544"/>
                <a:gd name="connsiteX42" fmla="*/ 137541 w 209645"/>
                <a:gd name="connsiteY42" fmla="*/ 53054 h 167544"/>
                <a:gd name="connsiteX43" fmla="*/ 137731 w 209645"/>
                <a:gd name="connsiteY43" fmla="*/ 56102 h 167544"/>
                <a:gd name="connsiteX44" fmla="*/ 139065 w 209645"/>
                <a:gd name="connsiteY44" fmla="*/ 67627 h 167544"/>
                <a:gd name="connsiteX45" fmla="*/ 154210 w 209645"/>
                <a:gd name="connsiteY45" fmla="*/ 71533 h 167544"/>
                <a:gd name="connsiteX46" fmla="*/ 170116 w 209645"/>
                <a:gd name="connsiteY46" fmla="*/ 74962 h 167544"/>
                <a:gd name="connsiteX47" fmla="*/ 187738 w 209645"/>
                <a:gd name="connsiteY47" fmla="*/ 78296 h 167544"/>
                <a:gd name="connsiteX48" fmla="*/ 197453 w 209645"/>
                <a:gd name="connsiteY48" fmla="*/ 92869 h 167544"/>
                <a:gd name="connsiteX49" fmla="*/ 209645 w 209645"/>
                <a:gd name="connsiteY49" fmla="*/ 108585 h 167544"/>
                <a:gd name="connsiteX50" fmla="*/ 195643 w 209645"/>
                <a:gd name="connsiteY50" fmla="*/ 119825 h 167544"/>
                <a:gd name="connsiteX51" fmla="*/ 202311 w 209645"/>
                <a:gd name="connsiteY51" fmla="*/ 133255 h 167544"/>
                <a:gd name="connsiteX52" fmla="*/ 209645 w 209645"/>
                <a:gd name="connsiteY52" fmla="*/ 146685 h 167544"/>
                <a:gd name="connsiteX53" fmla="*/ 209074 w 209645"/>
                <a:gd name="connsiteY53" fmla="*/ 157925 h 167544"/>
                <a:gd name="connsiteX54" fmla="*/ 201359 w 209645"/>
                <a:gd name="connsiteY54" fmla="*/ 164592 h 167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09645" h="167544">
                  <a:moveTo>
                    <a:pt x="201359" y="164497"/>
                  </a:moveTo>
                  <a:lnTo>
                    <a:pt x="192976" y="155734"/>
                  </a:lnTo>
                  <a:lnTo>
                    <a:pt x="183166" y="149828"/>
                  </a:lnTo>
                  <a:lnTo>
                    <a:pt x="179832" y="145352"/>
                  </a:lnTo>
                  <a:lnTo>
                    <a:pt x="168497" y="139446"/>
                  </a:lnTo>
                  <a:lnTo>
                    <a:pt x="165640" y="138970"/>
                  </a:lnTo>
                  <a:lnTo>
                    <a:pt x="162687" y="136017"/>
                  </a:lnTo>
                  <a:lnTo>
                    <a:pt x="159639" y="129731"/>
                  </a:lnTo>
                  <a:lnTo>
                    <a:pt x="148114" y="121444"/>
                  </a:lnTo>
                  <a:lnTo>
                    <a:pt x="139827" y="113443"/>
                  </a:lnTo>
                  <a:lnTo>
                    <a:pt x="137731" y="99631"/>
                  </a:lnTo>
                  <a:lnTo>
                    <a:pt x="118872" y="98965"/>
                  </a:lnTo>
                  <a:lnTo>
                    <a:pt x="104775" y="94012"/>
                  </a:lnTo>
                  <a:lnTo>
                    <a:pt x="96679" y="82010"/>
                  </a:lnTo>
                  <a:lnTo>
                    <a:pt x="91821" y="90011"/>
                  </a:lnTo>
                  <a:lnTo>
                    <a:pt x="100489" y="116872"/>
                  </a:lnTo>
                  <a:lnTo>
                    <a:pt x="97250" y="129826"/>
                  </a:lnTo>
                  <a:lnTo>
                    <a:pt x="101060" y="148685"/>
                  </a:lnTo>
                  <a:lnTo>
                    <a:pt x="83725" y="167545"/>
                  </a:lnTo>
                  <a:lnTo>
                    <a:pt x="73057" y="164306"/>
                  </a:lnTo>
                  <a:lnTo>
                    <a:pt x="56388" y="157925"/>
                  </a:lnTo>
                  <a:lnTo>
                    <a:pt x="37624" y="164306"/>
                  </a:lnTo>
                  <a:lnTo>
                    <a:pt x="15335" y="147733"/>
                  </a:lnTo>
                  <a:lnTo>
                    <a:pt x="0" y="113157"/>
                  </a:lnTo>
                  <a:lnTo>
                    <a:pt x="8001" y="103918"/>
                  </a:lnTo>
                  <a:lnTo>
                    <a:pt x="18859" y="113919"/>
                  </a:lnTo>
                  <a:lnTo>
                    <a:pt x="30194" y="111919"/>
                  </a:lnTo>
                  <a:lnTo>
                    <a:pt x="50197" y="100965"/>
                  </a:lnTo>
                  <a:lnTo>
                    <a:pt x="46387" y="86011"/>
                  </a:lnTo>
                  <a:lnTo>
                    <a:pt x="52864" y="74009"/>
                  </a:lnTo>
                  <a:lnTo>
                    <a:pt x="58293" y="60008"/>
                  </a:lnTo>
                  <a:lnTo>
                    <a:pt x="64770" y="55054"/>
                  </a:lnTo>
                  <a:lnTo>
                    <a:pt x="68008" y="38100"/>
                  </a:lnTo>
                  <a:lnTo>
                    <a:pt x="75057" y="26098"/>
                  </a:lnTo>
                  <a:lnTo>
                    <a:pt x="90202" y="21050"/>
                  </a:lnTo>
                  <a:lnTo>
                    <a:pt x="98869" y="14097"/>
                  </a:lnTo>
                  <a:lnTo>
                    <a:pt x="105156" y="0"/>
                  </a:lnTo>
                  <a:lnTo>
                    <a:pt x="118396" y="7429"/>
                  </a:lnTo>
                  <a:lnTo>
                    <a:pt x="131254" y="24289"/>
                  </a:lnTo>
                  <a:lnTo>
                    <a:pt x="133445" y="29527"/>
                  </a:lnTo>
                  <a:lnTo>
                    <a:pt x="134398" y="34671"/>
                  </a:lnTo>
                  <a:lnTo>
                    <a:pt x="135445" y="43244"/>
                  </a:lnTo>
                  <a:lnTo>
                    <a:pt x="137541" y="53054"/>
                  </a:lnTo>
                  <a:lnTo>
                    <a:pt x="137731" y="56102"/>
                  </a:lnTo>
                  <a:lnTo>
                    <a:pt x="139065" y="67627"/>
                  </a:lnTo>
                  <a:lnTo>
                    <a:pt x="154210" y="71533"/>
                  </a:lnTo>
                  <a:lnTo>
                    <a:pt x="170116" y="74962"/>
                  </a:lnTo>
                  <a:lnTo>
                    <a:pt x="187738" y="78296"/>
                  </a:lnTo>
                  <a:lnTo>
                    <a:pt x="197453" y="92869"/>
                  </a:lnTo>
                  <a:lnTo>
                    <a:pt x="209645" y="108585"/>
                  </a:lnTo>
                  <a:lnTo>
                    <a:pt x="195643" y="119825"/>
                  </a:lnTo>
                  <a:lnTo>
                    <a:pt x="202311" y="133255"/>
                  </a:lnTo>
                  <a:lnTo>
                    <a:pt x="209645" y="146685"/>
                  </a:lnTo>
                  <a:lnTo>
                    <a:pt x="209074" y="157925"/>
                  </a:lnTo>
                  <a:lnTo>
                    <a:pt x="201359" y="164592"/>
                  </a:lnTo>
                </a:path>
              </a:pathLst>
            </a:custGeom>
            <a:grpFill/>
            <a:ln w="2381" cap="sq">
              <a:noFill/>
              <a:prstDash val="solid"/>
              <a:bevel/>
            </a:ln>
          </p:spPr>
          <p:txBody>
            <a:bodyPr rtlCol="0" anchor="ctr"/>
            <a:lstStyle/>
            <a:p>
              <a:endParaRPr lang="cs-CZ"/>
            </a:p>
          </p:txBody>
        </p:sp>
        <p:sp>
          <p:nvSpPr>
            <p:cNvPr id="247" name="Freeform: Shape 246">
              <a:extLst>
                <a:ext uri="{FF2B5EF4-FFF2-40B4-BE49-F238E27FC236}">
                  <a16:creationId xmlns:a16="http://schemas.microsoft.com/office/drawing/2014/main" id="{D4AF34F5-CE58-E16D-B972-5E774E732EE5}"/>
                </a:ext>
              </a:extLst>
            </p:cNvPr>
            <p:cNvSpPr/>
            <p:nvPr/>
          </p:nvSpPr>
          <p:spPr>
            <a:xfrm>
              <a:off x="13437201" y="7911589"/>
              <a:ext cx="469296" cy="365759"/>
            </a:xfrm>
            <a:custGeom>
              <a:avLst/>
              <a:gdLst>
                <a:gd name="connsiteX0" fmla="*/ 468916 w 469296"/>
                <a:gd name="connsiteY0" fmla="*/ 181356 h 365759"/>
                <a:gd name="connsiteX1" fmla="*/ 465296 w 469296"/>
                <a:gd name="connsiteY1" fmla="*/ 185928 h 365759"/>
                <a:gd name="connsiteX2" fmla="*/ 459200 w 469296"/>
                <a:gd name="connsiteY2" fmla="*/ 192405 h 365759"/>
                <a:gd name="connsiteX3" fmla="*/ 451009 w 469296"/>
                <a:gd name="connsiteY3" fmla="*/ 201740 h 365759"/>
                <a:gd name="connsiteX4" fmla="*/ 402526 w 469296"/>
                <a:gd name="connsiteY4" fmla="*/ 280321 h 365759"/>
                <a:gd name="connsiteX5" fmla="*/ 398526 w 469296"/>
                <a:gd name="connsiteY5" fmla="*/ 298990 h 365759"/>
                <a:gd name="connsiteX6" fmla="*/ 387382 w 469296"/>
                <a:gd name="connsiteY6" fmla="*/ 288036 h 365759"/>
                <a:gd name="connsiteX7" fmla="*/ 374618 w 469296"/>
                <a:gd name="connsiteY7" fmla="*/ 280225 h 365759"/>
                <a:gd name="connsiteX8" fmla="*/ 373380 w 469296"/>
                <a:gd name="connsiteY8" fmla="*/ 269081 h 365759"/>
                <a:gd name="connsiteX9" fmla="*/ 363664 w 469296"/>
                <a:gd name="connsiteY9" fmla="*/ 270224 h 365759"/>
                <a:gd name="connsiteX10" fmla="*/ 350234 w 469296"/>
                <a:gd name="connsiteY10" fmla="*/ 273558 h 365759"/>
                <a:gd name="connsiteX11" fmla="*/ 341757 w 469296"/>
                <a:gd name="connsiteY11" fmla="*/ 282416 h 365759"/>
                <a:gd name="connsiteX12" fmla="*/ 334423 w 469296"/>
                <a:gd name="connsiteY12" fmla="*/ 292417 h 365759"/>
                <a:gd name="connsiteX13" fmla="*/ 322231 w 469296"/>
                <a:gd name="connsiteY13" fmla="*/ 291274 h 365759"/>
                <a:gd name="connsiteX14" fmla="*/ 306324 w 469296"/>
                <a:gd name="connsiteY14" fmla="*/ 301276 h 365759"/>
                <a:gd name="connsiteX15" fmla="*/ 248984 w 469296"/>
                <a:gd name="connsiteY15" fmla="*/ 301276 h 365759"/>
                <a:gd name="connsiteX16" fmla="*/ 243935 w 469296"/>
                <a:gd name="connsiteY16" fmla="*/ 330898 h 365759"/>
                <a:gd name="connsiteX17" fmla="*/ 234315 w 469296"/>
                <a:gd name="connsiteY17" fmla="*/ 349282 h 365759"/>
                <a:gd name="connsiteX18" fmla="*/ 231172 w 469296"/>
                <a:gd name="connsiteY18" fmla="*/ 353663 h 365759"/>
                <a:gd name="connsiteX19" fmla="*/ 211169 w 469296"/>
                <a:gd name="connsiteY19" fmla="*/ 365760 h 365759"/>
                <a:gd name="connsiteX20" fmla="*/ 208407 w 469296"/>
                <a:gd name="connsiteY20" fmla="*/ 352234 h 365759"/>
                <a:gd name="connsiteX21" fmla="*/ 207264 w 469296"/>
                <a:gd name="connsiteY21" fmla="*/ 348615 h 365759"/>
                <a:gd name="connsiteX22" fmla="*/ 199739 w 469296"/>
                <a:gd name="connsiteY22" fmla="*/ 344615 h 365759"/>
                <a:gd name="connsiteX23" fmla="*/ 185166 w 469296"/>
                <a:gd name="connsiteY23" fmla="*/ 349377 h 365759"/>
                <a:gd name="connsiteX24" fmla="*/ 174879 w 469296"/>
                <a:gd name="connsiteY24" fmla="*/ 337185 h 365759"/>
                <a:gd name="connsiteX25" fmla="*/ 177451 w 469296"/>
                <a:gd name="connsiteY25" fmla="*/ 331470 h 365759"/>
                <a:gd name="connsiteX26" fmla="*/ 172117 w 469296"/>
                <a:gd name="connsiteY26" fmla="*/ 326422 h 365759"/>
                <a:gd name="connsiteX27" fmla="*/ 163925 w 469296"/>
                <a:gd name="connsiteY27" fmla="*/ 324517 h 365759"/>
                <a:gd name="connsiteX28" fmla="*/ 158687 w 469296"/>
                <a:gd name="connsiteY28" fmla="*/ 320897 h 365759"/>
                <a:gd name="connsiteX29" fmla="*/ 148780 w 469296"/>
                <a:gd name="connsiteY29" fmla="*/ 318230 h 365759"/>
                <a:gd name="connsiteX30" fmla="*/ 133636 w 469296"/>
                <a:gd name="connsiteY30" fmla="*/ 325374 h 365759"/>
                <a:gd name="connsiteX31" fmla="*/ 120396 w 469296"/>
                <a:gd name="connsiteY31" fmla="*/ 335185 h 365759"/>
                <a:gd name="connsiteX32" fmla="*/ 113347 w 469296"/>
                <a:gd name="connsiteY32" fmla="*/ 337661 h 365759"/>
                <a:gd name="connsiteX33" fmla="*/ 106680 w 469296"/>
                <a:gd name="connsiteY33" fmla="*/ 335661 h 365759"/>
                <a:gd name="connsiteX34" fmla="*/ 98584 w 469296"/>
                <a:gd name="connsiteY34" fmla="*/ 328327 h 365759"/>
                <a:gd name="connsiteX35" fmla="*/ 91345 w 469296"/>
                <a:gd name="connsiteY35" fmla="*/ 309943 h 365759"/>
                <a:gd name="connsiteX36" fmla="*/ 71247 w 469296"/>
                <a:gd name="connsiteY36" fmla="*/ 329660 h 365759"/>
                <a:gd name="connsiteX37" fmla="*/ 70390 w 469296"/>
                <a:gd name="connsiteY37" fmla="*/ 321183 h 365759"/>
                <a:gd name="connsiteX38" fmla="*/ 68580 w 469296"/>
                <a:gd name="connsiteY38" fmla="*/ 318040 h 365759"/>
                <a:gd name="connsiteX39" fmla="*/ 65151 w 469296"/>
                <a:gd name="connsiteY39" fmla="*/ 314611 h 365759"/>
                <a:gd name="connsiteX40" fmla="*/ 64198 w 469296"/>
                <a:gd name="connsiteY40" fmla="*/ 310515 h 365759"/>
                <a:gd name="connsiteX41" fmla="*/ 64865 w 469296"/>
                <a:gd name="connsiteY41" fmla="*/ 307657 h 365759"/>
                <a:gd name="connsiteX42" fmla="*/ 69247 w 469296"/>
                <a:gd name="connsiteY42" fmla="*/ 305848 h 365759"/>
                <a:gd name="connsiteX43" fmla="*/ 71723 w 469296"/>
                <a:gd name="connsiteY43" fmla="*/ 302705 h 365759"/>
                <a:gd name="connsiteX44" fmla="*/ 72676 w 469296"/>
                <a:gd name="connsiteY44" fmla="*/ 298704 h 365759"/>
                <a:gd name="connsiteX45" fmla="*/ 61436 w 469296"/>
                <a:gd name="connsiteY45" fmla="*/ 287560 h 365759"/>
                <a:gd name="connsiteX46" fmla="*/ 33242 w 469296"/>
                <a:gd name="connsiteY46" fmla="*/ 276892 h 365759"/>
                <a:gd name="connsiteX47" fmla="*/ 29813 w 469296"/>
                <a:gd name="connsiteY47" fmla="*/ 256699 h 365759"/>
                <a:gd name="connsiteX48" fmla="*/ 30385 w 469296"/>
                <a:gd name="connsiteY48" fmla="*/ 250603 h 365759"/>
                <a:gd name="connsiteX49" fmla="*/ 34385 w 469296"/>
                <a:gd name="connsiteY49" fmla="*/ 245459 h 365759"/>
                <a:gd name="connsiteX50" fmla="*/ 36957 w 469296"/>
                <a:gd name="connsiteY50" fmla="*/ 239840 h 365759"/>
                <a:gd name="connsiteX51" fmla="*/ 39719 w 469296"/>
                <a:gd name="connsiteY51" fmla="*/ 235648 h 365759"/>
                <a:gd name="connsiteX52" fmla="*/ 36576 w 469296"/>
                <a:gd name="connsiteY52" fmla="*/ 222218 h 365759"/>
                <a:gd name="connsiteX53" fmla="*/ 30766 w 469296"/>
                <a:gd name="connsiteY53" fmla="*/ 213931 h 365759"/>
                <a:gd name="connsiteX54" fmla="*/ 24670 w 469296"/>
                <a:gd name="connsiteY54" fmla="*/ 213360 h 365759"/>
                <a:gd name="connsiteX55" fmla="*/ 22479 w 469296"/>
                <a:gd name="connsiteY55" fmla="*/ 211265 h 365759"/>
                <a:gd name="connsiteX56" fmla="*/ 18955 w 469296"/>
                <a:gd name="connsiteY56" fmla="*/ 206216 h 365759"/>
                <a:gd name="connsiteX57" fmla="*/ 14573 w 469296"/>
                <a:gd name="connsiteY57" fmla="*/ 201359 h 365759"/>
                <a:gd name="connsiteX58" fmla="*/ 6667 w 469296"/>
                <a:gd name="connsiteY58" fmla="*/ 194596 h 365759"/>
                <a:gd name="connsiteX59" fmla="*/ 3619 w 469296"/>
                <a:gd name="connsiteY59" fmla="*/ 178022 h 365759"/>
                <a:gd name="connsiteX60" fmla="*/ 0 w 469296"/>
                <a:gd name="connsiteY60" fmla="*/ 166878 h 365759"/>
                <a:gd name="connsiteX61" fmla="*/ 7906 w 469296"/>
                <a:gd name="connsiteY61" fmla="*/ 157924 h 365759"/>
                <a:gd name="connsiteX62" fmla="*/ 10382 w 469296"/>
                <a:gd name="connsiteY62" fmla="*/ 150114 h 365759"/>
                <a:gd name="connsiteX63" fmla="*/ 23146 w 469296"/>
                <a:gd name="connsiteY63" fmla="*/ 146780 h 365759"/>
                <a:gd name="connsiteX64" fmla="*/ 34100 w 469296"/>
                <a:gd name="connsiteY64" fmla="*/ 143446 h 365759"/>
                <a:gd name="connsiteX65" fmla="*/ 43243 w 469296"/>
                <a:gd name="connsiteY65" fmla="*/ 138970 h 365759"/>
                <a:gd name="connsiteX66" fmla="*/ 55435 w 469296"/>
                <a:gd name="connsiteY66" fmla="*/ 143446 h 365759"/>
                <a:gd name="connsiteX67" fmla="*/ 65151 w 469296"/>
                <a:gd name="connsiteY67" fmla="*/ 138970 h 365759"/>
                <a:gd name="connsiteX68" fmla="*/ 77343 w 469296"/>
                <a:gd name="connsiteY68" fmla="*/ 138970 h 365759"/>
                <a:gd name="connsiteX69" fmla="*/ 79819 w 469296"/>
                <a:gd name="connsiteY69" fmla="*/ 125540 h 365759"/>
                <a:gd name="connsiteX70" fmla="*/ 76200 w 469296"/>
                <a:gd name="connsiteY70" fmla="*/ 119920 h 365759"/>
                <a:gd name="connsiteX71" fmla="*/ 67056 w 469296"/>
                <a:gd name="connsiteY71" fmla="*/ 112109 h 365759"/>
                <a:gd name="connsiteX72" fmla="*/ 53816 w 469296"/>
                <a:gd name="connsiteY72" fmla="*/ 97536 h 365759"/>
                <a:gd name="connsiteX73" fmla="*/ 66104 w 469296"/>
                <a:gd name="connsiteY73" fmla="*/ 89630 h 365759"/>
                <a:gd name="connsiteX74" fmla="*/ 67246 w 469296"/>
                <a:gd name="connsiteY74" fmla="*/ 84868 h 365759"/>
                <a:gd name="connsiteX75" fmla="*/ 68294 w 469296"/>
                <a:gd name="connsiteY75" fmla="*/ 76962 h 365759"/>
                <a:gd name="connsiteX76" fmla="*/ 66866 w 469296"/>
                <a:gd name="connsiteY76" fmla="*/ 71818 h 365759"/>
                <a:gd name="connsiteX77" fmla="*/ 63437 w 469296"/>
                <a:gd name="connsiteY77" fmla="*/ 67056 h 365759"/>
                <a:gd name="connsiteX78" fmla="*/ 60769 w 469296"/>
                <a:gd name="connsiteY78" fmla="*/ 61913 h 365759"/>
                <a:gd name="connsiteX79" fmla="*/ 57341 w 469296"/>
                <a:gd name="connsiteY79" fmla="*/ 53149 h 365759"/>
                <a:gd name="connsiteX80" fmla="*/ 57721 w 469296"/>
                <a:gd name="connsiteY80" fmla="*/ 45053 h 365759"/>
                <a:gd name="connsiteX81" fmla="*/ 58864 w 469296"/>
                <a:gd name="connsiteY81" fmla="*/ 36004 h 365759"/>
                <a:gd name="connsiteX82" fmla="*/ 61436 w 469296"/>
                <a:gd name="connsiteY82" fmla="*/ 27908 h 365759"/>
                <a:gd name="connsiteX83" fmla="*/ 62008 w 469296"/>
                <a:gd name="connsiteY83" fmla="*/ 21717 h 365759"/>
                <a:gd name="connsiteX84" fmla="*/ 68008 w 469296"/>
                <a:gd name="connsiteY84" fmla="*/ 2095 h 365759"/>
                <a:gd name="connsiteX85" fmla="*/ 78391 w 469296"/>
                <a:gd name="connsiteY85" fmla="*/ 0 h 365759"/>
                <a:gd name="connsiteX86" fmla="*/ 106775 w 469296"/>
                <a:gd name="connsiteY86" fmla="*/ 14954 h 365759"/>
                <a:gd name="connsiteX87" fmla="*/ 112967 w 469296"/>
                <a:gd name="connsiteY87" fmla="*/ 16859 h 365759"/>
                <a:gd name="connsiteX88" fmla="*/ 116967 w 469296"/>
                <a:gd name="connsiteY88" fmla="*/ 16859 h 365759"/>
                <a:gd name="connsiteX89" fmla="*/ 118586 w 469296"/>
                <a:gd name="connsiteY89" fmla="*/ 14383 h 365759"/>
                <a:gd name="connsiteX90" fmla="*/ 119920 w 469296"/>
                <a:gd name="connsiteY90" fmla="*/ 11430 h 365759"/>
                <a:gd name="connsiteX91" fmla="*/ 123349 w 469296"/>
                <a:gd name="connsiteY91" fmla="*/ 8382 h 365759"/>
                <a:gd name="connsiteX92" fmla="*/ 128016 w 469296"/>
                <a:gd name="connsiteY92" fmla="*/ 8763 h 365759"/>
                <a:gd name="connsiteX93" fmla="*/ 132874 w 469296"/>
                <a:gd name="connsiteY93" fmla="*/ 10287 h 365759"/>
                <a:gd name="connsiteX94" fmla="*/ 143446 w 469296"/>
                <a:gd name="connsiteY94" fmla="*/ 16002 h 365759"/>
                <a:gd name="connsiteX95" fmla="*/ 169354 w 469296"/>
                <a:gd name="connsiteY95" fmla="*/ 12763 h 365759"/>
                <a:gd name="connsiteX96" fmla="*/ 170688 w 469296"/>
                <a:gd name="connsiteY96" fmla="*/ 30290 h 365759"/>
                <a:gd name="connsiteX97" fmla="*/ 166402 w 469296"/>
                <a:gd name="connsiteY97" fmla="*/ 47149 h 365759"/>
                <a:gd name="connsiteX98" fmla="*/ 166973 w 469296"/>
                <a:gd name="connsiteY98" fmla="*/ 67342 h 365759"/>
                <a:gd name="connsiteX99" fmla="*/ 170593 w 469296"/>
                <a:gd name="connsiteY99" fmla="*/ 82963 h 365759"/>
                <a:gd name="connsiteX100" fmla="*/ 165068 w 469296"/>
                <a:gd name="connsiteY100" fmla="*/ 96393 h 365759"/>
                <a:gd name="connsiteX101" fmla="*/ 164497 w 469296"/>
                <a:gd name="connsiteY101" fmla="*/ 105346 h 365759"/>
                <a:gd name="connsiteX102" fmla="*/ 168783 w 469296"/>
                <a:gd name="connsiteY102" fmla="*/ 105346 h 365759"/>
                <a:gd name="connsiteX103" fmla="*/ 176117 w 469296"/>
                <a:gd name="connsiteY103" fmla="*/ 106490 h 365759"/>
                <a:gd name="connsiteX104" fmla="*/ 184594 w 469296"/>
                <a:gd name="connsiteY104" fmla="*/ 123253 h 365759"/>
                <a:gd name="connsiteX105" fmla="*/ 192500 w 469296"/>
                <a:gd name="connsiteY105" fmla="*/ 122111 h 365759"/>
                <a:gd name="connsiteX106" fmla="*/ 202216 w 469296"/>
                <a:gd name="connsiteY106" fmla="*/ 120967 h 365759"/>
                <a:gd name="connsiteX107" fmla="*/ 209550 w 469296"/>
                <a:gd name="connsiteY107" fmla="*/ 114205 h 365759"/>
                <a:gd name="connsiteX108" fmla="*/ 224790 w 469296"/>
                <a:gd name="connsiteY108" fmla="*/ 120967 h 365759"/>
                <a:gd name="connsiteX109" fmla="*/ 237554 w 469296"/>
                <a:gd name="connsiteY109" fmla="*/ 120967 h 365759"/>
                <a:gd name="connsiteX110" fmla="*/ 235077 w 469296"/>
                <a:gd name="connsiteY110" fmla="*/ 108680 h 365759"/>
                <a:gd name="connsiteX111" fmla="*/ 243650 w 469296"/>
                <a:gd name="connsiteY111" fmla="*/ 103061 h 365759"/>
                <a:gd name="connsiteX112" fmla="*/ 250984 w 469296"/>
                <a:gd name="connsiteY112" fmla="*/ 92964 h 365759"/>
                <a:gd name="connsiteX113" fmla="*/ 255842 w 469296"/>
                <a:gd name="connsiteY113" fmla="*/ 79534 h 365759"/>
                <a:gd name="connsiteX114" fmla="*/ 247364 w 469296"/>
                <a:gd name="connsiteY114" fmla="*/ 68390 h 365759"/>
                <a:gd name="connsiteX115" fmla="*/ 244316 w 469296"/>
                <a:gd name="connsiteY115" fmla="*/ 49340 h 365759"/>
                <a:gd name="connsiteX116" fmla="*/ 241744 w 469296"/>
                <a:gd name="connsiteY116" fmla="*/ 40005 h 365759"/>
                <a:gd name="connsiteX117" fmla="*/ 277844 w 469296"/>
                <a:gd name="connsiteY117" fmla="*/ 28099 h 365759"/>
                <a:gd name="connsiteX118" fmla="*/ 291560 w 469296"/>
                <a:gd name="connsiteY118" fmla="*/ 32004 h 365759"/>
                <a:gd name="connsiteX119" fmla="*/ 297561 w 469296"/>
                <a:gd name="connsiteY119" fmla="*/ 40386 h 365759"/>
                <a:gd name="connsiteX120" fmla="*/ 305467 w 469296"/>
                <a:gd name="connsiteY120" fmla="*/ 53816 h 365759"/>
                <a:gd name="connsiteX121" fmla="*/ 309848 w 469296"/>
                <a:gd name="connsiteY121" fmla="*/ 65246 h 365759"/>
                <a:gd name="connsiteX122" fmla="*/ 315849 w 469296"/>
                <a:gd name="connsiteY122" fmla="*/ 86963 h 365759"/>
                <a:gd name="connsiteX123" fmla="*/ 319183 w 469296"/>
                <a:gd name="connsiteY123" fmla="*/ 108775 h 365759"/>
                <a:gd name="connsiteX124" fmla="*/ 282130 w 469296"/>
                <a:gd name="connsiteY124" fmla="*/ 175641 h 365759"/>
                <a:gd name="connsiteX125" fmla="*/ 294322 w 469296"/>
                <a:gd name="connsiteY125" fmla="*/ 191262 h 365759"/>
                <a:gd name="connsiteX126" fmla="*/ 299180 w 469296"/>
                <a:gd name="connsiteY126" fmla="*/ 196786 h 365759"/>
                <a:gd name="connsiteX127" fmla="*/ 297371 w 469296"/>
                <a:gd name="connsiteY127" fmla="*/ 205740 h 365759"/>
                <a:gd name="connsiteX128" fmla="*/ 306514 w 469296"/>
                <a:gd name="connsiteY128" fmla="*/ 213550 h 365759"/>
                <a:gd name="connsiteX129" fmla="*/ 316230 w 469296"/>
                <a:gd name="connsiteY129" fmla="*/ 208026 h 365759"/>
                <a:gd name="connsiteX130" fmla="*/ 322993 w 469296"/>
                <a:gd name="connsiteY130" fmla="*/ 211360 h 365759"/>
                <a:gd name="connsiteX131" fmla="*/ 335185 w 469296"/>
                <a:gd name="connsiteY131" fmla="*/ 201359 h 365759"/>
                <a:gd name="connsiteX132" fmla="*/ 339471 w 469296"/>
                <a:gd name="connsiteY132" fmla="*/ 191357 h 365759"/>
                <a:gd name="connsiteX133" fmla="*/ 360235 w 469296"/>
                <a:gd name="connsiteY133" fmla="*/ 166783 h 365759"/>
                <a:gd name="connsiteX134" fmla="*/ 362712 w 469296"/>
                <a:gd name="connsiteY134" fmla="*/ 154495 h 365759"/>
                <a:gd name="connsiteX135" fmla="*/ 375475 w 469296"/>
                <a:gd name="connsiteY135" fmla="*/ 141065 h 365759"/>
                <a:gd name="connsiteX136" fmla="*/ 381000 w 469296"/>
                <a:gd name="connsiteY136" fmla="*/ 150019 h 365759"/>
                <a:gd name="connsiteX137" fmla="*/ 409670 w 469296"/>
                <a:gd name="connsiteY137" fmla="*/ 146685 h 365759"/>
                <a:gd name="connsiteX138" fmla="*/ 424339 w 469296"/>
                <a:gd name="connsiteY138" fmla="*/ 143351 h 365759"/>
                <a:gd name="connsiteX139" fmla="*/ 433483 w 469296"/>
                <a:gd name="connsiteY139" fmla="*/ 143351 h 365759"/>
                <a:gd name="connsiteX140" fmla="*/ 442055 w 469296"/>
                <a:gd name="connsiteY140" fmla="*/ 153448 h 365759"/>
                <a:gd name="connsiteX141" fmla="*/ 442627 w 469296"/>
                <a:gd name="connsiteY141" fmla="*/ 162401 h 365759"/>
                <a:gd name="connsiteX142" fmla="*/ 452342 w 469296"/>
                <a:gd name="connsiteY142" fmla="*/ 162401 h 365759"/>
                <a:gd name="connsiteX143" fmla="*/ 461486 w 469296"/>
                <a:gd name="connsiteY143" fmla="*/ 168021 h 365759"/>
                <a:gd name="connsiteX144" fmla="*/ 469297 w 469296"/>
                <a:gd name="connsiteY144" fmla="*/ 181546 h 365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469296" h="365759">
                  <a:moveTo>
                    <a:pt x="468916" y="181356"/>
                  </a:moveTo>
                  <a:lnTo>
                    <a:pt x="465296" y="185928"/>
                  </a:lnTo>
                  <a:lnTo>
                    <a:pt x="459200" y="192405"/>
                  </a:lnTo>
                  <a:lnTo>
                    <a:pt x="451009" y="201740"/>
                  </a:lnTo>
                  <a:lnTo>
                    <a:pt x="402526" y="280321"/>
                  </a:lnTo>
                  <a:lnTo>
                    <a:pt x="398526" y="298990"/>
                  </a:lnTo>
                  <a:lnTo>
                    <a:pt x="387382" y="288036"/>
                  </a:lnTo>
                  <a:lnTo>
                    <a:pt x="374618" y="280225"/>
                  </a:lnTo>
                  <a:lnTo>
                    <a:pt x="373380" y="269081"/>
                  </a:lnTo>
                  <a:lnTo>
                    <a:pt x="363664" y="270224"/>
                  </a:lnTo>
                  <a:lnTo>
                    <a:pt x="350234" y="273558"/>
                  </a:lnTo>
                  <a:lnTo>
                    <a:pt x="341757" y="282416"/>
                  </a:lnTo>
                  <a:lnTo>
                    <a:pt x="334423" y="292417"/>
                  </a:lnTo>
                  <a:lnTo>
                    <a:pt x="322231" y="291274"/>
                  </a:lnTo>
                  <a:lnTo>
                    <a:pt x="306324" y="301276"/>
                  </a:lnTo>
                  <a:lnTo>
                    <a:pt x="248984" y="301276"/>
                  </a:lnTo>
                  <a:lnTo>
                    <a:pt x="243935" y="330898"/>
                  </a:lnTo>
                  <a:lnTo>
                    <a:pt x="234315" y="349282"/>
                  </a:lnTo>
                  <a:lnTo>
                    <a:pt x="231172" y="353663"/>
                  </a:lnTo>
                  <a:lnTo>
                    <a:pt x="211169" y="365760"/>
                  </a:lnTo>
                  <a:lnTo>
                    <a:pt x="208407" y="352234"/>
                  </a:lnTo>
                  <a:lnTo>
                    <a:pt x="207264" y="348615"/>
                  </a:lnTo>
                  <a:lnTo>
                    <a:pt x="199739" y="344615"/>
                  </a:lnTo>
                  <a:lnTo>
                    <a:pt x="185166" y="349377"/>
                  </a:lnTo>
                  <a:lnTo>
                    <a:pt x="174879" y="337185"/>
                  </a:lnTo>
                  <a:lnTo>
                    <a:pt x="177451" y="331470"/>
                  </a:lnTo>
                  <a:lnTo>
                    <a:pt x="172117" y="326422"/>
                  </a:lnTo>
                  <a:lnTo>
                    <a:pt x="163925" y="324517"/>
                  </a:lnTo>
                  <a:lnTo>
                    <a:pt x="158687" y="320897"/>
                  </a:lnTo>
                  <a:lnTo>
                    <a:pt x="148780" y="318230"/>
                  </a:lnTo>
                  <a:lnTo>
                    <a:pt x="133636" y="325374"/>
                  </a:lnTo>
                  <a:lnTo>
                    <a:pt x="120396" y="335185"/>
                  </a:lnTo>
                  <a:lnTo>
                    <a:pt x="113347" y="337661"/>
                  </a:lnTo>
                  <a:lnTo>
                    <a:pt x="106680" y="335661"/>
                  </a:lnTo>
                  <a:lnTo>
                    <a:pt x="98584" y="328327"/>
                  </a:lnTo>
                  <a:lnTo>
                    <a:pt x="91345" y="309943"/>
                  </a:lnTo>
                  <a:lnTo>
                    <a:pt x="71247" y="329660"/>
                  </a:lnTo>
                  <a:lnTo>
                    <a:pt x="70390" y="321183"/>
                  </a:lnTo>
                  <a:lnTo>
                    <a:pt x="68580" y="318040"/>
                  </a:lnTo>
                  <a:lnTo>
                    <a:pt x="65151" y="314611"/>
                  </a:lnTo>
                  <a:lnTo>
                    <a:pt x="64198" y="310515"/>
                  </a:lnTo>
                  <a:lnTo>
                    <a:pt x="64865" y="307657"/>
                  </a:lnTo>
                  <a:lnTo>
                    <a:pt x="69247" y="305848"/>
                  </a:lnTo>
                  <a:lnTo>
                    <a:pt x="71723" y="302705"/>
                  </a:lnTo>
                  <a:lnTo>
                    <a:pt x="72676" y="298704"/>
                  </a:lnTo>
                  <a:lnTo>
                    <a:pt x="61436" y="287560"/>
                  </a:lnTo>
                  <a:lnTo>
                    <a:pt x="33242" y="276892"/>
                  </a:lnTo>
                  <a:lnTo>
                    <a:pt x="29813" y="256699"/>
                  </a:lnTo>
                  <a:lnTo>
                    <a:pt x="30385" y="250603"/>
                  </a:lnTo>
                  <a:lnTo>
                    <a:pt x="34385" y="245459"/>
                  </a:lnTo>
                  <a:lnTo>
                    <a:pt x="36957" y="239840"/>
                  </a:lnTo>
                  <a:lnTo>
                    <a:pt x="39719" y="235648"/>
                  </a:lnTo>
                  <a:lnTo>
                    <a:pt x="36576" y="222218"/>
                  </a:lnTo>
                  <a:lnTo>
                    <a:pt x="30766" y="213931"/>
                  </a:lnTo>
                  <a:lnTo>
                    <a:pt x="24670" y="213360"/>
                  </a:lnTo>
                  <a:lnTo>
                    <a:pt x="22479" y="211265"/>
                  </a:lnTo>
                  <a:lnTo>
                    <a:pt x="18955" y="206216"/>
                  </a:lnTo>
                  <a:lnTo>
                    <a:pt x="14573" y="201359"/>
                  </a:lnTo>
                  <a:lnTo>
                    <a:pt x="6667" y="194596"/>
                  </a:lnTo>
                  <a:lnTo>
                    <a:pt x="3619" y="178022"/>
                  </a:lnTo>
                  <a:lnTo>
                    <a:pt x="0" y="166878"/>
                  </a:lnTo>
                  <a:lnTo>
                    <a:pt x="7906" y="157924"/>
                  </a:lnTo>
                  <a:lnTo>
                    <a:pt x="10382" y="150114"/>
                  </a:lnTo>
                  <a:lnTo>
                    <a:pt x="23146" y="146780"/>
                  </a:lnTo>
                  <a:lnTo>
                    <a:pt x="34100" y="143446"/>
                  </a:lnTo>
                  <a:lnTo>
                    <a:pt x="43243" y="138970"/>
                  </a:lnTo>
                  <a:lnTo>
                    <a:pt x="55435" y="143446"/>
                  </a:lnTo>
                  <a:lnTo>
                    <a:pt x="65151" y="138970"/>
                  </a:lnTo>
                  <a:lnTo>
                    <a:pt x="77343" y="138970"/>
                  </a:lnTo>
                  <a:lnTo>
                    <a:pt x="79819" y="125540"/>
                  </a:lnTo>
                  <a:lnTo>
                    <a:pt x="76200" y="119920"/>
                  </a:lnTo>
                  <a:lnTo>
                    <a:pt x="67056" y="112109"/>
                  </a:lnTo>
                  <a:lnTo>
                    <a:pt x="53816" y="97536"/>
                  </a:lnTo>
                  <a:lnTo>
                    <a:pt x="66104" y="89630"/>
                  </a:lnTo>
                  <a:lnTo>
                    <a:pt x="67246" y="84868"/>
                  </a:lnTo>
                  <a:lnTo>
                    <a:pt x="68294" y="76962"/>
                  </a:lnTo>
                  <a:lnTo>
                    <a:pt x="66866" y="71818"/>
                  </a:lnTo>
                  <a:lnTo>
                    <a:pt x="63437" y="67056"/>
                  </a:lnTo>
                  <a:lnTo>
                    <a:pt x="60769" y="61913"/>
                  </a:lnTo>
                  <a:lnTo>
                    <a:pt x="57341" y="53149"/>
                  </a:lnTo>
                  <a:lnTo>
                    <a:pt x="57721" y="45053"/>
                  </a:lnTo>
                  <a:lnTo>
                    <a:pt x="58864" y="36004"/>
                  </a:lnTo>
                  <a:lnTo>
                    <a:pt x="61436" y="27908"/>
                  </a:lnTo>
                  <a:lnTo>
                    <a:pt x="62008" y="21717"/>
                  </a:lnTo>
                  <a:lnTo>
                    <a:pt x="68008" y="2095"/>
                  </a:lnTo>
                  <a:lnTo>
                    <a:pt x="78391" y="0"/>
                  </a:lnTo>
                  <a:lnTo>
                    <a:pt x="106775" y="14954"/>
                  </a:lnTo>
                  <a:lnTo>
                    <a:pt x="112967" y="16859"/>
                  </a:lnTo>
                  <a:lnTo>
                    <a:pt x="116967" y="16859"/>
                  </a:lnTo>
                  <a:cubicBezTo>
                    <a:pt x="116967" y="16859"/>
                    <a:pt x="118586" y="14383"/>
                    <a:pt x="118586" y="14383"/>
                  </a:cubicBezTo>
                  <a:lnTo>
                    <a:pt x="119920" y="11430"/>
                  </a:lnTo>
                  <a:lnTo>
                    <a:pt x="123349" y="8382"/>
                  </a:lnTo>
                  <a:lnTo>
                    <a:pt x="128016" y="8763"/>
                  </a:lnTo>
                  <a:lnTo>
                    <a:pt x="132874" y="10287"/>
                  </a:lnTo>
                  <a:lnTo>
                    <a:pt x="143446" y="16002"/>
                  </a:lnTo>
                  <a:lnTo>
                    <a:pt x="169354" y="12763"/>
                  </a:lnTo>
                  <a:lnTo>
                    <a:pt x="170688" y="30290"/>
                  </a:lnTo>
                  <a:lnTo>
                    <a:pt x="166402" y="47149"/>
                  </a:lnTo>
                  <a:lnTo>
                    <a:pt x="166973" y="67342"/>
                  </a:lnTo>
                  <a:lnTo>
                    <a:pt x="170593" y="82963"/>
                  </a:lnTo>
                  <a:lnTo>
                    <a:pt x="165068" y="96393"/>
                  </a:lnTo>
                  <a:lnTo>
                    <a:pt x="164497" y="105346"/>
                  </a:lnTo>
                  <a:lnTo>
                    <a:pt x="168783" y="105346"/>
                  </a:lnTo>
                  <a:lnTo>
                    <a:pt x="176117" y="106490"/>
                  </a:lnTo>
                  <a:lnTo>
                    <a:pt x="184594" y="123253"/>
                  </a:lnTo>
                  <a:lnTo>
                    <a:pt x="192500" y="122111"/>
                  </a:lnTo>
                  <a:lnTo>
                    <a:pt x="202216" y="120967"/>
                  </a:lnTo>
                  <a:lnTo>
                    <a:pt x="209550" y="114205"/>
                  </a:lnTo>
                  <a:lnTo>
                    <a:pt x="224790" y="120967"/>
                  </a:lnTo>
                  <a:lnTo>
                    <a:pt x="237554" y="120967"/>
                  </a:lnTo>
                  <a:lnTo>
                    <a:pt x="235077" y="108680"/>
                  </a:lnTo>
                  <a:lnTo>
                    <a:pt x="243650" y="103061"/>
                  </a:lnTo>
                  <a:lnTo>
                    <a:pt x="250984" y="92964"/>
                  </a:lnTo>
                  <a:lnTo>
                    <a:pt x="255842" y="79534"/>
                  </a:lnTo>
                  <a:lnTo>
                    <a:pt x="247364" y="68390"/>
                  </a:lnTo>
                  <a:lnTo>
                    <a:pt x="244316" y="49340"/>
                  </a:lnTo>
                  <a:lnTo>
                    <a:pt x="241744" y="40005"/>
                  </a:lnTo>
                  <a:lnTo>
                    <a:pt x="277844" y="28099"/>
                  </a:lnTo>
                  <a:lnTo>
                    <a:pt x="291560" y="32004"/>
                  </a:lnTo>
                  <a:lnTo>
                    <a:pt x="297561" y="40386"/>
                  </a:lnTo>
                  <a:lnTo>
                    <a:pt x="305467" y="53816"/>
                  </a:lnTo>
                  <a:lnTo>
                    <a:pt x="309848" y="65246"/>
                  </a:lnTo>
                  <a:lnTo>
                    <a:pt x="315849" y="86963"/>
                  </a:lnTo>
                  <a:lnTo>
                    <a:pt x="319183" y="108775"/>
                  </a:lnTo>
                  <a:lnTo>
                    <a:pt x="282130" y="175641"/>
                  </a:lnTo>
                  <a:lnTo>
                    <a:pt x="294322" y="191262"/>
                  </a:lnTo>
                  <a:lnTo>
                    <a:pt x="299180" y="196786"/>
                  </a:lnTo>
                  <a:lnTo>
                    <a:pt x="297371" y="205740"/>
                  </a:lnTo>
                  <a:lnTo>
                    <a:pt x="306514" y="213550"/>
                  </a:lnTo>
                  <a:lnTo>
                    <a:pt x="316230" y="208026"/>
                  </a:lnTo>
                  <a:lnTo>
                    <a:pt x="322993" y="211360"/>
                  </a:lnTo>
                  <a:lnTo>
                    <a:pt x="335185" y="201359"/>
                  </a:lnTo>
                  <a:lnTo>
                    <a:pt x="339471" y="191357"/>
                  </a:lnTo>
                  <a:lnTo>
                    <a:pt x="360235" y="166783"/>
                  </a:lnTo>
                  <a:lnTo>
                    <a:pt x="362712" y="154495"/>
                  </a:lnTo>
                  <a:lnTo>
                    <a:pt x="375475" y="141065"/>
                  </a:lnTo>
                  <a:lnTo>
                    <a:pt x="381000" y="150019"/>
                  </a:lnTo>
                  <a:lnTo>
                    <a:pt x="409670" y="146685"/>
                  </a:lnTo>
                  <a:lnTo>
                    <a:pt x="424339" y="143351"/>
                  </a:lnTo>
                  <a:lnTo>
                    <a:pt x="433483" y="143351"/>
                  </a:lnTo>
                  <a:lnTo>
                    <a:pt x="442055" y="153448"/>
                  </a:lnTo>
                  <a:lnTo>
                    <a:pt x="442627" y="162401"/>
                  </a:lnTo>
                  <a:lnTo>
                    <a:pt x="452342" y="162401"/>
                  </a:lnTo>
                  <a:lnTo>
                    <a:pt x="461486" y="168021"/>
                  </a:lnTo>
                  <a:lnTo>
                    <a:pt x="469297" y="181546"/>
                  </a:lnTo>
                </a:path>
              </a:pathLst>
            </a:custGeom>
            <a:grpFill/>
            <a:ln w="2381" cap="sq">
              <a:noFill/>
              <a:prstDash val="solid"/>
              <a:bevel/>
            </a:ln>
          </p:spPr>
          <p:txBody>
            <a:bodyPr rtlCol="0" anchor="ctr"/>
            <a:lstStyle/>
            <a:p>
              <a:endParaRPr lang="cs-CZ"/>
            </a:p>
          </p:txBody>
        </p:sp>
        <p:sp>
          <p:nvSpPr>
            <p:cNvPr id="248" name="Freeform: Shape 247">
              <a:extLst>
                <a:ext uri="{FF2B5EF4-FFF2-40B4-BE49-F238E27FC236}">
                  <a16:creationId xmlns:a16="http://schemas.microsoft.com/office/drawing/2014/main" id="{7A527DA0-C6F1-935D-B88D-D9170760DD8A}"/>
                </a:ext>
              </a:extLst>
            </p:cNvPr>
            <p:cNvSpPr/>
            <p:nvPr/>
          </p:nvSpPr>
          <p:spPr>
            <a:xfrm>
              <a:off x="13718951" y="7988455"/>
              <a:ext cx="199548" cy="136588"/>
            </a:xfrm>
            <a:custGeom>
              <a:avLst/>
              <a:gdLst>
                <a:gd name="connsiteX0" fmla="*/ 199549 w 199548"/>
                <a:gd name="connsiteY0" fmla="*/ 82010 h 136588"/>
                <a:gd name="connsiteX1" fmla="*/ 198977 w 199548"/>
                <a:gd name="connsiteY1" fmla="*/ 87344 h 136588"/>
                <a:gd name="connsiteX2" fmla="*/ 197834 w 199548"/>
                <a:gd name="connsiteY2" fmla="*/ 91059 h 136588"/>
                <a:gd name="connsiteX3" fmla="*/ 187166 w 199548"/>
                <a:gd name="connsiteY3" fmla="*/ 104584 h 136588"/>
                <a:gd name="connsiteX4" fmla="*/ 179356 w 199548"/>
                <a:gd name="connsiteY4" fmla="*/ 91059 h 136588"/>
                <a:gd name="connsiteX5" fmla="*/ 170212 w 199548"/>
                <a:gd name="connsiteY5" fmla="*/ 85439 h 136588"/>
                <a:gd name="connsiteX6" fmla="*/ 160496 w 199548"/>
                <a:gd name="connsiteY6" fmla="*/ 85439 h 136588"/>
                <a:gd name="connsiteX7" fmla="*/ 159925 w 199548"/>
                <a:gd name="connsiteY7" fmla="*/ 76486 h 136588"/>
                <a:gd name="connsiteX8" fmla="*/ 151352 w 199548"/>
                <a:gd name="connsiteY8" fmla="*/ 66389 h 136588"/>
                <a:gd name="connsiteX9" fmla="*/ 142208 w 199548"/>
                <a:gd name="connsiteY9" fmla="*/ 66389 h 136588"/>
                <a:gd name="connsiteX10" fmla="*/ 127540 w 199548"/>
                <a:gd name="connsiteY10" fmla="*/ 69723 h 136588"/>
                <a:gd name="connsiteX11" fmla="*/ 98869 w 199548"/>
                <a:gd name="connsiteY11" fmla="*/ 73057 h 136588"/>
                <a:gd name="connsiteX12" fmla="*/ 93345 w 199548"/>
                <a:gd name="connsiteY12" fmla="*/ 64103 h 136588"/>
                <a:gd name="connsiteX13" fmla="*/ 80581 w 199548"/>
                <a:gd name="connsiteY13" fmla="*/ 77533 h 136588"/>
                <a:gd name="connsiteX14" fmla="*/ 78105 w 199548"/>
                <a:gd name="connsiteY14" fmla="*/ 89821 h 136588"/>
                <a:gd name="connsiteX15" fmla="*/ 57340 w 199548"/>
                <a:gd name="connsiteY15" fmla="*/ 114395 h 136588"/>
                <a:gd name="connsiteX16" fmla="*/ 53054 w 199548"/>
                <a:gd name="connsiteY16" fmla="*/ 124396 h 136588"/>
                <a:gd name="connsiteX17" fmla="*/ 40862 w 199548"/>
                <a:gd name="connsiteY17" fmla="*/ 134398 h 136588"/>
                <a:gd name="connsiteX18" fmla="*/ 34100 w 199548"/>
                <a:gd name="connsiteY18" fmla="*/ 131064 h 136588"/>
                <a:gd name="connsiteX19" fmla="*/ 24384 w 199548"/>
                <a:gd name="connsiteY19" fmla="*/ 136588 h 136588"/>
                <a:gd name="connsiteX20" fmla="*/ 15240 w 199548"/>
                <a:gd name="connsiteY20" fmla="*/ 128778 h 136588"/>
                <a:gd name="connsiteX21" fmla="*/ 17050 w 199548"/>
                <a:gd name="connsiteY21" fmla="*/ 119824 h 136588"/>
                <a:gd name="connsiteX22" fmla="*/ 12192 w 199548"/>
                <a:gd name="connsiteY22" fmla="*/ 114300 h 136588"/>
                <a:gd name="connsiteX23" fmla="*/ 0 w 199548"/>
                <a:gd name="connsiteY23" fmla="*/ 98679 h 136588"/>
                <a:gd name="connsiteX24" fmla="*/ 37052 w 199548"/>
                <a:gd name="connsiteY24" fmla="*/ 31813 h 136588"/>
                <a:gd name="connsiteX25" fmla="*/ 50863 w 199548"/>
                <a:gd name="connsiteY25" fmla="*/ 28099 h 136588"/>
                <a:gd name="connsiteX26" fmla="*/ 63151 w 199548"/>
                <a:gd name="connsiteY26" fmla="*/ 20002 h 136588"/>
                <a:gd name="connsiteX27" fmla="*/ 84868 w 199548"/>
                <a:gd name="connsiteY27" fmla="*/ 10573 h 136588"/>
                <a:gd name="connsiteX28" fmla="*/ 87344 w 199548"/>
                <a:gd name="connsiteY28" fmla="*/ 14002 h 136588"/>
                <a:gd name="connsiteX29" fmla="*/ 89821 w 199548"/>
                <a:gd name="connsiteY29" fmla="*/ 13430 h 136588"/>
                <a:gd name="connsiteX30" fmla="*/ 98488 w 199548"/>
                <a:gd name="connsiteY30" fmla="*/ 7429 h 136588"/>
                <a:gd name="connsiteX31" fmla="*/ 101917 w 199548"/>
                <a:gd name="connsiteY31" fmla="*/ 3429 h 136588"/>
                <a:gd name="connsiteX32" fmla="*/ 110776 w 199548"/>
                <a:gd name="connsiteY32" fmla="*/ 0 h 136588"/>
                <a:gd name="connsiteX33" fmla="*/ 120110 w 199548"/>
                <a:gd name="connsiteY33" fmla="*/ 286 h 136588"/>
                <a:gd name="connsiteX34" fmla="*/ 125635 w 199548"/>
                <a:gd name="connsiteY34" fmla="*/ 2762 h 136588"/>
                <a:gd name="connsiteX35" fmla="*/ 150685 w 199548"/>
                <a:gd name="connsiteY35" fmla="*/ 7144 h 136588"/>
                <a:gd name="connsiteX36" fmla="*/ 154496 w 199548"/>
                <a:gd name="connsiteY36" fmla="*/ 12001 h 136588"/>
                <a:gd name="connsiteX37" fmla="*/ 157734 w 199548"/>
                <a:gd name="connsiteY37" fmla="*/ 10477 h 136588"/>
                <a:gd name="connsiteX38" fmla="*/ 167259 w 199548"/>
                <a:gd name="connsiteY38" fmla="*/ 10763 h 136588"/>
                <a:gd name="connsiteX39" fmla="*/ 170879 w 199548"/>
                <a:gd name="connsiteY39" fmla="*/ 13716 h 136588"/>
                <a:gd name="connsiteX40" fmla="*/ 172974 w 199548"/>
                <a:gd name="connsiteY40" fmla="*/ 16954 h 136588"/>
                <a:gd name="connsiteX41" fmla="*/ 172021 w 199548"/>
                <a:gd name="connsiteY41" fmla="*/ 25146 h 136588"/>
                <a:gd name="connsiteX42" fmla="*/ 170593 w 199548"/>
                <a:gd name="connsiteY42" fmla="*/ 32385 h 136588"/>
                <a:gd name="connsiteX43" fmla="*/ 170593 w 199548"/>
                <a:gd name="connsiteY43" fmla="*/ 38386 h 136588"/>
                <a:gd name="connsiteX44" fmla="*/ 175641 w 199548"/>
                <a:gd name="connsiteY44" fmla="*/ 43815 h 136588"/>
                <a:gd name="connsiteX45" fmla="*/ 187357 w 199548"/>
                <a:gd name="connsiteY45" fmla="*/ 51721 h 136588"/>
                <a:gd name="connsiteX46" fmla="*/ 190690 w 199548"/>
                <a:gd name="connsiteY46" fmla="*/ 57055 h 136588"/>
                <a:gd name="connsiteX47" fmla="*/ 194119 w 199548"/>
                <a:gd name="connsiteY47" fmla="*/ 72961 h 136588"/>
                <a:gd name="connsiteX48" fmla="*/ 199549 w 199548"/>
                <a:gd name="connsiteY48" fmla="*/ 82010 h 136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9548" h="136588">
                  <a:moveTo>
                    <a:pt x="199549" y="82010"/>
                  </a:moveTo>
                  <a:lnTo>
                    <a:pt x="198977" y="87344"/>
                  </a:lnTo>
                  <a:lnTo>
                    <a:pt x="197834" y="91059"/>
                  </a:lnTo>
                  <a:lnTo>
                    <a:pt x="187166" y="104584"/>
                  </a:lnTo>
                  <a:lnTo>
                    <a:pt x="179356" y="91059"/>
                  </a:lnTo>
                  <a:lnTo>
                    <a:pt x="170212" y="85439"/>
                  </a:lnTo>
                  <a:lnTo>
                    <a:pt x="160496" y="85439"/>
                  </a:lnTo>
                  <a:lnTo>
                    <a:pt x="159925" y="76486"/>
                  </a:lnTo>
                  <a:lnTo>
                    <a:pt x="151352" y="66389"/>
                  </a:lnTo>
                  <a:lnTo>
                    <a:pt x="142208" y="66389"/>
                  </a:lnTo>
                  <a:lnTo>
                    <a:pt x="127540" y="69723"/>
                  </a:lnTo>
                  <a:lnTo>
                    <a:pt x="98869" y="73057"/>
                  </a:lnTo>
                  <a:lnTo>
                    <a:pt x="93345" y="64103"/>
                  </a:lnTo>
                  <a:lnTo>
                    <a:pt x="80581" y="77533"/>
                  </a:lnTo>
                  <a:lnTo>
                    <a:pt x="78105" y="89821"/>
                  </a:lnTo>
                  <a:lnTo>
                    <a:pt x="57340" y="114395"/>
                  </a:lnTo>
                  <a:lnTo>
                    <a:pt x="53054" y="124396"/>
                  </a:lnTo>
                  <a:lnTo>
                    <a:pt x="40862" y="134398"/>
                  </a:lnTo>
                  <a:lnTo>
                    <a:pt x="34100" y="131064"/>
                  </a:lnTo>
                  <a:lnTo>
                    <a:pt x="24384" y="136588"/>
                  </a:lnTo>
                  <a:lnTo>
                    <a:pt x="15240" y="128778"/>
                  </a:lnTo>
                  <a:lnTo>
                    <a:pt x="17050" y="119824"/>
                  </a:lnTo>
                  <a:lnTo>
                    <a:pt x="12192" y="114300"/>
                  </a:lnTo>
                  <a:lnTo>
                    <a:pt x="0" y="98679"/>
                  </a:lnTo>
                  <a:lnTo>
                    <a:pt x="37052" y="31813"/>
                  </a:lnTo>
                  <a:lnTo>
                    <a:pt x="50863" y="28099"/>
                  </a:lnTo>
                  <a:lnTo>
                    <a:pt x="63151" y="20002"/>
                  </a:lnTo>
                  <a:lnTo>
                    <a:pt x="84868" y="10573"/>
                  </a:lnTo>
                  <a:lnTo>
                    <a:pt x="87344" y="14002"/>
                  </a:lnTo>
                  <a:lnTo>
                    <a:pt x="89821" y="13430"/>
                  </a:lnTo>
                  <a:lnTo>
                    <a:pt x="98488" y="7429"/>
                  </a:lnTo>
                  <a:lnTo>
                    <a:pt x="101917" y="3429"/>
                  </a:lnTo>
                  <a:lnTo>
                    <a:pt x="110776" y="0"/>
                  </a:lnTo>
                  <a:lnTo>
                    <a:pt x="120110" y="286"/>
                  </a:lnTo>
                  <a:lnTo>
                    <a:pt x="125635" y="2762"/>
                  </a:lnTo>
                  <a:lnTo>
                    <a:pt x="150685" y="7144"/>
                  </a:lnTo>
                  <a:lnTo>
                    <a:pt x="154496" y="12001"/>
                  </a:lnTo>
                  <a:lnTo>
                    <a:pt x="157734" y="10477"/>
                  </a:lnTo>
                  <a:lnTo>
                    <a:pt x="167259" y="10763"/>
                  </a:lnTo>
                  <a:lnTo>
                    <a:pt x="170879" y="13716"/>
                  </a:lnTo>
                  <a:lnTo>
                    <a:pt x="172974" y="16954"/>
                  </a:lnTo>
                  <a:lnTo>
                    <a:pt x="172021" y="25146"/>
                  </a:lnTo>
                  <a:lnTo>
                    <a:pt x="170593" y="32385"/>
                  </a:lnTo>
                  <a:lnTo>
                    <a:pt x="170593" y="38386"/>
                  </a:lnTo>
                  <a:cubicBezTo>
                    <a:pt x="170593" y="38386"/>
                    <a:pt x="175641" y="43815"/>
                    <a:pt x="175641" y="43815"/>
                  </a:cubicBezTo>
                  <a:lnTo>
                    <a:pt x="187357" y="51721"/>
                  </a:lnTo>
                  <a:lnTo>
                    <a:pt x="190690" y="57055"/>
                  </a:lnTo>
                  <a:lnTo>
                    <a:pt x="194119" y="72961"/>
                  </a:lnTo>
                  <a:lnTo>
                    <a:pt x="199549" y="82010"/>
                  </a:lnTo>
                </a:path>
              </a:pathLst>
            </a:custGeom>
            <a:grpFill/>
            <a:ln w="2381" cap="sq">
              <a:noFill/>
              <a:prstDash val="solid"/>
              <a:bevel/>
            </a:ln>
          </p:spPr>
          <p:txBody>
            <a:bodyPr rtlCol="0" anchor="ctr"/>
            <a:lstStyle/>
            <a:p>
              <a:endParaRPr lang="cs-CZ"/>
            </a:p>
          </p:txBody>
        </p:sp>
        <p:sp>
          <p:nvSpPr>
            <p:cNvPr id="249" name="Freeform: Shape 248">
              <a:extLst>
                <a:ext uri="{FF2B5EF4-FFF2-40B4-BE49-F238E27FC236}">
                  <a16:creationId xmlns:a16="http://schemas.microsoft.com/office/drawing/2014/main" id="{9D225AE2-5C15-8D2F-AE29-DFB5210A2CFC}"/>
                </a:ext>
              </a:extLst>
            </p:cNvPr>
            <p:cNvSpPr/>
            <p:nvPr/>
          </p:nvSpPr>
          <p:spPr>
            <a:xfrm>
              <a:off x="13681232" y="8180860"/>
              <a:ext cx="162210" cy="127349"/>
            </a:xfrm>
            <a:custGeom>
              <a:avLst/>
              <a:gdLst>
                <a:gd name="connsiteX0" fmla="*/ 154496 w 162210"/>
                <a:gd name="connsiteY0" fmla="*/ 29813 h 127349"/>
                <a:gd name="connsiteX1" fmla="*/ 154019 w 162210"/>
                <a:gd name="connsiteY1" fmla="*/ 32290 h 127349"/>
                <a:gd name="connsiteX2" fmla="*/ 156400 w 162210"/>
                <a:gd name="connsiteY2" fmla="*/ 42005 h 127349"/>
                <a:gd name="connsiteX3" fmla="*/ 156591 w 162210"/>
                <a:gd name="connsiteY3" fmla="*/ 47530 h 127349"/>
                <a:gd name="connsiteX4" fmla="*/ 157734 w 162210"/>
                <a:gd name="connsiteY4" fmla="*/ 55340 h 127349"/>
                <a:gd name="connsiteX5" fmla="*/ 156305 w 162210"/>
                <a:gd name="connsiteY5" fmla="*/ 64103 h 127349"/>
                <a:gd name="connsiteX6" fmla="*/ 157258 w 162210"/>
                <a:gd name="connsiteY6" fmla="*/ 72009 h 127349"/>
                <a:gd name="connsiteX7" fmla="*/ 160687 w 162210"/>
                <a:gd name="connsiteY7" fmla="*/ 76200 h 127349"/>
                <a:gd name="connsiteX8" fmla="*/ 162211 w 162210"/>
                <a:gd name="connsiteY8" fmla="*/ 79915 h 127349"/>
                <a:gd name="connsiteX9" fmla="*/ 160877 w 162210"/>
                <a:gd name="connsiteY9" fmla="*/ 82201 h 127349"/>
                <a:gd name="connsiteX10" fmla="*/ 145637 w 162210"/>
                <a:gd name="connsiteY10" fmla="*/ 90106 h 127349"/>
                <a:gd name="connsiteX11" fmla="*/ 140494 w 162210"/>
                <a:gd name="connsiteY11" fmla="*/ 96107 h 127349"/>
                <a:gd name="connsiteX12" fmla="*/ 137636 w 162210"/>
                <a:gd name="connsiteY12" fmla="*/ 102489 h 127349"/>
                <a:gd name="connsiteX13" fmla="*/ 143256 w 162210"/>
                <a:gd name="connsiteY13" fmla="*/ 116205 h 127349"/>
                <a:gd name="connsiteX14" fmla="*/ 134969 w 162210"/>
                <a:gd name="connsiteY14" fmla="*/ 127349 h 127349"/>
                <a:gd name="connsiteX15" fmla="*/ 128778 w 162210"/>
                <a:gd name="connsiteY15" fmla="*/ 125254 h 127349"/>
                <a:gd name="connsiteX16" fmla="*/ 98108 w 162210"/>
                <a:gd name="connsiteY16" fmla="*/ 126968 h 127349"/>
                <a:gd name="connsiteX17" fmla="*/ 90678 w 162210"/>
                <a:gd name="connsiteY17" fmla="*/ 126302 h 127349"/>
                <a:gd name="connsiteX18" fmla="*/ 85725 w 162210"/>
                <a:gd name="connsiteY18" fmla="*/ 124682 h 127349"/>
                <a:gd name="connsiteX19" fmla="*/ 82105 w 162210"/>
                <a:gd name="connsiteY19" fmla="*/ 121634 h 127349"/>
                <a:gd name="connsiteX20" fmla="*/ 80867 w 162210"/>
                <a:gd name="connsiteY20" fmla="*/ 113062 h 127349"/>
                <a:gd name="connsiteX21" fmla="*/ 84868 w 162210"/>
                <a:gd name="connsiteY21" fmla="*/ 90678 h 127349"/>
                <a:gd name="connsiteX22" fmla="*/ 57150 w 162210"/>
                <a:gd name="connsiteY22" fmla="*/ 87344 h 127349"/>
                <a:gd name="connsiteX23" fmla="*/ 42386 w 162210"/>
                <a:gd name="connsiteY23" fmla="*/ 82867 h 127349"/>
                <a:gd name="connsiteX24" fmla="*/ 10001 w 162210"/>
                <a:gd name="connsiteY24" fmla="*/ 63246 h 127349"/>
                <a:gd name="connsiteX25" fmla="*/ 0 w 162210"/>
                <a:gd name="connsiteY25" fmla="*/ 61817 h 127349"/>
                <a:gd name="connsiteX26" fmla="*/ 5048 w 162210"/>
                <a:gd name="connsiteY26" fmla="*/ 32194 h 127349"/>
                <a:gd name="connsiteX27" fmla="*/ 62389 w 162210"/>
                <a:gd name="connsiteY27" fmla="*/ 32194 h 127349"/>
                <a:gd name="connsiteX28" fmla="*/ 78296 w 162210"/>
                <a:gd name="connsiteY28" fmla="*/ 22193 h 127349"/>
                <a:gd name="connsiteX29" fmla="*/ 90488 w 162210"/>
                <a:gd name="connsiteY29" fmla="*/ 23336 h 127349"/>
                <a:gd name="connsiteX30" fmla="*/ 97822 w 162210"/>
                <a:gd name="connsiteY30" fmla="*/ 13335 h 127349"/>
                <a:gd name="connsiteX31" fmla="*/ 106299 w 162210"/>
                <a:gd name="connsiteY31" fmla="*/ 4477 h 127349"/>
                <a:gd name="connsiteX32" fmla="*/ 119729 w 162210"/>
                <a:gd name="connsiteY32" fmla="*/ 1143 h 127349"/>
                <a:gd name="connsiteX33" fmla="*/ 129445 w 162210"/>
                <a:gd name="connsiteY33" fmla="*/ 0 h 127349"/>
                <a:gd name="connsiteX34" fmla="*/ 130683 w 162210"/>
                <a:gd name="connsiteY34" fmla="*/ 11144 h 127349"/>
                <a:gd name="connsiteX35" fmla="*/ 143446 w 162210"/>
                <a:gd name="connsiteY35" fmla="*/ 18955 h 127349"/>
                <a:gd name="connsiteX36" fmla="*/ 154591 w 162210"/>
                <a:gd name="connsiteY36" fmla="*/ 29908 h 127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62210" h="127349">
                  <a:moveTo>
                    <a:pt x="154496" y="29813"/>
                  </a:moveTo>
                  <a:lnTo>
                    <a:pt x="154019" y="32290"/>
                  </a:lnTo>
                  <a:lnTo>
                    <a:pt x="156400" y="42005"/>
                  </a:lnTo>
                  <a:lnTo>
                    <a:pt x="156591" y="47530"/>
                  </a:lnTo>
                  <a:lnTo>
                    <a:pt x="157734" y="55340"/>
                  </a:lnTo>
                  <a:lnTo>
                    <a:pt x="156305" y="64103"/>
                  </a:lnTo>
                  <a:lnTo>
                    <a:pt x="157258" y="72009"/>
                  </a:lnTo>
                  <a:lnTo>
                    <a:pt x="160687" y="76200"/>
                  </a:lnTo>
                  <a:lnTo>
                    <a:pt x="162211" y="79915"/>
                  </a:lnTo>
                  <a:lnTo>
                    <a:pt x="160877" y="82201"/>
                  </a:lnTo>
                  <a:lnTo>
                    <a:pt x="145637" y="90106"/>
                  </a:lnTo>
                  <a:lnTo>
                    <a:pt x="140494" y="96107"/>
                  </a:lnTo>
                  <a:lnTo>
                    <a:pt x="137636" y="102489"/>
                  </a:lnTo>
                  <a:lnTo>
                    <a:pt x="143256" y="116205"/>
                  </a:lnTo>
                  <a:lnTo>
                    <a:pt x="134969" y="127349"/>
                  </a:lnTo>
                  <a:lnTo>
                    <a:pt x="128778" y="125254"/>
                  </a:lnTo>
                  <a:lnTo>
                    <a:pt x="98108" y="126968"/>
                  </a:lnTo>
                  <a:lnTo>
                    <a:pt x="90678" y="126302"/>
                  </a:lnTo>
                  <a:lnTo>
                    <a:pt x="85725" y="124682"/>
                  </a:lnTo>
                  <a:lnTo>
                    <a:pt x="82105" y="121634"/>
                  </a:lnTo>
                  <a:lnTo>
                    <a:pt x="80867" y="113062"/>
                  </a:lnTo>
                  <a:lnTo>
                    <a:pt x="84868" y="90678"/>
                  </a:lnTo>
                  <a:lnTo>
                    <a:pt x="57150" y="87344"/>
                  </a:lnTo>
                  <a:lnTo>
                    <a:pt x="42386" y="82867"/>
                  </a:lnTo>
                  <a:lnTo>
                    <a:pt x="10001" y="63246"/>
                  </a:lnTo>
                  <a:lnTo>
                    <a:pt x="0" y="61817"/>
                  </a:lnTo>
                  <a:lnTo>
                    <a:pt x="5048" y="32194"/>
                  </a:lnTo>
                  <a:lnTo>
                    <a:pt x="62389" y="32194"/>
                  </a:lnTo>
                  <a:lnTo>
                    <a:pt x="78296" y="22193"/>
                  </a:lnTo>
                  <a:lnTo>
                    <a:pt x="90488" y="23336"/>
                  </a:lnTo>
                  <a:lnTo>
                    <a:pt x="97822" y="13335"/>
                  </a:lnTo>
                  <a:lnTo>
                    <a:pt x="106299" y="4477"/>
                  </a:lnTo>
                  <a:lnTo>
                    <a:pt x="119729" y="1143"/>
                  </a:lnTo>
                  <a:lnTo>
                    <a:pt x="129445" y="0"/>
                  </a:lnTo>
                  <a:lnTo>
                    <a:pt x="130683" y="11144"/>
                  </a:lnTo>
                  <a:lnTo>
                    <a:pt x="143446" y="18955"/>
                  </a:lnTo>
                  <a:lnTo>
                    <a:pt x="154591" y="29908"/>
                  </a:lnTo>
                </a:path>
              </a:pathLst>
            </a:custGeom>
            <a:grpFill/>
            <a:ln w="2381" cap="sq">
              <a:noFill/>
              <a:prstDash val="solid"/>
              <a:bevel/>
            </a:ln>
          </p:spPr>
          <p:txBody>
            <a:bodyPr rtlCol="0" anchor="ctr"/>
            <a:lstStyle/>
            <a:p>
              <a:endParaRPr lang="cs-CZ"/>
            </a:p>
          </p:txBody>
        </p:sp>
        <p:sp>
          <p:nvSpPr>
            <p:cNvPr id="250" name="Freeform: Shape 249">
              <a:extLst>
                <a:ext uri="{FF2B5EF4-FFF2-40B4-BE49-F238E27FC236}">
                  <a16:creationId xmlns:a16="http://schemas.microsoft.com/office/drawing/2014/main" id="{B8E8ABEB-9C33-D528-6CFD-DEF190F4A4E9}"/>
                </a:ext>
              </a:extLst>
            </p:cNvPr>
            <p:cNvSpPr/>
            <p:nvPr/>
          </p:nvSpPr>
          <p:spPr>
            <a:xfrm>
              <a:off x="13180693" y="7771000"/>
              <a:ext cx="205549" cy="259651"/>
            </a:xfrm>
            <a:custGeom>
              <a:avLst/>
              <a:gdLst>
                <a:gd name="connsiteX0" fmla="*/ 161068 w 205549"/>
                <a:gd name="connsiteY0" fmla="*/ 216313 h 259651"/>
                <a:gd name="connsiteX1" fmla="*/ 154972 w 205549"/>
                <a:gd name="connsiteY1" fmla="*/ 216598 h 259651"/>
                <a:gd name="connsiteX2" fmla="*/ 148876 w 205549"/>
                <a:gd name="connsiteY2" fmla="*/ 220504 h 259651"/>
                <a:gd name="connsiteX3" fmla="*/ 147352 w 205549"/>
                <a:gd name="connsiteY3" fmla="*/ 220980 h 259651"/>
                <a:gd name="connsiteX4" fmla="*/ 138875 w 205549"/>
                <a:gd name="connsiteY4" fmla="*/ 218694 h 259651"/>
                <a:gd name="connsiteX5" fmla="*/ 139065 w 205549"/>
                <a:gd name="connsiteY5" fmla="*/ 225552 h 259651"/>
                <a:gd name="connsiteX6" fmla="*/ 140113 w 205549"/>
                <a:gd name="connsiteY6" fmla="*/ 228790 h 259651"/>
                <a:gd name="connsiteX7" fmla="*/ 141065 w 205549"/>
                <a:gd name="connsiteY7" fmla="*/ 234410 h 259651"/>
                <a:gd name="connsiteX8" fmla="*/ 130969 w 205549"/>
                <a:gd name="connsiteY8" fmla="*/ 249365 h 259651"/>
                <a:gd name="connsiteX9" fmla="*/ 118967 w 205549"/>
                <a:gd name="connsiteY9" fmla="*/ 257461 h 259651"/>
                <a:gd name="connsiteX10" fmla="*/ 109823 w 205549"/>
                <a:gd name="connsiteY10" fmla="*/ 254508 h 259651"/>
                <a:gd name="connsiteX11" fmla="*/ 109538 w 205549"/>
                <a:gd name="connsiteY11" fmla="*/ 249746 h 259651"/>
                <a:gd name="connsiteX12" fmla="*/ 108966 w 205549"/>
                <a:gd name="connsiteY12" fmla="*/ 246221 h 259651"/>
                <a:gd name="connsiteX13" fmla="*/ 107728 w 205549"/>
                <a:gd name="connsiteY13" fmla="*/ 241554 h 259651"/>
                <a:gd name="connsiteX14" fmla="*/ 105632 w 205549"/>
                <a:gd name="connsiteY14" fmla="*/ 236411 h 259651"/>
                <a:gd name="connsiteX15" fmla="*/ 102870 w 205549"/>
                <a:gd name="connsiteY15" fmla="*/ 231553 h 259651"/>
                <a:gd name="connsiteX16" fmla="*/ 98679 w 205549"/>
                <a:gd name="connsiteY16" fmla="*/ 228790 h 259651"/>
                <a:gd name="connsiteX17" fmla="*/ 92297 w 205549"/>
                <a:gd name="connsiteY17" fmla="*/ 228790 h 259651"/>
                <a:gd name="connsiteX18" fmla="*/ 75438 w 205549"/>
                <a:gd name="connsiteY18" fmla="*/ 237839 h 259651"/>
                <a:gd name="connsiteX19" fmla="*/ 71819 w 205549"/>
                <a:gd name="connsiteY19" fmla="*/ 242316 h 259651"/>
                <a:gd name="connsiteX20" fmla="*/ 66770 w 205549"/>
                <a:gd name="connsiteY20" fmla="*/ 246412 h 259651"/>
                <a:gd name="connsiteX21" fmla="*/ 64865 w 205549"/>
                <a:gd name="connsiteY21" fmla="*/ 250412 h 259651"/>
                <a:gd name="connsiteX22" fmla="*/ 61150 w 205549"/>
                <a:gd name="connsiteY22" fmla="*/ 253651 h 259651"/>
                <a:gd name="connsiteX23" fmla="*/ 60865 w 205549"/>
                <a:gd name="connsiteY23" fmla="*/ 255842 h 259651"/>
                <a:gd name="connsiteX24" fmla="*/ 61532 w 205549"/>
                <a:gd name="connsiteY24" fmla="*/ 257651 h 259651"/>
                <a:gd name="connsiteX25" fmla="*/ 62770 w 205549"/>
                <a:gd name="connsiteY25" fmla="*/ 259271 h 259651"/>
                <a:gd name="connsiteX26" fmla="*/ 55912 w 205549"/>
                <a:gd name="connsiteY26" fmla="*/ 259652 h 259651"/>
                <a:gd name="connsiteX27" fmla="*/ 20288 w 205549"/>
                <a:gd name="connsiteY27" fmla="*/ 247840 h 259651"/>
                <a:gd name="connsiteX28" fmla="*/ 18574 w 205549"/>
                <a:gd name="connsiteY28" fmla="*/ 226981 h 259651"/>
                <a:gd name="connsiteX29" fmla="*/ 22289 w 205549"/>
                <a:gd name="connsiteY29" fmla="*/ 220313 h 259651"/>
                <a:gd name="connsiteX30" fmla="*/ 30004 w 205549"/>
                <a:gd name="connsiteY30" fmla="*/ 213646 h 259651"/>
                <a:gd name="connsiteX31" fmla="*/ 30575 w 205549"/>
                <a:gd name="connsiteY31" fmla="*/ 202406 h 259651"/>
                <a:gd name="connsiteX32" fmla="*/ 23241 w 205549"/>
                <a:gd name="connsiteY32" fmla="*/ 188976 h 259651"/>
                <a:gd name="connsiteX33" fmla="*/ 16574 w 205549"/>
                <a:gd name="connsiteY33" fmla="*/ 175546 h 259651"/>
                <a:gd name="connsiteX34" fmla="*/ 30575 w 205549"/>
                <a:gd name="connsiteY34" fmla="*/ 164306 h 259651"/>
                <a:gd name="connsiteX35" fmla="*/ 18383 w 205549"/>
                <a:gd name="connsiteY35" fmla="*/ 148590 h 259651"/>
                <a:gd name="connsiteX36" fmla="*/ 8668 w 205549"/>
                <a:gd name="connsiteY36" fmla="*/ 134017 h 259651"/>
                <a:gd name="connsiteX37" fmla="*/ 18383 w 205549"/>
                <a:gd name="connsiteY37" fmla="*/ 132874 h 259651"/>
                <a:gd name="connsiteX38" fmla="*/ 32385 w 205549"/>
                <a:gd name="connsiteY38" fmla="*/ 128397 h 259651"/>
                <a:gd name="connsiteX39" fmla="*/ 40958 w 205549"/>
                <a:gd name="connsiteY39" fmla="*/ 117157 h 259651"/>
                <a:gd name="connsiteX40" fmla="*/ 47625 w 205549"/>
                <a:gd name="connsiteY40" fmla="*/ 108204 h 259651"/>
                <a:gd name="connsiteX41" fmla="*/ 38481 w 205549"/>
                <a:gd name="connsiteY41" fmla="*/ 95821 h 259651"/>
                <a:gd name="connsiteX42" fmla="*/ 34195 w 205549"/>
                <a:gd name="connsiteY42" fmla="*/ 82296 h 259651"/>
                <a:gd name="connsiteX43" fmla="*/ 31718 w 205549"/>
                <a:gd name="connsiteY43" fmla="*/ 64294 h 259651"/>
                <a:gd name="connsiteX44" fmla="*/ 26861 w 205549"/>
                <a:gd name="connsiteY44" fmla="*/ 49625 h 259651"/>
                <a:gd name="connsiteX45" fmla="*/ 18955 w 205549"/>
                <a:gd name="connsiteY45" fmla="*/ 45148 h 259651"/>
                <a:gd name="connsiteX46" fmla="*/ 5525 w 205549"/>
                <a:gd name="connsiteY46" fmla="*/ 45148 h 259651"/>
                <a:gd name="connsiteX47" fmla="*/ 0 w 205549"/>
                <a:gd name="connsiteY47" fmla="*/ 34957 h 259651"/>
                <a:gd name="connsiteX48" fmla="*/ 15812 w 205549"/>
                <a:gd name="connsiteY48" fmla="*/ 21431 h 259651"/>
                <a:gd name="connsiteX49" fmla="*/ 29242 w 205549"/>
                <a:gd name="connsiteY49" fmla="*/ 23717 h 259651"/>
                <a:gd name="connsiteX50" fmla="*/ 45149 w 205549"/>
                <a:gd name="connsiteY50" fmla="*/ 22574 h 259651"/>
                <a:gd name="connsiteX51" fmla="*/ 54864 w 205549"/>
                <a:gd name="connsiteY51" fmla="*/ 7906 h 259651"/>
                <a:gd name="connsiteX52" fmla="*/ 54864 w 205549"/>
                <a:gd name="connsiteY52" fmla="*/ 0 h 259651"/>
                <a:gd name="connsiteX53" fmla="*/ 76867 w 205549"/>
                <a:gd name="connsiteY53" fmla="*/ 11335 h 259651"/>
                <a:gd name="connsiteX54" fmla="*/ 89059 w 205549"/>
                <a:gd name="connsiteY54" fmla="*/ 27146 h 259651"/>
                <a:gd name="connsiteX55" fmla="*/ 88487 w 205549"/>
                <a:gd name="connsiteY55" fmla="*/ 46292 h 259651"/>
                <a:gd name="connsiteX56" fmla="*/ 104966 w 205549"/>
                <a:gd name="connsiteY56" fmla="*/ 46292 h 259651"/>
                <a:gd name="connsiteX57" fmla="*/ 108585 w 205549"/>
                <a:gd name="connsiteY57" fmla="*/ 55340 h 259651"/>
                <a:gd name="connsiteX58" fmla="*/ 106775 w 205549"/>
                <a:gd name="connsiteY58" fmla="*/ 65532 h 259651"/>
                <a:gd name="connsiteX59" fmla="*/ 112871 w 205549"/>
                <a:gd name="connsiteY59" fmla="*/ 77915 h 259651"/>
                <a:gd name="connsiteX60" fmla="*/ 125063 w 205549"/>
                <a:gd name="connsiteY60" fmla="*/ 79057 h 259651"/>
                <a:gd name="connsiteX61" fmla="*/ 137827 w 205549"/>
                <a:gd name="connsiteY61" fmla="*/ 90297 h 259651"/>
                <a:gd name="connsiteX62" fmla="*/ 143351 w 205549"/>
                <a:gd name="connsiteY62" fmla="*/ 100394 h 259651"/>
                <a:gd name="connsiteX63" fmla="*/ 158020 w 205549"/>
                <a:gd name="connsiteY63" fmla="*/ 103823 h 259651"/>
                <a:gd name="connsiteX64" fmla="*/ 162878 w 205549"/>
                <a:gd name="connsiteY64" fmla="*/ 100394 h 259651"/>
                <a:gd name="connsiteX65" fmla="*/ 172021 w 205549"/>
                <a:gd name="connsiteY65" fmla="*/ 100394 h 259651"/>
                <a:gd name="connsiteX66" fmla="*/ 184214 w 205549"/>
                <a:gd name="connsiteY66" fmla="*/ 107156 h 259651"/>
                <a:gd name="connsiteX67" fmla="*/ 175641 w 205549"/>
                <a:gd name="connsiteY67" fmla="*/ 125158 h 259651"/>
                <a:gd name="connsiteX68" fmla="*/ 184785 w 205549"/>
                <a:gd name="connsiteY68" fmla="*/ 131921 h 259651"/>
                <a:gd name="connsiteX69" fmla="*/ 196406 w 205549"/>
                <a:gd name="connsiteY69" fmla="*/ 134207 h 259651"/>
                <a:gd name="connsiteX70" fmla="*/ 205550 w 205549"/>
                <a:gd name="connsiteY70" fmla="*/ 155543 h 259651"/>
                <a:gd name="connsiteX71" fmla="*/ 204978 w 205549"/>
                <a:gd name="connsiteY71" fmla="*/ 165640 h 259651"/>
                <a:gd name="connsiteX72" fmla="*/ 193358 w 205549"/>
                <a:gd name="connsiteY72" fmla="*/ 176879 h 259651"/>
                <a:gd name="connsiteX73" fmla="*/ 178118 w 205549"/>
                <a:gd name="connsiteY73" fmla="*/ 198215 h 259651"/>
                <a:gd name="connsiteX74" fmla="*/ 170783 w 205549"/>
                <a:gd name="connsiteY74" fmla="*/ 198215 h 259651"/>
                <a:gd name="connsiteX75" fmla="*/ 162211 w 205549"/>
                <a:gd name="connsiteY75" fmla="*/ 186976 h 259651"/>
                <a:gd name="connsiteX76" fmla="*/ 156686 w 205549"/>
                <a:gd name="connsiteY76" fmla="*/ 193738 h 259651"/>
                <a:gd name="connsiteX77" fmla="*/ 163449 w 205549"/>
                <a:gd name="connsiteY77" fmla="*/ 207169 h 259651"/>
                <a:gd name="connsiteX78" fmla="*/ 161068 w 205549"/>
                <a:gd name="connsiteY78" fmla="*/ 216598 h 259651"/>
                <a:gd name="connsiteX79" fmla="*/ 161068 w 205549"/>
                <a:gd name="connsiteY79" fmla="*/ 216598 h 259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05549" h="259651">
                  <a:moveTo>
                    <a:pt x="161068" y="216313"/>
                  </a:moveTo>
                  <a:lnTo>
                    <a:pt x="154972" y="216598"/>
                  </a:lnTo>
                  <a:lnTo>
                    <a:pt x="148876" y="220504"/>
                  </a:lnTo>
                  <a:lnTo>
                    <a:pt x="147352" y="220980"/>
                  </a:lnTo>
                  <a:lnTo>
                    <a:pt x="138875" y="218694"/>
                  </a:lnTo>
                  <a:lnTo>
                    <a:pt x="139065" y="225552"/>
                  </a:lnTo>
                  <a:lnTo>
                    <a:pt x="140113" y="228790"/>
                  </a:lnTo>
                  <a:lnTo>
                    <a:pt x="141065" y="234410"/>
                  </a:lnTo>
                  <a:lnTo>
                    <a:pt x="130969" y="249365"/>
                  </a:lnTo>
                  <a:lnTo>
                    <a:pt x="118967" y="257461"/>
                  </a:lnTo>
                  <a:lnTo>
                    <a:pt x="109823" y="254508"/>
                  </a:lnTo>
                  <a:lnTo>
                    <a:pt x="109538" y="249746"/>
                  </a:lnTo>
                  <a:lnTo>
                    <a:pt x="108966" y="246221"/>
                  </a:lnTo>
                  <a:lnTo>
                    <a:pt x="107728" y="241554"/>
                  </a:lnTo>
                  <a:lnTo>
                    <a:pt x="105632" y="236411"/>
                  </a:lnTo>
                  <a:lnTo>
                    <a:pt x="102870" y="231553"/>
                  </a:lnTo>
                  <a:lnTo>
                    <a:pt x="98679" y="228790"/>
                  </a:lnTo>
                  <a:lnTo>
                    <a:pt x="92297" y="228790"/>
                  </a:lnTo>
                  <a:cubicBezTo>
                    <a:pt x="92297" y="228790"/>
                    <a:pt x="75438" y="237839"/>
                    <a:pt x="75438" y="237839"/>
                  </a:cubicBezTo>
                  <a:lnTo>
                    <a:pt x="71819" y="242316"/>
                  </a:lnTo>
                  <a:lnTo>
                    <a:pt x="66770" y="246412"/>
                  </a:lnTo>
                  <a:lnTo>
                    <a:pt x="64865" y="250412"/>
                  </a:lnTo>
                  <a:lnTo>
                    <a:pt x="61150" y="253651"/>
                  </a:lnTo>
                  <a:lnTo>
                    <a:pt x="60865" y="255842"/>
                  </a:lnTo>
                  <a:lnTo>
                    <a:pt x="61532" y="257651"/>
                  </a:lnTo>
                  <a:lnTo>
                    <a:pt x="62770" y="259271"/>
                  </a:lnTo>
                  <a:lnTo>
                    <a:pt x="55912" y="259652"/>
                  </a:lnTo>
                  <a:lnTo>
                    <a:pt x="20288" y="247840"/>
                  </a:lnTo>
                  <a:lnTo>
                    <a:pt x="18574" y="226981"/>
                  </a:lnTo>
                  <a:lnTo>
                    <a:pt x="22289" y="220313"/>
                  </a:lnTo>
                  <a:lnTo>
                    <a:pt x="30004" y="213646"/>
                  </a:lnTo>
                  <a:lnTo>
                    <a:pt x="30575" y="202406"/>
                  </a:lnTo>
                  <a:lnTo>
                    <a:pt x="23241" y="188976"/>
                  </a:lnTo>
                  <a:lnTo>
                    <a:pt x="16574" y="175546"/>
                  </a:lnTo>
                  <a:lnTo>
                    <a:pt x="30575" y="164306"/>
                  </a:lnTo>
                  <a:lnTo>
                    <a:pt x="18383" y="148590"/>
                  </a:lnTo>
                  <a:lnTo>
                    <a:pt x="8668" y="134017"/>
                  </a:lnTo>
                  <a:lnTo>
                    <a:pt x="18383" y="132874"/>
                  </a:lnTo>
                  <a:lnTo>
                    <a:pt x="32385" y="128397"/>
                  </a:lnTo>
                  <a:lnTo>
                    <a:pt x="40958" y="117157"/>
                  </a:lnTo>
                  <a:lnTo>
                    <a:pt x="47625" y="108204"/>
                  </a:lnTo>
                  <a:lnTo>
                    <a:pt x="38481" y="95821"/>
                  </a:lnTo>
                  <a:lnTo>
                    <a:pt x="34195" y="82296"/>
                  </a:lnTo>
                  <a:lnTo>
                    <a:pt x="31718" y="64294"/>
                  </a:lnTo>
                  <a:lnTo>
                    <a:pt x="26861" y="49625"/>
                  </a:lnTo>
                  <a:lnTo>
                    <a:pt x="18955" y="45148"/>
                  </a:lnTo>
                  <a:lnTo>
                    <a:pt x="5525" y="45148"/>
                  </a:lnTo>
                  <a:lnTo>
                    <a:pt x="0" y="34957"/>
                  </a:lnTo>
                  <a:lnTo>
                    <a:pt x="15812" y="21431"/>
                  </a:lnTo>
                  <a:lnTo>
                    <a:pt x="29242" y="23717"/>
                  </a:lnTo>
                  <a:lnTo>
                    <a:pt x="45149" y="22574"/>
                  </a:lnTo>
                  <a:lnTo>
                    <a:pt x="54864" y="7906"/>
                  </a:lnTo>
                  <a:lnTo>
                    <a:pt x="54864" y="0"/>
                  </a:lnTo>
                  <a:lnTo>
                    <a:pt x="76867" y="11335"/>
                  </a:lnTo>
                  <a:lnTo>
                    <a:pt x="89059" y="27146"/>
                  </a:lnTo>
                  <a:lnTo>
                    <a:pt x="88487" y="46292"/>
                  </a:lnTo>
                  <a:lnTo>
                    <a:pt x="104966" y="46292"/>
                  </a:lnTo>
                  <a:lnTo>
                    <a:pt x="108585" y="55340"/>
                  </a:lnTo>
                  <a:lnTo>
                    <a:pt x="106775" y="65532"/>
                  </a:lnTo>
                  <a:lnTo>
                    <a:pt x="112871" y="77915"/>
                  </a:lnTo>
                  <a:lnTo>
                    <a:pt x="125063" y="79057"/>
                  </a:lnTo>
                  <a:lnTo>
                    <a:pt x="137827" y="90297"/>
                  </a:lnTo>
                  <a:lnTo>
                    <a:pt x="143351" y="100394"/>
                  </a:lnTo>
                  <a:lnTo>
                    <a:pt x="158020" y="103823"/>
                  </a:lnTo>
                  <a:lnTo>
                    <a:pt x="162878" y="100394"/>
                  </a:lnTo>
                  <a:lnTo>
                    <a:pt x="172021" y="100394"/>
                  </a:lnTo>
                  <a:lnTo>
                    <a:pt x="184214" y="107156"/>
                  </a:lnTo>
                  <a:lnTo>
                    <a:pt x="175641" y="125158"/>
                  </a:lnTo>
                  <a:lnTo>
                    <a:pt x="184785" y="131921"/>
                  </a:lnTo>
                  <a:lnTo>
                    <a:pt x="196406" y="134207"/>
                  </a:lnTo>
                  <a:lnTo>
                    <a:pt x="205550" y="155543"/>
                  </a:lnTo>
                  <a:lnTo>
                    <a:pt x="204978" y="165640"/>
                  </a:lnTo>
                  <a:lnTo>
                    <a:pt x="193358" y="176879"/>
                  </a:lnTo>
                  <a:lnTo>
                    <a:pt x="178118" y="198215"/>
                  </a:lnTo>
                  <a:lnTo>
                    <a:pt x="170783" y="198215"/>
                  </a:lnTo>
                  <a:lnTo>
                    <a:pt x="162211" y="186976"/>
                  </a:lnTo>
                  <a:lnTo>
                    <a:pt x="156686" y="193738"/>
                  </a:lnTo>
                  <a:lnTo>
                    <a:pt x="163449" y="207169"/>
                  </a:lnTo>
                  <a:lnTo>
                    <a:pt x="161068" y="216598"/>
                  </a:lnTo>
                  <a:lnTo>
                    <a:pt x="161068" y="216598"/>
                  </a:lnTo>
                </a:path>
              </a:pathLst>
            </a:custGeom>
            <a:grpFill/>
            <a:ln w="2381" cap="sq">
              <a:noFill/>
              <a:prstDash val="solid"/>
              <a:bevel/>
            </a:ln>
          </p:spPr>
          <p:txBody>
            <a:bodyPr rtlCol="0" anchor="ctr"/>
            <a:lstStyle/>
            <a:p>
              <a:endParaRPr lang="cs-CZ"/>
            </a:p>
          </p:txBody>
        </p:sp>
        <p:sp>
          <p:nvSpPr>
            <p:cNvPr id="251" name="Freeform: Shape 250">
              <a:extLst>
                <a:ext uri="{FF2B5EF4-FFF2-40B4-BE49-F238E27FC236}">
                  <a16:creationId xmlns:a16="http://schemas.microsoft.com/office/drawing/2014/main" id="{025A5D48-D283-E877-16AD-A180BAF7B44C}"/>
                </a:ext>
              </a:extLst>
            </p:cNvPr>
            <p:cNvSpPr/>
            <p:nvPr/>
          </p:nvSpPr>
          <p:spPr>
            <a:xfrm>
              <a:off x="13333760" y="7984360"/>
              <a:ext cx="182784" cy="162877"/>
            </a:xfrm>
            <a:custGeom>
              <a:avLst/>
              <a:gdLst>
                <a:gd name="connsiteX0" fmla="*/ 1905 w 182784"/>
                <a:gd name="connsiteY0" fmla="*/ 3143 h 162877"/>
                <a:gd name="connsiteX1" fmla="*/ 8001 w 182784"/>
                <a:gd name="connsiteY1" fmla="*/ 2857 h 162877"/>
                <a:gd name="connsiteX2" fmla="*/ 8001 w 182784"/>
                <a:gd name="connsiteY2" fmla="*/ 2857 h 162877"/>
                <a:gd name="connsiteX3" fmla="*/ 13145 w 182784"/>
                <a:gd name="connsiteY3" fmla="*/ 2667 h 162877"/>
                <a:gd name="connsiteX4" fmla="*/ 31813 w 182784"/>
                <a:gd name="connsiteY4" fmla="*/ 12001 h 162877"/>
                <a:gd name="connsiteX5" fmla="*/ 38576 w 182784"/>
                <a:gd name="connsiteY5" fmla="*/ 12001 h 162877"/>
                <a:gd name="connsiteX6" fmla="*/ 46482 w 182784"/>
                <a:gd name="connsiteY6" fmla="*/ 10382 h 162877"/>
                <a:gd name="connsiteX7" fmla="*/ 58674 w 182784"/>
                <a:gd name="connsiteY7" fmla="*/ 2953 h 162877"/>
                <a:gd name="connsiteX8" fmla="*/ 60388 w 182784"/>
                <a:gd name="connsiteY8" fmla="*/ 2953 h 162877"/>
                <a:gd name="connsiteX9" fmla="*/ 60388 w 182784"/>
                <a:gd name="connsiteY9" fmla="*/ 4191 h 162877"/>
                <a:gd name="connsiteX10" fmla="*/ 59817 w 182784"/>
                <a:gd name="connsiteY10" fmla="*/ 6191 h 162877"/>
                <a:gd name="connsiteX11" fmla="*/ 60674 w 182784"/>
                <a:gd name="connsiteY11" fmla="*/ 10287 h 162877"/>
                <a:gd name="connsiteX12" fmla="*/ 58483 w 182784"/>
                <a:gd name="connsiteY12" fmla="*/ 17145 h 162877"/>
                <a:gd name="connsiteX13" fmla="*/ 56864 w 182784"/>
                <a:gd name="connsiteY13" fmla="*/ 25527 h 162877"/>
                <a:gd name="connsiteX14" fmla="*/ 83248 w 182784"/>
                <a:gd name="connsiteY14" fmla="*/ 9049 h 162877"/>
                <a:gd name="connsiteX15" fmla="*/ 86392 w 182784"/>
                <a:gd name="connsiteY15" fmla="*/ 3619 h 162877"/>
                <a:gd name="connsiteX16" fmla="*/ 94869 w 182784"/>
                <a:gd name="connsiteY16" fmla="*/ 0 h 162877"/>
                <a:gd name="connsiteX17" fmla="*/ 105632 w 182784"/>
                <a:gd name="connsiteY17" fmla="*/ 3905 h 162877"/>
                <a:gd name="connsiteX18" fmla="*/ 111347 w 182784"/>
                <a:gd name="connsiteY18" fmla="*/ 10858 h 162877"/>
                <a:gd name="connsiteX19" fmla="*/ 115252 w 182784"/>
                <a:gd name="connsiteY19" fmla="*/ 12668 h 162877"/>
                <a:gd name="connsiteX20" fmla="*/ 118396 w 182784"/>
                <a:gd name="connsiteY20" fmla="*/ 12192 h 162877"/>
                <a:gd name="connsiteX21" fmla="*/ 121729 w 182784"/>
                <a:gd name="connsiteY21" fmla="*/ 9811 h 162877"/>
                <a:gd name="connsiteX22" fmla="*/ 128588 w 182784"/>
                <a:gd name="connsiteY22" fmla="*/ 8572 h 162877"/>
                <a:gd name="connsiteX23" fmla="*/ 132017 w 182784"/>
                <a:gd name="connsiteY23" fmla="*/ 9811 h 162877"/>
                <a:gd name="connsiteX24" fmla="*/ 134779 w 182784"/>
                <a:gd name="connsiteY24" fmla="*/ 11620 h 162877"/>
                <a:gd name="connsiteX25" fmla="*/ 136398 w 182784"/>
                <a:gd name="connsiteY25" fmla="*/ 13525 h 162877"/>
                <a:gd name="connsiteX26" fmla="*/ 137731 w 182784"/>
                <a:gd name="connsiteY26" fmla="*/ 15621 h 162877"/>
                <a:gd name="connsiteX27" fmla="*/ 139446 w 182784"/>
                <a:gd name="connsiteY27" fmla="*/ 17717 h 162877"/>
                <a:gd name="connsiteX28" fmla="*/ 140684 w 182784"/>
                <a:gd name="connsiteY28" fmla="*/ 20288 h 162877"/>
                <a:gd name="connsiteX29" fmla="*/ 142780 w 182784"/>
                <a:gd name="connsiteY29" fmla="*/ 23050 h 162877"/>
                <a:gd name="connsiteX30" fmla="*/ 144209 w 182784"/>
                <a:gd name="connsiteY30" fmla="*/ 25717 h 162877"/>
                <a:gd name="connsiteX31" fmla="*/ 156781 w 182784"/>
                <a:gd name="connsiteY31" fmla="*/ 24574 h 162877"/>
                <a:gd name="connsiteX32" fmla="*/ 170021 w 182784"/>
                <a:gd name="connsiteY32" fmla="*/ 39148 h 162877"/>
                <a:gd name="connsiteX33" fmla="*/ 179165 w 182784"/>
                <a:gd name="connsiteY33" fmla="*/ 46958 h 162877"/>
                <a:gd name="connsiteX34" fmla="*/ 182785 w 182784"/>
                <a:gd name="connsiteY34" fmla="*/ 52578 h 162877"/>
                <a:gd name="connsiteX35" fmla="*/ 180308 w 182784"/>
                <a:gd name="connsiteY35" fmla="*/ 66008 h 162877"/>
                <a:gd name="connsiteX36" fmla="*/ 168116 w 182784"/>
                <a:gd name="connsiteY36" fmla="*/ 66008 h 162877"/>
                <a:gd name="connsiteX37" fmla="*/ 158401 w 182784"/>
                <a:gd name="connsiteY37" fmla="*/ 70485 h 162877"/>
                <a:gd name="connsiteX38" fmla="*/ 146209 w 182784"/>
                <a:gd name="connsiteY38" fmla="*/ 66008 h 162877"/>
                <a:gd name="connsiteX39" fmla="*/ 137065 w 182784"/>
                <a:gd name="connsiteY39" fmla="*/ 70485 h 162877"/>
                <a:gd name="connsiteX40" fmla="*/ 126111 w 182784"/>
                <a:gd name="connsiteY40" fmla="*/ 73819 h 162877"/>
                <a:gd name="connsiteX41" fmla="*/ 113347 w 182784"/>
                <a:gd name="connsiteY41" fmla="*/ 77152 h 162877"/>
                <a:gd name="connsiteX42" fmla="*/ 110871 w 182784"/>
                <a:gd name="connsiteY42" fmla="*/ 84963 h 162877"/>
                <a:gd name="connsiteX43" fmla="*/ 102965 w 182784"/>
                <a:gd name="connsiteY43" fmla="*/ 93917 h 162877"/>
                <a:gd name="connsiteX44" fmla="*/ 106585 w 182784"/>
                <a:gd name="connsiteY44" fmla="*/ 105061 h 162877"/>
                <a:gd name="connsiteX45" fmla="*/ 109633 w 182784"/>
                <a:gd name="connsiteY45" fmla="*/ 121634 h 162877"/>
                <a:gd name="connsiteX46" fmla="*/ 102203 w 182784"/>
                <a:gd name="connsiteY46" fmla="*/ 123253 h 162877"/>
                <a:gd name="connsiteX47" fmla="*/ 99631 w 182784"/>
                <a:gd name="connsiteY47" fmla="*/ 128683 h 162877"/>
                <a:gd name="connsiteX48" fmla="*/ 102965 w 182784"/>
                <a:gd name="connsiteY48" fmla="*/ 131350 h 162877"/>
                <a:gd name="connsiteX49" fmla="*/ 103156 w 182784"/>
                <a:gd name="connsiteY49" fmla="*/ 135541 h 162877"/>
                <a:gd name="connsiteX50" fmla="*/ 102203 w 182784"/>
                <a:gd name="connsiteY50" fmla="*/ 141065 h 162877"/>
                <a:gd name="connsiteX51" fmla="*/ 97536 w 182784"/>
                <a:gd name="connsiteY51" fmla="*/ 149447 h 162877"/>
                <a:gd name="connsiteX52" fmla="*/ 95917 w 182784"/>
                <a:gd name="connsiteY52" fmla="*/ 154495 h 162877"/>
                <a:gd name="connsiteX53" fmla="*/ 81153 w 182784"/>
                <a:gd name="connsiteY53" fmla="*/ 162877 h 162877"/>
                <a:gd name="connsiteX54" fmla="*/ 72104 w 182784"/>
                <a:gd name="connsiteY54" fmla="*/ 149733 h 162877"/>
                <a:gd name="connsiteX55" fmla="*/ 61531 w 182784"/>
                <a:gd name="connsiteY55" fmla="*/ 147542 h 162877"/>
                <a:gd name="connsiteX56" fmla="*/ 47339 w 182784"/>
                <a:gd name="connsiteY56" fmla="*/ 140208 h 162877"/>
                <a:gd name="connsiteX57" fmla="*/ 30385 w 182784"/>
                <a:gd name="connsiteY57" fmla="*/ 140208 h 162877"/>
                <a:gd name="connsiteX58" fmla="*/ 8477 w 182784"/>
                <a:gd name="connsiteY58" fmla="*/ 132683 h 162877"/>
                <a:gd name="connsiteX59" fmla="*/ 8858 w 182784"/>
                <a:gd name="connsiteY59" fmla="*/ 122968 h 162877"/>
                <a:gd name="connsiteX60" fmla="*/ 8192 w 182784"/>
                <a:gd name="connsiteY60" fmla="*/ 118396 h 162877"/>
                <a:gd name="connsiteX61" fmla="*/ 6763 w 182784"/>
                <a:gd name="connsiteY61" fmla="*/ 112109 h 162877"/>
                <a:gd name="connsiteX62" fmla="*/ 3238 w 182784"/>
                <a:gd name="connsiteY62" fmla="*/ 109061 h 162877"/>
                <a:gd name="connsiteX63" fmla="*/ 95 w 182784"/>
                <a:gd name="connsiteY63" fmla="*/ 103632 h 162877"/>
                <a:gd name="connsiteX64" fmla="*/ 476 w 182784"/>
                <a:gd name="connsiteY64" fmla="*/ 101346 h 162877"/>
                <a:gd name="connsiteX65" fmla="*/ 0 w 182784"/>
                <a:gd name="connsiteY65" fmla="*/ 94107 h 162877"/>
                <a:gd name="connsiteX66" fmla="*/ 28004 w 182784"/>
                <a:gd name="connsiteY66" fmla="*/ 89249 h 162877"/>
                <a:gd name="connsiteX67" fmla="*/ 19621 w 182784"/>
                <a:gd name="connsiteY67" fmla="*/ 81344 h 162877"/>
                <a:gd name="connsiteX68" fmla="*/ 17145 w 182784"/>
                <a:gd name="connsiteY68" fmla="*/ 77724 h 162877"/>
                <a:gd name="connsiteX69" fmla="*/ 14383 w 182784"/>
                <a:gd name="connsiteY69" fmla="*/ 74771 h 162877"/>
                <a:gd name="connsiteX70" fmla="*/ 12478 w 182784"/>
                <a:gd name="connsiteY70" fmla="*/ 72104 h 162877"/>
                <a:gd name="connsiteX71" fmla="*/ 12478 w 182784"/>
                <a:gd name="connsiteY71" fmla="*/ 68294 h 162877"/>
                <a:gd name="connsiteX72" fmla="*/ 13716 w 182784"/>
                <a:gd name="connsiteY72" fmla="*/ 64960 h 162877"/>
                <a:gd name="connsiteX73" fmla="*/ 15526 w 182784"/>
                <a:gd name="connsiteY73" fmla="*/ 60865 h 162877"/>
                <a:gd name="connsiteX74" fmla="*/ 18764 w 182784"/>
                <a:gd name="connsiteY74" fmla="*/ 55340 h 162877"/>
                <a:gd name="connsiteX75" fmla="*/ 18574 w 182784"/>
                <a:gd name="connsiteY75" fmla="*/ 47339 h 162877"/>
                <a:gd name="connsiteX76" fmla="*/ 15145 w 182784"/>
                <a:gd name="connsiteY76" fmla="*/ 39624 h 162877"/>
                <a:gd name="connsiteX77" fmla="*/ 12859 w 182784"/>
                <a:gd name="connsiteY77" fmla="*/ 30480 h 162877"/>
                <a:gd name="connsiteX78" fmla="*/ 9525 w 182784"/>
                <a:gd name="connsiteY78" fmla="*/ 24670 h 162877"/>
                <a:gd name="connsiteX79" fmla="*/ 9239 w 182784"/>
                <a:gd name="connsiteY79" fmla="*/ 18764 h 162877"/>
                <a:gd name="connsiteX80" fmla="*/ 3429 w 182784"/>
                <a:gd name="connsiteY80" fmla="*/ 12668 h 162877"/>
                <a:gd name="connsiteX81" fmla="*/ 1714 w 182784"/>
                <a:gd name="connsiteY81" fmla="*/ 3238 h 162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82784" h="162877">
                  <a:moveTo>
                    <a:pt x="1905" y="3143"/>
                  </a:moveTo>
                  <a:lnTo>
                    <a:pt x="8001" y="2857"/>
                  </a:lnTo>
                  <a:lnTo>
                    <a:pt x="8001" y="2857"/>
                  </a:lnTo>
                  <a:lnTo>
                    <a:pt x="13145" y="2667"/>
                  </a:lnTo>
                  <a:lnTo>
                    <a:pt x="31813" y="12001"/>
                  </a:lnTo>
                  <a:lnTo>
                    <a:pt x="38576" y="12001"/>
                  </a:lnTo>
                  <a:cubicBezTo>
                    <a:pt x="38576" y="12001"/>
                    <a:pt x="46482" y="10382"/>
                    <a:pt x="46482" y="10382"/>
                  </a:cubicBezTo>
                  <a:lnTo>
                    <a:pt x="58674" y="2953"/>
                  </a:lnTo>
                  <a:lnTo>
                    <a:pt x="60388" y="2953"/>
                  </a:lnTo>
                  <a:cubicBezTo>
                    <a:pt x="60388" y="2953"/>
                    <a:pt x="60388" y="4191"/>
                    <a:pt x="60388" y="4191"/>
                  </a:cubicBezTo>
                  <a:lnTo>
                    <a:pt x="59817" y="6191"/>
                  </a:lnTo>
                  <a:lnTo>
                    <a:pt x="60674" y="10287"/>
                  </a:lnTo>
                  <a:lnTo>
                    <a:pt x="58483" y="17145"/>
                  </a:lnTo>
                  <a:lnTo>
                    <a:pt x="56864" y="25527"/>
                  </a:lnTo>
                  <a:lnTo>
                    <a:pt x="83248" y="9049"/>
                  </a:lnTo>
                  <a:lnTo>
                    <a:pt x="86392" y="3619"/>
                  </a:lnTo>
                  <a:lnTo>
                    <a:pt x="94869" y="0"/>
                  </a:lnTo>
                  <a:lnTo>
                    <a:pt x="105632" y="3905"/>
                  </a:lnTo>
                  <a:lnTo>
                    <a:pt x="111347" y="10858"/>
                  </a:lnTo>
                  <a:lnTo>
                    <a:pt x="115252" y="12668"/>
                  </a:lnTo>
                  <a:lnTo>
                    <a:pt x="118396" y="12192"/>
                  </a:lnTo>
                  <a:lnTo>
                    <a:pt x="121729" y="9811"/>
                  </a:lnTo>
                  <a:lnTo>
                    <a:pt x="128588" y="8572"/>
                  </a:lnTo>
                  <a:lnTo>
                    <a:pt x="132017" y="9811"/>
                  </a:lnTo>
                  <a:lnTo>
                    <a:pt x="134779" y="11620"/>
                  </a:lnTo>
                  <a:lnTo>
                    <a:pt x="136398" y="13525"/>
                  </a:lnTo>
                  <a:lnTo>
                    <a:pt x="137731" y="15621"/>
                  </a:lnTo>
                  <a:lnTo>
                    <a:pt x="139446" y="17717"/>
                  </a:lnTo>
                  <a:lnTo>
                    <a:pt x="140684" y="20288"/>
                  </a:lnTo>
                  <a:lnTo>
                    <a:pt x="142780" y="23050"/>
                  </a:lnTo>
                  <a:lnTo>
                    <a:pt x="144209" y="25717"/>
                  </a:lnTo>
                  <a:lnTo>
                    <a:pt x="156781" y="24574"/>
                  </a:lnTo>
                  <a:lnTo>
                    <a:pt x="170021" y="39148"/>
                  </a:lnTo>
                  <a:lnTo>
                    <a:pt x="179165" y="46958"/>
                  </a:lnTo>
                  <a:lnTo>
                    <a:pt x="182785" y="52578"/>
                  </a:lnTo>
                  <a:lnTo>
                    <a:pt x="180308" y="66008"/>
                  </a:lnTo>
                  <a:lnTo>
                    <a:pt x="168116" y="66008"/>
                  </a:lnTo>
                  <a:lnTo>
                    <a:pt x="158401" y="70485"/>
                  </a:lnTo>
                  <a:lnTo>
                    <a:pt x="146209" y="66008"/>
                  </a:lnTo>
                  <a:lnTo>
                    <a:pt x="137065" y="70485"/>
                  </a:lnTo>
                  <a:lnTo>
                    <a:pt x="126111" y="73819"/>
                  </a:lnTo>
                  <a:lnTo>
                    <a:pt x="113347" y="77152"/>
                  </a:lnTo>
                  <a:lnTo>
                    <a:pt x="110871" y="84963"/>
                  </a:lnTo>
                  <a:lnTo>
                    <a:pt x="102965" y="93917"/>
                  </a:lnTo>
                  <a:lnTo>
                    <a:pt x="106585" y="105061"/>
                  </a:lnTo>
                  <a:lnTo>
                    <a:pt x="109633" y="121634"/>
                  </a:lnTo>
                  <a:lnTo>
                    <a:pt x="102203" y="123253"/>
                  </a:lnTo>
                  <a:lnTo>
                    <a:pt x="99631" y="128683"/>
                  </a:lnTo>
                  <a:lnTo>
                    <a:pt x="102965" y="131350"/>
                  </a:lnTo>
                  <a:lnTo>
                    <a:pt x="103156" y="135541"/>
                  </a:lnTo>
                  <a:lnTo>
                    <a:pt x="102203" y="141065"/>
                  </a:lnTo>
                  <a:lnTo>
                    <a:pt x="97536" y="149447"/>
                  </a:lnTo>
                  <a:lnTo>
                    <a:pt x="95917" y="154495"/>
                  </a:lnTo>
                  <a:lnTo>
                    <a:pt x="81153" y="162877"/>
                  </a:lnTo>
                  <a:lnTo>
                    <a:pt x="72104" y="149733"/>
                  </a:lnTo>
                  <a:lnTo>
                    <a:pt x="61531" y="147542"/>
                  </a:lnTo>
                  <a:lnTo>
                    <a:pt x="47339" y="140208"/>
                  </a:lnTo>
                  <a:lnTo>
                    <a:pt x="30385" y="140208"/>
                  </a:lnTo>
                  <a:cubicBezTo>
                    <a:pt x="30385" y="140208"/>
                    <a:pt x="8477" y="132683"/>
                    <a:pt x="8477" y="132683"/>
                  </a:cubicBezTo>
                  <a:lnTo>
                    <a:pt x="8858" y="122968"/>
                  </a:lnTo>
                  <a:lnTo>
                    <a:pt x="8192" y="118396"/>
                  </a:lnTo>
                  <a:lnTo>
                    <a:pt x="6763" y="112109"/>
                  </a:lnTo>
                  <a:lnTo>
                    <a:pt x="3238" y="109061"/>
                  </a:lnTo>
                  <a:lnTo>
                    <a:pt x="95" y="103632"/>
                  </a:lnTo>
                  <a:lnTo>
                    <a:pt x="476" y="101346"/>
                  </a:lnTo>
                  <a:lnTo>
                    <a:pt x="0" y="94107"/>
                  </a:lnTo>
                  <a:lnTo>
                    <a:pt x="28004" y="89249"/>
                  </a:lnTo>
                  <a:lnTo>
                    <a:pt x="19621" y="81344"/>
                  </a:lnTo>
                  <a:lnTo>
                    <a:pt x="17145" y="77724"/>
                  </a:lnTo>
                  <a:lnTo>
                    <a:pt x="14383" y="74771"/>
                  </a:lnTo>
                  <a:lnTo>
                    <a:pt x="12478" y="72104"/>
                  </a:lnTo>
                  <a:lnTo>
                    <a:pt x="12478" y="68294"/>
                  </a:lnTo>
                  <a:cubicBezTo>
                    <a:pt x="12478" y="68294"/>
                    <a:pt x="13716" y="64960"/>
                    <a:pt x="13716" y="64960"/>
                  </a:cubicBezTo>
                  <a:lnTo>
                    <a:pt x="15526" y="60865"/>
                  </a:lnTo>
                  <a:lnTo>
                    <a:pt x="18764" y="55340"/>
                  </a:lnTo>
                  <a:lnTo>
                    <a:pt x="18574" y="47339"/>
                  </a:lnTo>
                  <a:lnTo>
                    <a:pt x="15145" y="39624"/>
                  </a:lnTo>
                  <a:lnTo>
                    <a:pt x="12859" y="30480"/>
                  </a:lnTo>
                  <a:lnTo>
                    <a:pt x="9525" y="24670"/>
                  </a:lnTo>
                  <a:lnTo>
                    <a:pt x="9239" y="18764"/>
                  </a:lnTo>
                  <a:lnTo>
                    <a:pt x="3429" y="12668"/>
                  </a:lnTo>
                  <a:lnTo>
                    <a:pt x="1714" y="3238"/>
                  </a:lnTo>
                </a:path>
              </a:pathLst>
            </a:custGeom>
            <a:grpFill/>
            <a:ln w="2381" cap="sq">
              <a:noFill/>
              <a:prstDash val="solid"/>
              <a:bevel/>
            </a:ln>
          </p:spPr>
          <p:txBody>
            <a:bodyPr rtlCol="0" anchor="ctr"/>
            <a:lstStyle/>
            <a:p>
              <a:endParaRPr lang="cs-CZ"/>
            </a:p>
          </p:txBody>
        </p:sp>
        <p:sp>
          <p:nvSpPr>
            <p:cNvPr id="252" name="Freeform: Shape 251">
              <a:extLst>
                <a:ext uri="{FF2B5EF4-FFF2-40B4-BE49-F238E27FC236}">
                  <a16:creationId xmlns:a16="http://schemas.microsoft.com/office/drawing/2014/main" id="{D94F87F8-514D-D26E-1CC2-B2DCFC2E4660}"/>
                </a:ext>
              </a:extLst>
            </p:cNvPr>
            <p:cNvSpPr/>
            <p:nvPr/>
          </p:nvSpPr>
          <p:spPr>
            <a:xfrm>
              <a:off x="13601603" y="7913494"/>
              <a:ext cx="91344" cy="121443"/>
            </a:xfrm>
            <a:custGeom>
              <a:avLst/>
              <a:gdLst>
                <a:gd name="connsiteX0" fmla="*/ 58483 w 91344"/>
                <a:gd name="connsiteY0" fmla="*/ 0 h 121443"/>
                <a:gd name="connsiteX1" fmla="*/ 61436 w 91344"/>
                <a:gd name="connsiteY1" fmla="*/ 18669 h 121443"/>
                <a:gd name="connsiteX2" fmla="*/ 77248 w 91344"/>
                <a:gd name="connsiteY2" fmla="*/ 38195 h 121443"/>
                <a:gd name="connsiteX3" fmla="*/ 79820 w 91344"/>
                <a:gd name="connsiteY3" fmla="*/ 47530 h 121443"/>
                <a:gd name="connsiteX4" fmla="*/ 82867 w 91344"/>
                <a:gd name="connsiteY4" fmla="*/ 66580 h 121443"/>
                <a:gd name="connsiteX5" fmla="*/ 91345 w 91344"/>
                <a:gd name="connsiteY5" fmla="*/ 77724 h 121443"/>
                <a:gd name="connsiteX6" fmla="*/ 86487 w 91344"/>
                <a:gd name="connsiteY6" fmla="*/ 91154 h 121443"/>
                <a:gd name="connsiteX7" fmla="*/ 79153 w 91344"/>
                <a:gd name="connsiteY7" fmla="*/ 101251 h 121443"/>
                <a:gd name="connsiteX8" fmla="*/ 70580 w 91344"/>
                <a:gd name="connsiteY8" fmla="*/ 106871 h 121443"/>
                <a:gd name="connsiteX9" fmla="*/ 73057 w 91344"/>
                <a:gd name="connsiteY9" fmla="*/ 119158 h 121443"/>
                <a:gd name="connsiteX10" fmla="*/ 60293 w 91344"/>
                <a:gd name="connsiteY10" fmla="*/ 119158 h 121443"/>
                <a:gd name="connsiteX11" fmla="*/ 45053 w 91344"/>
                <a:gd name="connsiteY11" fmla="*/ 112395 h 121443"/>
                <a:gd name="connsiteX12" fmla="*/ 37719 w 91344"/>
                <a:gd name="connsiteY12" fmla="*/ 119158 h 121443"/>
                <a:gd name="connsiteX13" fmla="*/ 28004 w 91344"/>
                <a:gd name="connsiteY13" fmla="*/ 120301 h 121443"/>
                <a:gd name="connsiteX14" fmla="*/ 20098 w 91344"/>
                <a:gd name="connsiteY14" fmla="*/ 121444 h 121443"/>
                <a:gd name="connsiteX15" fmla="*/ 11621 w 91344"/>
                <a:gd name="connsiteY15" fmla="*/ 104680 h 121443"/>
                <a:gd name="connsiteX16" fmla="*/ 4286 w 91344"/>
                <a:gd name="connsiteY16" fmla="*/ 103537 h 121443"/>
                <a:gd name="connsiteX17" fmla="*/ 0 w 91344"/>
                <a:gd name="connsiteY17" fmla="*/ 103537 h 121443"/>
                <a:gd name="connsiteX18" fmla="*/ 571 w 91344"/>
                <a:gd name="connsiteY18" fmla="*/ 94583 h 121443"/>
                <a:gd name="connsiteX19" fmla="*/ 6096 w 91344"/>
                <a:gd name="connsiteY19" fmla="*/ 81153 h 121443"/>
                <a:gd name="connsiteX20" fmla="*/ 2477 w 91344"/>
                <a:gd name="connsiteY20" fmla="*/ 65532 h 121443"/>
                <a:gd name="connsiteX21" fmla="*/ 1905 w 91344"/>
                <a:gd name="connsiteY21" fmla="*/ 45339 h 121443"/>
                <a:gd name="connsiteX22" fmla="*/ 6191 w 91344"/>
                <a:gd name="connsiteY22" fmla="*/ 28480 h 121443"/>
                <a:gd name="connsiteX23" fmla="*/ 4858 w 91344"/>
                <a:gd name="connsiteY23" fmla="*/ 10954 h 121443"/>
                <a:gd name="connsiteX24" fmla="*/ 17336 w 91344"/>
                <a:gd name="connsiteY24" fmla="*/ 6286 h 121443"/>
                <a:gd name="connsiteX25" fmla="*/ 39338 w 91344"/>
                <a:gd name="connsiteY25" fmla="*/ 7715 h 121443"/>
                <a:gd name="connsiteX26" fmla="*/ 58674 w 91344"/>
                <a:gd name="connsiteY26" fmla="*/ 0 h 121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1344" h="121443">
                  <a:moveTo>
                    <a:pt x="58483" y="0"/>
                  </a:moveTo>
                  <a:lnTo>
                    <a:pt x="61436" y="18669"/>
                  </a:lnTo>
                  <a:lnTo>
                    <a:pt x="77248" y="38195"/>
                  </a:lnTo>
                  <a:lnTo>
                    <a:pt x="79820" y="47530"/>
                  </a:lnTo>
                  <a:lnTo>
                    <a:pt x="82867" y="66580"/>
                  </a:lnTo>
                  <a:lnTo>
                    <a:pt x="91345" y="77724"/>
                  </a:lnTo>
                  <a:lnTo>
                    <a:pt x="86487" y="91154"/>
                  </a:lnTo>
                  <a:lnTo>
                    <a:pt x="79153" y="101251"/>
                  </a:lnTo>
                  <a:lnTo>
                    <a:pt x="70580" y="106871"/>
                  </a:lnTo>
                  <a:lnTo>
                    <a:pt x="73057" y="119158"/>
                  </a:lnTo>
                  <a:lnTo>
                    <a:pt x="60293" y="119158"/>
                  </a:lnTo>
                  <a:lnTo>
                    <a:pt x="45053" y="112395"/>
                  </a:lnTo>
                  <a:lnTo>
                    <a:pt x="37719" y="119158"/>
                  </a:lnTo>
                  <a:lnTo>
                    <a:pt x="28004" y="120301"/>
                  </a:lnTo>
                  <a:lnTo>
                    <a:pt x="20098" y="121444"/>
                  </a:lnTo>
                  <a:lnTo>
                    <a:pt x="11621" y="104680"/>
                  </a:lnTo>
                  <a:lnTo>
                    <a:pt x="4286" y="103537"/>
                  </a:lnTo>
                  <a:lnTo>
                    <a:pt x="0" y="103537"/>
                  </a:lnTo>
                  <a:lnTo>
                    <a:pt x="571" y="94583"/>
                  </a:lnTo>
                  <a:lnTo>
                    <a:pt x="6096" y="81153"/>
                  </a:lnTo>
                  <a:lnTo>
                    <a:pt x="2477" y="65532"/>
                  </a:lnTo>
                  <a:lnTo>
                    <a:pt x="1905" y="45339"/>
                  </a:lnTo>
                  <a:lnTo>
                    <a:pt x="6191" y="28480"/>
                  </a:lnTo>
                  <a:lnTo>
                    <a:pt x="4858" y="10954"/>
                  </a:lnTo>
                  <a:lnTo>
                    <a:pt x="17336" y="6286"/>
                  </a:lnTo>
                  <a:lnTo>
                    <a:pt x="39338" y="7715"/>
                  </a:lnTo>
                  <a:lnTo>
                    <a:pt x="58674" y="0"/>
                  </a:lnTo>
                </a:path>
              </a:pathLst>
            </a:custGeom>
            <a:grpFill/>
            <a:ln w="2381" cap="sq">
              <a:noFill/>
              <a:prstDash val="solid"/>
              <a:bevel/>
            </a:ln>
          </p:spPr>
          <p:txBody>
            <a:bodyPr rtlCol="0" anchor="ctr"/>
            <a:lstStyle/>
            <a:p>
              <a:endParaRPr lang="cs-CZ"/>
            </a:p>
          </p:txBody>
        </p:sp>
        <p:sp>
          <p:nvSpPr>
            <p:cNvPr id="253" name="Freeform: Shape 252">
              <a:extLst>
                <a:ext uri="{FF2B5EF4-FFF2-40B4-BE49-F238E27FC236}">
                  <a16:creationId xmlns:a16="http://schemas.microsoft.com/office/drawing/2014/main" id="{C2B28548-E71E-62E4-DA61-BDB4C4CB8653}"/>
                </a:ext>
              </a:extLst>
            </p:cNvPr>
            <p:cNvSpPr/>
            <p:nvPr/>
          </p:nvSpPr>
          <p:spPr>
            <a:xfrm>
              <a:off x="12984668" y="7987503"/>
              <a:ext cx="377190" cy="211931"/>
            </a:xfrm>
            <a:custGeom>
              <a:avLst/>
              <a:gdLst>
                <a:gd name="connsiteX0" fmla="*/ 343376 w 377190"/>
                <a:gd name="connsiteY0" fmla="*/ 4382 h 211931"/>
                <a:gd name="connsiteX1" fmla="*/ 344900 w 377190"/>
                <a:gd name="connsiteY1" fmla="*/ 3905 h 211931"/>
                <a:gd name="connsiteX2" fmla="*/ 350996 w 377190"/>
                <a:gd name="connsiteY2" fmla="*/ 0 h 211931"/>
                <a:gd name="connsiteX3" fmla="*/ 352711 w 377190"/>
                <a:gd name="connsiteY3" fmla="*/ 9430 h 211931"/>
                <a:gd name="connsiteX4" fmla="*/ 358521 w 377190"/>
                <a:gd name="connsiteY4" fmla="*/ 15526 h 211931"/>
                <a:gd name="connsiteX5" fmla="*/ 358807 w 377190"/>
                <a:gd name="connsiteY5" fmla="*/ 21431 h 211931"/>
                <a:gd name="connsiteX6" fmla="*/ 362141 w 377190"/>
                <a:gd name="connsiteY6" fmla="*/ 27242 h 211931"/>
                <a:gd name="connsiteX7" fmla="*/ 364427 w 377190"/>
                <a:gd name="connsiteY7" fmla="*/ 36385 h 211931"/>
                <a:gd name="connsiteX8" fmla="*/ 367856 w 377190"/>
                <a:gd name="connsiteY8" fmla="*/ 44101 h 211931"/>
                <a:gd name="connsiteX9" fmla="*/ 368046 w 377190"/>
                <a:gd name="connsiteY9" fmla="*/ 52102 h 211931"/>
                <a:gd name="connsiteX10" fmla="*/ 364808 w 377190"/>
                <a:gd name="connsiteY10" fmla="*/ 57626 h 211931"/>
                <a:gd name="connsiteX11" fmla="*/ 362998 w 377190"/>
                <a:gd name="connsiteY11" fmla="*/ 61722 h 211931"/>
                <a:gd name="connsiteX12" fmla="*/ 361855 w 377190"/>
                <a:gd name="connsiteY12" fmla="*/ 65056 h 211931"/>
                <a:gd name="connsiteX13" fmla="*/ 361855 w 377190"/>
                <a:gd name="connsiteY13" fmla="*/ 68866 h 211931"/>
                <a:gd name="connsiteX14" fmla="*/ 363569 w 377190"/>
                <a:gd name="connsiteY14" fmla="*/ 71533 h 211931"/>
                <a:gd name="connsiteX15" fmla="*/ 366332 w 377190"/>
                <a:gd name="connsiteY15" fmla="*/ 74486 h 211931"/>
                <a:gd name="connsiteX16" fmla="*/ 368808 w 377190"/>
                <a:gd name="connsiteY16" fmla="*/ 78105 h 211931"/>
                <a:gd name="connsiteX17" fmla="*/ 377190 w 377190"/>
                <a:gd name="connsiteY17" fmla="*/ 86011 h 211931"/>
                <a:gd name="connsiteX18" fmla="*/ 349187 w 377190"/>
                <a:gd name="connsiteY18" fmla="*/ 90869 h 211931"/>
                <a:gd name="connsiteX19" fmla="*/ 349663 w 377190"/>
                <a:gd name="connsiteY19" fmla="*/ 98108 h 211931"/>
                <a:gd name="connsiteX20" fmla="*/ 349282 w 377190"/>
                <a:gd name="connsiteY20" fmla="*/ 100394 h 211931"/>
                <a:gd name="connsiteX21" fmla="*/ 352425 w 377190"/>
                <a:gd name="connsiteY21" fmla="*/ 105823 h 211931"/>
                <a:gd name="connsiteX22" fmla="*/ 355949 w 377190"/>
                <a:gd name="connsiteY22" fmla="*/ 108871 h 211931"/>
                <a:gd name="connsiteX23" fmla="*/ 357378 w 377190"/>
                <a:gd name="connsiteY23" fmla="*/ 115157 h 211931"/>
                <a:gd name="connsiteX24" fmla="*/ 358045 w 377190"/>
                <a:gd name="connsiteY24" fmla="*/ 119729 h 211931"/>
                <a:gd name="connsiteX25" fmla="*/ 357664 w 377190"/>
                <a:gd name="connsiteY25" fmla="*/ 129445 h 211931"/>
                <a:gd name="connsiteX26" fmla="*/ 331184 w 377190"/>
                <a:gd name="connsiteY26" fmla="*/ 156401 h 211931"/>
                <a:gd name="connsiteX27" fmla="*/ 313182 w 377190"/>
                <a:gd name="connsiteY27" fmla="*/ 166307 h 211931"/>
                <a:gd name="connsiteX28" fmla="*/ 308039 w 377190"/>
                <a:gd name="connsiteY28" fmla="*/ 167164 h 211931"/>
                <a:gd name="connsiteX29" fmla="*/ 302990 w 377190"/>
                <a:gd name="connsiteY29" fmla="*/ 165164 h 211931"/>
                <a:gd name="connsiteX30" fmla="*/ 298418 w 377190"/>
                <a:gd name="connsiteY30" fmla="*/ 165354 h 211931"/>
                <a:gd name="connsiteX31" fmla="*/ 298609 w 377190"/>
                <a:gd name="connsiteY31" fmla="*/ 167640 h 211931"/>
                <a:gd name="connsiteX32" fmla="*/ 299466 w 377190"/>
                <a:gd name="connsiteY32" fmla="*/ 171831 h 211931"/>
                <a:gd name="connsiteX33" fmla="*/ 287750 w 377190"/>
                <a:gd name="connsiteY33" fmla="*/ 168593 h 211931"/>
                <a:gd name="connsiteX34" fmla="*/ 275844 w 377190"/>
                <a:gd name="connsiteY34" fmla="*/ 171069 h 211931"/>
                <a:gd name="connsiteX35" fmla="*/ 265271 w 377190"/>
                <a:gd name="connsiteY35" fmla="*/ 177641 h 211931"/>
                <a:gd name="connsiteX36" fmla="*/ 260985 w 377190"/>
                <a:gd name="connsiteY36" fmla="*/ 184118 h 211931"/>
                <a:gd name="connsiteX37" fmla="*/ 274987 w 377190"/>
                <a:gd name="connsiteY37" fmla="*/ 193167 h 211931"/>
                <a:gd name="connsiteX38" fmla="*/ 276892 w 377190"/>
                <a:gd name="connsiteY38" fmla="*/ 196025 h 211931"/>
                <a:gd name="connsiteX39" fmla="*/ 276320 w 377190"/>
                <a:gd name="connsiteY39" fmla="*/ 198215 h 211931"/>
                <a:gd name="connsiteX40" fmla="*/ 275939 w 377190"/>
                <a:gd name="connsiteY40" fmla="*/ 200501 h 211931"/>
                <a:gd name="connsiteX41" fmla="*/ 269272 w 377190"/>
                <a:gd name="connsiteY41" fmla="*/ 211931 h 211931"/>
                <a:gd name="connsiteX42" fmla="*/ 245650 w 377190"/>
                <a:gd name="connsiteY42" fmla="*/ 203835 h 211931"/>
                <a:gd name="connsiteX43" fmla="*/ 244793 w 377190"/>
                <a:gd name="connsiteY43" fmla="*/ 205931 h 211931"/>
                <a:gd name="connsiteX44" fmla="*/ 238887 w 377190"/>
                <a:gd name="connsiteY44" fmla="*/ 211169 h 211931"/>
                <a:gd name="connsiteX45" fmla="*/ 229457 w 377190"/>
                <a:gd name="connsiteY45" fmla="*/ 207264 h 211931"/>
                <a:gd name="connsiteX46" fmla="*/ 220599 w 377190"/>
                <a:gd name="connsiteY46" fmla="*/ 203549 h 211931"/>
                <a:gd name="connsiteX47" fmla="*/ 218885 w 377190"/>
                <a:gd name="connsiteY47" fmla="*/ 199263 h 211931"/>
                <a:gd name="connsiteX48" fmla="*/ 198787 w 377190"/>
                <a:gd name="connsiteY48" fmla="*/ 183261 h 211931"/>
                <a:gd name="connsiteX49" fmla="*/ 190024 w 377190"/>
                <a:gd name="connsiteY49" fmla="*/ 171355 h 211931"/>
                <a:gd name="connsiteX50" fmla="*/ 183928 w 377190"/>
                <a:gd name="connsiteY50" fmla="*/ 160306 h 211931"/>
                <a:gd name="connsiteX51" fmla="*/ 176975 w 377190"/>
                <a:gd name="connsiteY51" fmla="*/ 146114 h 211931"/>
                <a:gd name="connsiteX52" fmla="*/ 163068 w 377190"/>
                <a:gd name="connsiteY52" fmla="*/ 142970 h 211931"/>
                <a:gd name="connsiteX53" fmla="*/ 148304 w 377190"/>
                <a:gd name="connsiteY53" fmla="*/ 139827 h 211931"/>
                <a:gd name="connsiteX54" fmla="*/ 138779 w 377190"/>
                <a:gd name="connsiteY54" fmla="*/ 131921 h 211931"/>
                <a:gd name="connsiteX55" fmla="*/ 130969 w 377190"/>
                <a:gd name="connsiteY55" fmla="*/ 138208 h 211931"/>
                <a:gd name="connsiteX56" fmla="*/ 116205 w 377190"/>
                <a:gd name="connsiteY56" fmla="*/ 128683 h 211931"/>
                <a:gd name="connsiteX57" fmla="*/ 99727 w 377190"/>
                <a:gd name="connsiteY57" fmla="*/ 119158 h 211931"/>
                <a:gd name="connsiteX58" fmla="*/ 89345 w 377190"/>
                <a:gd name="connsiteY58" fmla="*/ 114395 h 211931"/>
                <a:gd name="connsiteX59" fmla="*/ 84963 w 377190"/>
                <a:gd name="connsiteY59" fmla="*/ 133350 h 211931"/>
                <a:gd name="connsiteX60" fmla="*/ 74581 w 377190"/>
                <a:gd name="connsiteY60" fmla="*/ 138113 h 211931"/>
                <a:gd name="connsiteX61" fmla="*/ 76295 w 377190"/>
                <a:gd name="connsiteY61" fmla="*/ 152305 h 211931"/>
                <a:gd name="connsiteX62" fmla="*/ 67628 w 377190"/>
                <a:gd name="connsiteY62" fmla="*/ 168116 h 211931"/>
                <a:gd name="connsiteX63" fmla="*/ 53531 w 377190"/>
                <a:gd name="connsiteY63" fmla="*/ 183737 h 211931"/>
                <a:gd name="connsiteX64" fmla="*/ 45434 w 377190"/>
                <a:gd name="connsiteY64" fmla="*/ 171926 h 211931"/>
                <a:gd name="connsiteX65" fmla="*/ 42863 w 377190"/>
                <a:gd name="connsiteY65" fmla="*/ 169164 h 211931"/>
                <a:gd name="connsiteX66" fmla="*/ 35528 w 377190"/>
                <a:gd name="connsiteY66" fmla="*/ 166783 h 211931"/>
                <a:gd name="connsiteX67" fmla="*/ 28670 w 377190"/>
                <a:gd name="connsiteY67" fmla="*/ 164592 h 211931"/>
                <a:gd name="connsiteX68" fmla="*/ 25432 w 377190"/>
                <a:gd name="connsiteY68" fmla="*/ 161639 h 211931"/>
                <a:gd name="connsiteX69" fmla="*/ 22670 w 377190"/>
                <a:gd name="connsiteY69" fmla="*/ 157639 h 211931"/>
                <a:gd name="connsiteX70" fmla="*/ 14764 w 377190"/>
                <a:gd name="connsiteY70" fmla="*/ 150495 h 211931"/>
                <a:gd name="connsiteX71" fmla="*/ 12002 w 377190"/>
                <a:gd name="connsiteY71" fmla="*/ 149257 h 211931"/>
                <a:gd name="connsiteX72" fmla="*/ 3334 w 377190"/>
                <a:gd name="connsiteY72" fmla="*/ 133922 h 211931"/>
                <a:gd name="connsiteX73" fmla="*/ 0 w 377190"/>
                <a:gd name="connsiteY73" fmla="*/ 129826 h 211931"/>
                <a:gd name="connsiteX74" fmla="*/ 11240 w 377190"/>
                <a:gd name="connsiteY74" fmla="*/ 120968 h 211931"/>
                <a:gd name="connsiteX75" fmla="*/ 30766 w 377190"/>
                <a:gd name="connsiteY75" fmla="*/ 100584 h 211931"/>
                <a:gd name="connsiteX76" fmla="*/ 44006 w 377190"/>
                <a:gd name="connsiteY76" fmla="*/ 110776 h 211931"/>
                <a:gd name="connsiteX77" fmla="*/ 57912 w 377190"/>
                <a:gd name="connsiteY77" fmla="*/ 91631 h 211931"/>
                <a:gd name="connsiteX78" fmla="*/ 44672 w 377190"/>
                <a:gd name="connsiteY78" fmla="*/ 85249 h 211931"/>
                <a:gd name="connsiteX79" fmla="*/ 41148 w 377190"/>
                <a:gd name="connsiteY79" fmla="*/ 70485 h 211931"/>
                <a:gd name="connsiteX80" fmla="*/ 49911 w 377190"/>
                <a:gd name="connsiteY80" fmla="*/ 69342 h 211931"/>
                <a:gd name="connsiteX81" fmla="*/ 58579 w 377190"/>
                <a:gd name="connsiteY81" fmla="*/ 60579 h 211931"/>
                <a:gd name="connsiteX82" fmla="*/ 67247 w 377190"/>
                <a:gd name="connsiteY82" fmla="*/ 56579 h 211931"/>
                <a:gd name="connsiteX83" fmla="*/ 85630 w 377190"/>
                <a:gd name="connsiteY83" fmla="*/ 43053 h 211931"/>
                <a:gd name="connsiteX84" fmla="*/ 98489 w 377190"/>
                <a:gd name="connsiteY84" fmla="*/ 48673 h 211931"/>
                <a:gd name="connsiteX85" fmla="*/ 112871 w 377190"/>
                <a:gd name="connsiteY85" fmla="*/ 51911 h 211931"/>
                <a:gd name="connsiteX86" fmla="*/ 118015 w 377190"/>
                <a:gd name="connsiteY86" fmla="*/ 51054 h 211931"/>
                <a:gd name="connsiteX87" fmla="*/ 129064 w 377190"/>
                <a:gd name="connsiteY87" fmla="*/ 42577 h 211931"/>
                <a:gd name="connsiteX88" fmla="*/ 136589 w 377190"/>
                <a:gd name="connsiteY88" fmla="*/ 39338 h 211931"/>
                <a:gd name="connsiteX89" fmla="*/ 143066 w 377190"/>
                <a:gd name="connsiteY89" fmla="*/ 38291 h 211931"/>
                <a:gd name="connsiteX90" fmla="*/ 151543 w 377190"/>
                <a:gd name="connsiteY90" fmla="*/ 42005 h 211931"/>
                <a:gd name="connsiteX91" fmla="*/ 160687 w 377190"/>
                <a:gd name="connsiteY91" fmla="*/ 39053 h 211931"/>
                <a:gd name="connsiteX92" fmla="*/ 174784 w 377190"/>
                <a:gd name="connsiteY92" fmla="*/ 43053 h 211931"/>
                <a:gd name="connsiteX93" fmla="*/ 216122 w 377190"/>
                <a:gd name="connsiteY93" fmla="*/ 31052 h 211931"/>
                <a:gd name="connsiteX94" fmla="*/ 251746 w 377190"/>
                <a:gd name="connsiteY94" fmla="*/ 42863 h 211931"/>
                <a:gd name="connsiteX95" fmla="*/ 258604 w 377190"/>
                <a:gd name="connsiteY95" fmla="*/ 42482 h 211931"/>
                <a:gd name="connsiteX96" fmla="*/ 257366 w 377190"/>
                <a:gd name="connsiteY96" fmla="*/ 40862 h 211931"/>
                <a:gd name="connsiteX97" fmla="*/ 256699 w 377190"/>
                <a:gd name="connsiteY97" fmla="*/ 39053 h 211931"/>
                <a:gd name="connsiteX98" fmla="*/ 256985 w 377190"/>
                <a:gd name="connsiteY98" fmla="*/ 36862 h 211931"/>
                <a:gd name="connsiteX99" fmla="*/ 260699 w 377190"/>
                <a:gd name="connsiteY99" fmla="*/ 33623 h 211931"/>
                <a:gd name="connsiteX100" fmla="*/ 262604 w 377190"/>
                <a:gd name="connsiteY100" fmla="*/ 29623 h 211931"/>
                <a:gd name="connsiteX101" fmla="*/ 267653 w 377190"/>
                <a:gd name="connsiteY101" fmla="*/ 25527 h 211931"/>
                <a:gd name="connsiteX102" fmla="*/ 271272 w 377190"/>
                <a:gd name="connsiteY102" fmla="*/ 21050 h 211931"/>
                <a:gd name="connsiteX103" fmla="*/ 288131 w 377190"/>
                <a:gd name="connsiteY103" fmla="*/ 12192 h 211931"/>
                <a:gd name="connsiteX104" fmla="*/ 294513 w 377190"/>
                <a:gd name="connsiteY104" fmla="*/ 12192 h 211931"/>
                <a:gd name="connsiteX105" fmla="*/ 298704 w 377190"/>
                <a:gd name="connsiteY105" fmla="*/ 14764 h 211931"/>
                <a:gd name="connsiteX106" fmla="*/ 301466 w 377190"/>
                <a:gd name="connsiteY106" fmla="*/ 19622 h 211931"/>
                <a:gd name="connsiteX107" fmla="*/ 303562 w 377190"/>
                <a:gd name="connsiteY107" fmla="*/ 24765 h 211931"/>
                <a:gd name="connsiteX108" fmla="*/ 304800 w 377190"/>
                <a:gd name="connsiteY108" fmla="*/ 29432 h 211931"/>
                <a:gd name="connsiteX109" fmla="*/ 305372 w 377190"/>
                <a:gd name="connsiteY109" fmla="*/ 32957 h 211931"/>
                <a:gd name="connsiteX110" fmla="*/ 305657 w 377190"/>
                <a:gd name="connsiteY110" fmla="*/ 37719 h 211931"/>
                <a:gd name="connsiteX111" fmla="*/ 314801 w 377190"/>
                <a:gd name="connsiteY111" fmla="*/ 40672 h 211931"/>
                <a:gd name="connsiteX112" fmla="*/ 326803 w 377190"/>
                <a:gd name="connsiteY112" fmla="*/ 32576 h 211931"/>
                <a:gd name="connsiteX113" fmla="*/ 336899 w 377190"/>
                <a:gd name="connsiteY113" fmla="*/ 17621 h 211931"/>
                <a:gd name="connsiteX114" fmla="*/ 335947 w 377190"/>
                <a:gd name="connsiteY114" fmla="*/ 12002 h 211931"/>
                <a:gd name="connsiteX115" fmla="*/ 334899 w 377190"/>
                <a:gd name="connsiteY115" fmla="*/ 8763 h 211931"/>
                <a:gd name="connsiteX116" fmla="*/ 334709 w 377190"/>
                <a:gd name="connsiteY116" fmla="*/ 1905 h 211931"/>
                <a:gd name="connsiteX117" fmla="*/ 343186 w 377190"/>
                <a:gd name="connsiteY117" fmla="*/ 4191 h 21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377190" h="211931">
                  <a:moveTo>
                    <a:pt x="343376" y="4382"/>
                  </a:moveTo>
                  <a:lnTo>
                    <a:pt x="344900" y="3905"/>
                  </a:lnTo>
                  <a:lnTo>
                    <a:pt x="350996" y="0"/>
                  </a:lnTo>
                  <a:lnTo>
                    <a:pt x="352711" y="9430"/>
                  </a:lnTo>
                  <a:lnTo>
                    <a:pt x="358521" y="15526"/>
                  </a:lnTo>
                  <a:lnTo>
                    <a:pt x="358807" y="21431"/>
                  </a:lnTo>
                  <a:lnTo>
                    <a:pt x="362141" y="27242"/>
                  </a:lnTo>
                  <a:lnTo>
                    <a:pt x="364427" y="36385"/>
                  </a:lnTo>
                  <a:lnTo>
                    <a:pt x="367856" y="44101"/>
                  </a:lnTo>
                  <a:lnTo>
                    <a:pt x="368046" y="52102"/>
                  </a:lnTo>
                  <a:lnTo>
                    <a:pt x="364808" y="57626"/>
                  </a:lnTo>
                  <a:lnTo>
                    <a:pt x="362998" y="61722"/>
                  </a:lnTo>
                  <a:lnTo>
                    <a:pt x="361855" y="65056"/>
                  </a:lnTo>
                  <a:lnTo>
                    <a:pt x="361855" y="68866"/>
                  </a:lnTo>
                  <a:cubicBezTo>
                    <a:pt x="361855" y="68866"/>
                    <a:pt x="363569" y="71533"/>
                    <a:pt x="363569" y="71533"/>
                  </a:cubicBezTo>
                  <a:lnTo>
                    <a:pt x="366332" y="74486"/>
                  </a:lnTo>
                  <a:lnTo>
                    <a:pt x="368808" y="78105"/>
                  </a:lnTo>
                  <a:lnTo>
                    <a:pt x="377190" y="86011"/>
                  </a:lnTo>
                  <a:lnTo>
                    <a:pt x="349187" y="90869"/>
                  </a:lnTo>
                  <a:lnTo>
                    <a:pt x="349663" y="98108"/>
                  </a:lnTo>
                  <a:lnTo>
                    <a:pt x="349282" y="100394"/>
                  </a:lnTo>
                  <a:lnTo>
                    <a:pt x="352425" y="105823"/>
                  </a:lnTo>
                  <a:lnTo>
                    <a:pt x="355949" y="108871"/>
                  </a:lnTo>
                  <a:lnTo>
                    <a:pt x="357378" y="115157"/>
                  </a:lnTo>
                  <a:lnTo>
                    <a:pt x="358045" y="119729"/>
                  </a:lnTo>
                  <a:lnTo>
                    <a:pt x="357664" y="129445"/>
                  </a:lnTo>
                  <a:lnTo>
                    <a:pt x="331184" y="156401"/>
                  </a:lnTo>
                  <a:lnTo>
                    <a:pt x="313182" y="166307"/>
                  </a:lnTo>
                  <a:lnTo>
                    <a:pt x="308039" y="167164"/>
                  </a:lnTo>
                  <a:lnTo>
                    <a:pt x="302990" y="165164"/>
                  </a:lnTo>
                  <a:lnTo>
                    <a:pt x="298418" y="165354"/>
                  </a:lnTo>
                  <a:lnTo>
                    <a:pt x="298609" y="167640"/>
                  </a:lnTo>
                  <a:lnTo>
                    <a:pt x="299466" y="171831"/>
                  </a:lnTo>
                  <a:lnTo>
                    <a:pt x="287750" y="168593"/>
                  </a:lnTo>
                  <a:lnTo>
                    <a:pt x="275844" y="171069"/>
                  </a:lnTo>
                  <a:lnTo>
                    <a:pt x="265271" y="177641"/>
                  </a:lnTo>
                  <a:lnTo>
                    <a:pt x="260985" y="184118"/>
                  </a:lnTo>
                  <a:lnTo>
                    <a:pt x="274987" y="193167"/>
                  </a:lnTo>
                  <a:lnTo>
                    <a:pt x="276892" y="196025"/>
                  </a:lnTo>
                  <a:lnTo>
                    <a:pt x="276320" y="198215"/>
                  </a:lnTo>
                  <a:lnTo>
                    <a:pt x="275939" y="200501"/>
                  </a:lnTo>
                  <a:lnTo>
                    <a:pt x="269272" y="211931"/>
                  </a:lnTo>
                  <a:lnTo>
                    <a:pt x="245650" y="203835"/>
                  </a:lnTo>
                  <a:lnTo>
                    <a:pt x="244793" y="205931"/>
                  </a:lnTo>
                  <a:lnTo>
                    <a:pt x="238887" y="211169"/>
                  </a:lnTo>
                  <a:lnTo>
                    <a:pt x="229457" y="207264"/>
                  </a:lnTo>
                  <a:lnTo>
                    <a:pt x="220599" y="203549"/>
                  </a:lnTo>
                  <a:lnTo>
                    <a:pt x="218885" y="199263"/>
                  </a:lnTo>
                  <a:lnTo>
                    <a:pt x="198787" y="183261"/>
                  </a:lnTo>
                  <a:lnTo>
                    <a:pt x="190024" y="171355"/>
                  </a:lnTo>
                  <a:lnTo>
                    <a:pt x="183928" y="160306"/>
                  </a:lnTo>
                  <a:lnTo>
                    <a:pt x="176975" y="146114"/>
                  </a:lnTo>
                  <a:lnTo>
                    <a:pt x="163068" y="142970"/>
                  </a:lnTo>
                  <a:lnTo>
                    <a:pt x="148304" y="139827"/>
                  </a:lnTo>
                  <a:lnTo>
                    <a:pt x="138779" y="131921"/>
                  </a:lnTo>
                  <a:lnTo>
                    <a:pt x="130969" y="138208"/>
                  </a:lnTo>
                  <a:lnTo>
                    <a:pt x="116205" y="128683"/>
                  </a:lnTo>
                  <a:lnTo>
                    <a:pt x="99727" y="119158"/>
                  </a:lnTo>
                  <a:lnTo>
                    <a:pt x="89345" y="114395"/>
                  </a:lnTo>
                  <a:lnTo>
                    <a:pt x="84963" y="133350"/>
                  </a:lnTo>
                  <a:lnTo>
                    <a:pt x="74581" y="138113"/>
                  </a:lnTo>
                  <a:lnTo>
                    <a:pt x="76295" y="152305"/>
                  </a:lnTo>
                  <a:lnTo>
                    <a:pt x="67628" y="168116"/>
                  </a:lnTo>
                  <a:lnTo>
                    <a:pt x="53531" y="183737"/>
                  </a:lnTo>
                  <a:lnTo>
                    <a:pt x="45434" y="171926"/>
                  </a:lnTo>
                  <a:lnTo>
                    <a:pt x="42863" y="169164"/>
                  </a:lnTo>
                  <a:lnTo>
                    <a:pt x="35528" y="166783"/>
                  </a:lnTo>
                  <a:lnTo>
                    <a:pt x="28670" y="164592"/>
                  </a:lnTo>
                  <a:lnTo>
                    <a:pt x="25432" y="161639"/>
                  </a:lnTo>
                  <a:lnTo>
                    <a:pt x="22670" y="157639"/>
                  </a:lnTo>
                  <a:lnTo>
                    <a:pt x="14764" y="150495"/>
                  </a:lnTo>
                  <a:lnTo>
                    <a:pt x="12002" y="149257"/>
                  </a:lnTo>
                  <a:lnTo>
                    <a:pt x="3334" y="133922"/>
                  </a:lnTo>
                  <a:lnTo>
                    <a:pt x="0" y="129826"/>
                  </a:lnTo>
                  <a:lnTo>
                    <a:pt x="11240" y="120968"/>
                  </a:lnTo>
                  <a:lnTo>
                    <a:pt x="30766" y="100584"/>
                  </a:lnTo>
                  <a:lnTo>
                    <a:pt x="44006" y="110776"/>
                  </a:lnTo>
                  <a:lnTo>
                    <a:pt x="57912" y="91631"/>
                  </a:lnTo>
                  <a:lnTo>
                    <a:pt x="44672" y="85249"/>
                  </a:lnTo>
                  <a:lnTo>
                    <a:pt x="41148" y="70485"/>
                  </a:lnTo>
                  <a:lnTo>
                    <a:pt x="49911" y="69342"/>
                  </a:lnTo>
                  <a:lnTo>
                    <a:pt x="58579" y="60579"/>
                  </a:lnTo>
                  <a:lnTo>
                    <a:pt x="67247" y="56579"/>
                  </a:lnTo>
                  <a:lnTo>
                    <a:pt x="85630" y="43053"/>
                  </a:lnTo>
                  <a:lnTo>
                    <a:pt x="98489" y="48673"/>
                  </a:lnTo>
                  <a:lnTo>
                    <a:pt x="112871" y="51911"/>
                  </a:lnTo>
                  <a:lnTo>
                    <a:pt x="118015" y="51054"/>
                  </a:lnTo>
                  <a:lnTo>
                    <a:pt x="129064" y="42577"/>
                  </a:lnTo>
                  <a:lnTo>
                    <a:pt x="136589" y="39338"/>
                  </a:lnTo>
                  <a:lnTo>
                    <a:pt x="143066" y="38291"/>
                  </a:lnTo>
                  <a:lnTo>
                    <a:pt x="151543" y="42005"/>
                  </a:lnTo>
                  <a:lnTo>
                    <a:pt x="160687" y="39053"/>
                  </a:lnTo>
                  <a:lnTo>
                    <a:pt x="174784" y="43053"/>
                  </a:lnTo>
                  <a:lnTo>
                    <a:pt x="216122" y="31052"/>
                  </a:lnTo>
                  <a:lnTo>
                    <a:pt x="251746" y="42863"/>
                  </a:lnTo>
                  <a:lnTo>
                    <a:pt x="258604" y="42482"/>
                  </a:lnTo>
                  <a:lnTo>
                    <a:pt x="257366" y="40862"/>
                  </a:lnTo>
                  <a:lnTo>
                    <a:pt x="256699" y="39053"/>
                  </a:lnTo>
                  <a:lnTo>
                    <a:pt x="256985" y="36862"/>
                  </a:lnTo>
                  <a:lnTo>
                    <a:pt x="260699" y="33623"/>
                  </a:lnTo>
                  <a:lnTo>
                    <a:pt x="262604" y="29623"/>
                  </a:lnTo>
                  <a:lnTo>
                    <a:pt x="267653" y="25527"/>
                  </a:lnTo>
                  <a:lnTo>
                    <a:pt x="271272" y="21050"/>
                  </a:lnTo>
                  <a:lnTo>
                    <a:pt x="288131" y="12192"/>
                  </a:lnTo>
                  <a:lnTo>
                    <a:pt x="294513" y="12192"/>
                  </a:lnTo>
                  <a:cubicBezTo>
                    <a:pt x="294513" y="12192"/>
                    <a:pt x="298704" y="14764"/>
                    <a:pt x="298704" y="14764"/>
                  </a:cubicBezTo>
                  <a:lnTo>
                    <a:pt x="301466" y="19622"/>
                  </a:lnTo>
                  <a:lnTo>
                    <a:pt x="303562" y="24765"/>
                  </a:lnTo>
                  <a:lnTo>
                    <a:pt x="304800" y="29432"/>
                  </a:lnTo>
                  <a:lnTo>
                    <a:pt x="305372" y="32957"/>
                  </a:lnTo>
                  <a:lnTo>
                    <a:pt x="305657" y="37719"/>
                  </a:lnTo>
                  <a:lnTo>
                    <a:pt x="314801" y="40672"/>
                  </a:lnTo>
                  <a:lnTo>
                    <a:pt x="326803" y="32576"/>
                  </a:lnTo>
                  <a:lnTo>
                    <a:pt x="336899" y="17621"/>
                  </a:lnTo>
                  <a:lnTo>
                    <a:pt x="335947" y="12002"/>
                  </a:lnTo>
                  <a:lnTo>
                    <a:pt x="334899" y="8763"/>
                  </a:lnTo>
                  <a:lnTo>
                    <a:pt x="334709" y="1905"/>
                  </a:lnTo>
                  <a:lnTo>
                    <a:pt x="343186" y="4191"/>
                  </a:lnTo>
                </a:path>
              </a:pathLst>
            </a:custGeom>
            <a:grpFill/>
            <a:ln w="2381" cap="sq">
              <a:noFill/>
              <a:prstDash val="solid"/>
              <a:bevel/>
            </a:ln>
          </p:spPr>
          <p:txBody>
            <a:bodyPr rtlCol="0" anchor="ctr"/>
            <a:lstStyle/>
            <a:p>
              <a:endParaRPr lang="cs-CZ"/>
            </a:p>
          </p:txBody>
        </p:sp>
        <p:sp>
          <p:nvSpPr>
            <p:cNvPr id="254" name="Freeform: Shape 253">
              <a:extLst>
                <a:ext uri="{FF2B5EF4-FFF2-40B4-BE49-F238E27FC236}">
                  <a16:creationId xmlns:a16="http://schemas.microsoft.com/office/drawing/2014/main" id="{A81DE49C-7C8B-CF41-5C40-70763DEEF731}"/>
                </a:ext>
              </a:extLst>
            </p:cNvPr>
            <p:cNvSpPr/>
            <p:nvPr/>
          </p:nvSpPr>
          <p:spPr>
            <a:xfrm>
              <a:off x="12900944" y="7939973"/>
              <a:ext cx="173640" cy="136207"/>
            </a:xfrm>
            <a:custGeom>
              <a:avLst/>
              <a:gdLst>
                <a:gd name="connsiteX0" fmla="*/ 169640 w 173640"/>
                <a:gd name="connsiteY0" fmla="*/ 90869 h 136207"/>
                <a:gd name="connsiteX1" fmla="*/ 151257 w 173640"/>
                <a:gd name="connsiteY1" fmla="*/ 104394 h 136207"/>
                <a:gd name="connsiteX2" fmla="*/ 142589 w 173640"/>
                <a:gd name="connsiteY2" fmla="*/ 108394 h 136207"/>
                <a:gd name="connsiteX3" fmla="*/ 133921 w 173640"/>
                <a:gd name="connsiteY3" fmla="*/ 117158 h 136207"/>
                <a:gd name="connsiteX4" fmla="*/ 125158 w 173640"/>
                <a:gd name="connsiteY4" fmla="*/ 118300 h 136207"/>
                <a:gd name="connsiteX5" fmla="*/ 78867 w 173640"/>
                <a:gd name="connsiteY5" fmla="*/ 124587 h 136207"/>
                <a:gd name="connsiteX6" fmla="*/ 57817 w 173640"/>
                <a:gd name="connsiteY6" fmla="*/ 115062 h 136207"/>
                <a:gd name="connsiteX7" fmla="*/ 52673 w 173640"/>
                <a:gd name="connsiteY7" fmla="*/ 117634 h 136207"/>
                <a:gd name="connsiteX8" fmla="*/ 54388 w 173640"/>
                <a:gd name="connsiteY8" fmla="*/ 130873 h 136207"/>
                <a:gd name="connsiteX9" fmla="*/ 52959 w 173640"/>
                <a:gd name="connsiteY9" fmla="*/ 134302 h 136207"/>
                <a:gd name="connsiteX10" fmla="*/ 49911 w 173640"/>
                <a:gd name="connsiteY10" fmla="*/ 136208 h 136207"/>
                <a:gd name="connsiteX11" fmla="*/ 46768 w 173640"/>
                <a:gd name="connsiteY11" fmla="*/ 135255 h 136207"/>
                <a:gd name="connsiteX12" fmla="*/ 44387 w 173640"/>
                <a:gd name="connsiteY12" fmla="*/ 132588 h 136207"/>
                <a:gd name="connsiteX13" fmla="*/ 42100 w 173640"/>
                <a:gd name="connsiteY13" fmla="*/ 128969 h 136207"/>
                <a:gd name="connsiteX14" fmla="*/ 38005 w 173640"/>
                <a:gd name="connsiteY14" fmla="*/ 126302 h 136207"/>
                <a:gd name="connsiteX15" fmla="*/ 33338 w 173640"/>
                <a:gd name="connsiteY15" fmla="*/ 124396 h 136207"/>
                <a:gd name="connsiteX16" fmla="*/ 22288 w 173640"/>
                <a:gd name="connsiteY16" fmla="*/ 97346 h 136207"/>
                <a:gd name="connsiteX17" fmla="*/ 13240 w 173640"/>
                <a:gd name="connsiteY17" fmla="*/ 96107 h 136207"/>
                <a:gd name="connsiteX18" fmla="*/ 0 w 173640"/>
                <a:gd name="connsiteY18" fmla="*/ 83344 h 136207"/>
                <a:gd name="connsiteX19" fmla="*/ 9430 w 173640"/>
                <a:gd name="connsiteY19" fmla="*/ 66485 h 136207"/>
                <a:gd name="connsiteX20" fmla="*/ 11525 w 173640"/>
                <a:gd name="connsiteY20" fmla="*/ 47339 h 136207"/>
                <a:gd name="connsiteX21" fmla="*/ 31051 w 173640"/>
                <a:gd name="connsiteY21" fmla="*/ 42196 h 136207"/>
                <a:gd name="connsiteX22" fmla="*/ 62389 w 173640"/>
                <a:gd name="connsiteY22" fmla="*/ 42196 h 136207"/>
                <a:gd name="connsiteX23" fmla="*/ 58198 w 173640"/>
                <a:gd name="connsiteY23" fmla="*/ 6382 h 136207"/>
                <a:gd name="connsiteX24" fmla="*/ 67913 w 173640"/>
                <a:gd name="connsiteY24" fmla="*/ 0 h 136207"/>
                <a:gd name="connsiteX25" fmla="*/ 75438 w 173640"/>
                <a:gd name="connsiteY25" fmla="*/ 762 h 136207"/>
                <a:gd name="connsiteX26" fmla="*/ 81058 w 173640"/>
                <a:gd name="connsiteY26" fmla="*/ 1333 h 136207"/>
                <a:gd name="connsiteX27" fmla="*/ 100584 w 173640"/>
                <a:gd name="connsiteY27" fmla="*/ 95 h 136207"/>
                <a:gd name="connsiteX28" fmla="*/ 115919 w 173640"/>
                <a:gd name="connsiteY28" fmla="*/ 34671 h 136207"/>
                <a:gd name="connsiteX29" fmla="*/ 138208 w 173640"/>
                <a:gd name="connsiteY29" fmla="*/ 51244 h 136207"/>
                <a:gd name="connsiteX30" fmla="*/ 156972 w 173640"/>
                <a:gd name="connsiteY30" fmla="*/ 44863 h 136207"/>
                <a:gd name="connsiteX31" fmla="*/ 173641 w 173640"/>
                <a:gd name="connsiteY31" fmla="*/ 51244 h 136207"/>
                <a:gd name="connsiteX32" fmla="*/ 172974 w 173640"/>
                <a:gd name="connsiteY32" fmla="*/ 67818 h 136207"/>
                <a:gd name="connsiteX33" fmla="*/ 169640 w 173640"/>
                <a:gd name="connsiteY33" fmla="*/ 90964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73640" h="136207">
                  <a:moveTo>
                    <a:pt x="169640" y="90869"/>
                  </a:moveTo>
                  <a:lnTo>
                    <a:pt x="151257" y="104394"/>
                  </a:lnTo>
                  <a:lnTo>
                    <a:pt x="142589" y="108394"/>
                  </a:lnTo>
                  <a:lnTo>
                    <a:pt x="133921" y="117158"/>
                  </a:lnTo>
                  <a:lnTo>
                    <a:pt x="125158" y="118300"/>
                  </a:lnTo>
                  <a:lnTo>
                    <a:pt x="78867" y="124587"/>
                  </a:lnTo>
                  <a:lnTo>
                    <a:pt x="57817" y="115062"/>
                  </a:lnTo>
                  <a:lnTo>
                    <a:pt x="52673" y="117634"/>
                  </a:lnTo>
                  <a:lnTo>
                    <a:pt x="54388" y="130873"/>
                  </a:lnTo>
                  <a:lnTo>
                    <a:pt x="52959" y="134302"/>
                  </a:lnTo>
                  <a:lnTo>
                    <a:pt x="49911" y="136208"/>
                  </a:lnTo>
                  <a:lnTo>
                    <a:pt x="46768" y="135255"/>
                  </a:lnTo>
                  <a:lnTo>
                    <a:pt x="44387" y="132588"/>
                  </a:lnTo>
                  <a:lnTo>
                    <a:pt x="42100" y="128969"/>
                  </a:lnTo>
                  <a:lnTo>
                    <a:pt x="38005" y="126302"/>
                  </a:lnTo>
                  <a:lnTo>
                    <a:pt x="33338" y="124396"/>
                  </a:lnTo>
                  <a:lnTo>
                    <a:pt x="22288" y="97346"/>
                  </a:lnTo>
                  <a:lnTo>
                    <a:pt x="13240" y="96107"/>
                  </a:lnTo>
                  <a:lnTo>
                    <a:pt x="0" y="83344"/>
                  </a:lnTo>
                  <a:lnTo>
                    <a:pt x="9430" y="66485"/>
                  </a:lnTo>
                  <a:lnTo>
                    <a:pt x="11525" y="47339"/>
                  </a:lnTo>
                  <a:lnTo>
                    <a:pt x="31051" y="42196"/>
                  </a:lnTo>
                  <a:lnTo>
                    <a:pt x="62389" y="42196"/>
                  </a:lnTo>
                  <a:lnTo>
                    <a:pt x="58198" y="6382"/>
                  </a:lnTo>
                  <a:lnTo>
                    <a:pt x="67913" y="0"/>
                  </a:lnTo>
                  <a:lnTo>
                    <a:pt x="75438" y="762"/>
                  </a:lnTo>
                  <a:lnTo>
                    <a:pt x="81058" y="1333"/>
                  </a:lnTo>
                  <a:lnTo>
                    <a:pt x="100584" y="95"/>
                  </a:lnTo>
                  <a:lnTo>
                    <a:pt x="115919" y="34671"/>
                  </a:lnTo>
                  <a:lnTo>
                    <a:pt x="138208" y="51244"/>
                  </a:lnTo>
                  <a:lnTo>
                    <a:pt x="156972" y="44863"/>
                  </a:lnTo>
                  <a:lnTo>
                    <a:pt x="173641" y="51244"/>
                  </a:lnTo>
                  <a:lnTo>
                    <a:pt x="172974" y="67818"/>
                  </a:lnTo>
                  <a:lnTo>
                    <a:pt x="169640" y="90964"/>
                  </a:lnTo>
                </a:path>
              </a:pathLst>
            </a:custGeom>
            <a:grpFill/>
            <a:ln w="2381" cap="sq">
              <a:noFill/>
              <a:prstDash val="solid"/>
              <a:bevel/>
            </a:ln>
          </p:spPr>
          <p:txBody>
            <a:bodyPr rtlCol="0" anchor="ctr"/>
            <a:lstStyle/>
            <a:p>
              <a:endParaRPr lang="cs-CZ"/>
            </a:p>
          </p:txBody>
        </p:sp>
        <p:sp>
          <p:nvSpPr>
            <p:cNvPr id="255" name="Freeform: Shape 254">
              <a:extLst>
                <a:ext uri="{FF2B5EF4-FFF2-40B4-BE49-F238E27FC236}">
                  <a16:creationId xmlns:a16="http://schemas.microsoft.com/office/drawing/2014/main" id="{82D05170-4031-5771-A9A9-9D3AE556B687}"/>
                </a:ext>
              </a:extLst>
            </p:cNvPr>
            <p:cNvSpPr/>
            <p:nvPr/>
          </p:nvSpPr>
          <p:spPr>
            <a:xfrm>
              <a:off x="12925995" y="8054940"/>
              <a:ext cx="117062" cy="62579"/>
            </a:xfrm>
            <a:custGeom>
              <a:avLst/>
              <a:gdLst>
                <a:gd name="connsiteX0" fmla="*/ 29813 w 117062"/>
                <a:gd name="connsiteY0" fmla="*/ 59055 h 62579"/>
                <a:gd name="connsiteX1" fmla="*/ 26956 w 117062"/>
                <a:gd name="connsiteY1" fmla="*/ 58007 h 62579"/>
                <a:gd name="connsiteX2" fmla="*/ 15526 w 117062"/>
                <a:gd name="connsiteY2" fmla="*/ 48292 h 62579"/>
                <a:gd name="connsiteX3" fmla="*/ 8477 w 117062"/>
                <a:gd name="connsiteY3" fmla="*/ 44482 h 62579"/>
                <a:gd name="connsiteX4" fmla="*/ 6286 w 117062"/>
                <a:gd name="connsiteY4" fmla="*/ 44196 h 62579"/>
                <a:gd name="connsiteX5" fmla="*/ 3143 w 117062"/>
                <a:gd name="connsiteY5" fmla="*/ 44387 h 62579"/>
                <a:gd name="connsiteX6" fmla="*/ 2762 w 117062"/>
                <a:gd name="connsiteY6" fmla="*/ 38957 h 62579"/>
                <a:gd name="connsiteX7" fmla="*/ 4572 w 117062"/>
                <a:gd name="connsiteY7" fmla="*/ 30194 h 62579"/>
                <a:gd name="connsiteX8" fmla="*/ 4858 w 117062"/>
                <a:gd name="connsiteY8" fmla="*/ 24479 h 62579"/>
                <a:gd name="connsiteX9" fmla="*/ 3429 w 117062"/>
                <a:gd name="connsiteY9" fmla="*/ 19621 h 62579"/>
                <a:gd name="connsiteX10" fmla="*/ 857 w 117062"/>
                <a:gd name="connsiteY10" fmla="*/ 15431 h 62579"/>
                <a:gd name="connsiteX11" fmla="*/ 0 w 117062"/>
                <a:gd name="connsiteY11" fmla="*/ 11335 h 62579"/>
                <a:gd name="connsiteX12" fmla="*/ 1619 w 117062"/>
                <a:gd name="connsiteY12" fmla="*/ 8858 h 62579"/>
                <a:gd name="connsiteX13" fmla="*/ 8477 w 117062"/>
                <a:gd name="connsiteY13" fmla="*/ 9335 h 62579"/>
                <a:gd name="connsiteX14" fmla="*/ 13144 w 117062"/>
                <a:gd name="connsiteY14" fmla="*/ 11240 h 62579"/>
                <a:gd name="connsiteX15" fmla="*/ 17240 w 117062"/>
                <a:gd name="connsiteY15" fmla="*/ 13906 h 62579"/>
                <a:gd name="connsiteX16" fmla="*/ 19526 w 117062"/>
                <a:gd name="connsiteY16" fmla="*/ 17526 h 62579"/>
                <a:gd name="connsiteX17" fmla="*/ 21907 w 117062"/>
                <a:gd name="connsiteY17" fmla="*/ 20193 h 62579"/>
                <a:gd name="connsiteX18" fmla="*/ 25051 w 117062"/>
                <a:gd name="connsiteY18" fmla="*/ 21146 h 62579"/>
                <a:gd name="connsiteX19" fmla="*/ 28099 w 117062"/>
                <a:gd name="connsiteY19" fmla="*/ 19241 h 62579"/>
                <a:gd name="connsiteX20" fmla="*/ 29527 w 117062"/>
                <a:gd name="connsiteY20" fmla="*/ 15812 h 62579"/>
                <a:gd name="connsiteX21" fmla="*/ 27813 w 117062"/>
                <a:gd name="connsiteY21" fmla="*/ 2572 h 62579"/>
                <a:gd name="connsiteX22" fmla="*/ 32956 w 117062"/>
                <a:gd name="connsiteY22" fmla="*/ 0 h 62579"/>
                <a:gd name="connsiteX23" fmla="*/ 54007 w 117062"/>
                <a:gd name="connsiteY23" fmla="*/ 9525 h 62579"/>
                <a:gd name="connsiteX24" fmla="*/ 100298 w 117062"/>
                <a:gd name="connsiteY24" fmla="*/ 3239 h 62579"/>
                <a:gd name="connsiteX25" fmla="*/ 103822 w 117062"/>
                <a:gd name="connsiteY25" fmla="*/ 18002 h 62579"/>
                <a:gd name="connsiteX26" fmla="*/ 117062 w 117062"/>
                <a:gd name="connsiteY26" fmla="*/ 24384 h 62579"/>
                <a:gd name="connsiteX27" fmla="*/ 103156 w 117062"/>
                <a:gd name="connsiteY27" fmla="*/ 43529 h 62579"/>
                <a:gd name="connsiteX28" fmla="*/ 89916 w 117062"/>
                <a:gd name="connsiteY28" fmla="*/ 33338 h 62579"/>
                <a:gd name="connsiteX29" fmla="*/ 70390 w 117062"/>
                <a:gd name="connsiteY29" fmla="*/ 53721 h 62579"/>
                <a:gd name="connsiteX30" fmla="*/ 59150 w 117062"/>
                <a:gd name="connsiteY30" fmla="*/ 62579 h 62579"/>
                <a:gd name="connsiteX31" fmla="*/ 50673 w 117062"/>
                <a:gd name="connsiteY31" fmla="*/ 59531 h 62579"/>
                <a:gd name="connsiteX32" fmla="*/ 34957 w 117062"/>
                <a:gd name="connsiteY32" fmla="*/ 61055 h 62579"/>
                <a:gd name="connsiteX33" fmla="*/ 29908 w 117062"/>
                <a:gd name="connsiteY33" fmla="*/ 59055 h 6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7062" h="62579">
                  <a:moveTo>
                    <a:pt x="29813" y="59055"/>
                  </a:moveTo>
                  <a:lnTo>
                    <a:pt x="26956" y="58007"/>
                  </a:lnTo>
                  <a:lnTo>
                    <a:pt x="15526" y="48292"/>
                  </a:lnTo>
                  <a:lnTo>
                    <a:pt x="8477" y="44482"/>
                  </a:lnTo>
                  <a:lnTo>
                    <a:pt x="6286" y="44196"/>
                  </a:lnTo>
                  <a:lnTo>
                    <a:pt x="3143" y="44387"/>
                  </a:lnTo>
                  <a:lnTo>
                    <a:pt x="2762" y="38957"/>
                  </a:lnTo>
                  <a:lnTo>
                    <a:pt x="4572" y="30194"/>
                  </a:lnTo>
                  <a:lnTo>
                    <a:pt x="4858" y="24479"/>
                  </a:lnTo>
                  <a:lnTo>
                    <a:pt x="3429" y="19621"/>
                  </a:lnTo>
                  <a:lnTo>
                    <a:pt x="857" y="15431"/>
                  </a:lnTo>
                  <a:lnTo>
                    <a:pt x="0" y="11335"/>
                  </a:lnTo>
                  <a:lnTo>
                    <a:pt x="1619" y="8858"/>
                  </a:lnTo>
                  <a:lnTo>
                    <a:pt x="8477" y="9335"/>
                  </a:lnTo>
                  <a:lnTo>
                    <a:pt x="13144" y="11240"/>
                  </a:lnTo>
                  <a:lnTo>
                    <a:pt x="17240" y="13906"/>
                  </a:lnTo>
                  <a:lnTo>
                    <a:pt x="19526" y="17526"/>
                  </a:lnTo>
                  <a:lnTo>
                    <a:pt x="21907" y="20193"/>
                  </a:lnTo>
                  <a:lnTo>
                    <a:pt x="25051" y="21146"/>
                  </a:lnTo>
                  <a:lnTo>
                    <a:pt x="28099" y="19241"/>
                  </a:lnTo>
                  <a:lnTo>
                    <a:pt x="29527" y="15812"/>
                  </a:lnTo>
                  <a:lnTo>
                    <a:pt x="27813" y="2572"/>
                  </a:lnTo>
                  <a:lnTo>
                    <a:pt x="32956" y="0"/>
                  </a:lnTo>
                  <a:lnTo>
                    <a:pt x="54007" y="9525"/>
                  </a:lnTo>
                  <a:lnTo>
                    <a:pt x="100298" y="3239"/>
                  </a:lnTo>
                  <a:lnTo>
                    <a:pt x="103822" y="18002"/>
                  </a:lnTo>
                  <a:lnTo>
                    <a:pt x="117062" y="24384"/>
                  </a:lnTo>
                  <a:lnTo>
                    <a:pt x="103156" y="43529"/>
                  </a:lnTo>
                  <a:lnTo>
                    <a:pt x="89916" y="33338"/>
                  </a:lnTo>
                  <a:lnTo>
                    <a:pt x="70390" y="53721"/>
                  </a:lnTo>
                  <a:lnTo>
                    <a:pt x="59150" y="62579"/>
                  </a:lnTo>
                  <a:lnTo>
                    <a:pt x="50673" y="59531"/>
                  </a:lnTo>
                  <a:lnTo>
                    <a:pt x="34957" y="61055"/>
                  </a:lnTo>
                  <a:lnTo>
                    <a:pt x="29908" y="59055"/>
                  </a:lnTo>
                </a:path>
              </a:pathLst>
            </a:custGeom>
            <a:grpFill/>
            <a:ln w="2381" cap="sq">
              <a:noFill/>
              <a:prstDash val="solid"/>
              <a:bevel/>
            </a:ln>
          </p:spPr>
          <p:txBody>
            <a:bodyPr rtlCol="0" anchor="ctr"/>
            <a:lstStyle/>
            <a:p>
              <a:endParaRPr lang="cs-CZ"/>
            </a:p>
          </p:txBody>
        </p:sp>
        <p:sp>
          <p:nvSpPr>
            <p:cNvPr id="256" name="Freeform: Shape 255">
              <a:extLst>
                <a:ext uri="{FF2B5EF4-FFF2-40B4-BE49-F238E27FC236}">
                  <a16:creationId xmlns:a16="http://schemas.microsoft.com/office/drawing/2014/main" id="{E5F0E20E-0312-7814-F8C8-F908A1A2B780}"/>
                </a:ext>
              </a:extLst>
            </p:cNvPr>
            <p:cNvSpPr/>
            <p:nvPr/>
          </p:nvSpPr>
          <p:spPr>
            <a:xfrm>
              <a:off x="12829411" y="8134092"/>
              <a:ext cx="131349" cy="91630"/>
            </a:xfrm>
            <a:custGeom>
              <a:avLst/>
              <a:gdLst>
                <a:gd name="connsiteX0" fmla="*/ 131350 w 131349"/>
                <a:gd name="connsiteY0" fmla="*/ 25908 h 91630"/>
                <a:gd name="connsiteX1" fmla="*/ 129921 w 131349"/>
                <a:gd name="connsiteY1" fmla="*/ 53435 h 91630"/>
                <a:gd name="connsiteX2" fmla="*/ 114490 w 131349"/>
                <a:gd name="connsiteY2" fmla="*/ 59722 h 91630"/>
                <a:gd name="connsiteX3" fmla="*/ 99346 w 131349"/>
                <a:gd name="connsiteY3" fmla="*/ 74200 h 91630"/>
                <a:gd name="connsiteX4" fmla="*/ 93345 w 131349"/>
                <a:gd name="connsiteY4" fmla="*/ 78867 h 91630"/>
                <a:gd name="connsiteX5" fmla="*/ 88297 w 131349"/>
                <a:gd name="connsiteY5" fmla="*/ 81248 h 91630"/>
                <a:gd name="connsiteX6" fmla="*/ 76105 w 131349"/>
                <a:gd name="connsiteY6" fmla="*/ 83630 h 91630"/>
                <a:gd name="connsiteX7" fmla="*/ 73152 w 131349"/>
                <a:gd name="connsiteY7" fmla="*/ 85344 h 91630"/>
                <a:gd name="connsiteX8" fmla="*/ 71914 w 131349"/>
                <a:gd name="connsiteY8" fmla="*/ 86868 h 91630"/>
                <a:gd name="connsiteX9" fmla="*/ 72295 w 131349"/>
                <a:gd name="connsiteY9" fmla="*/ 91631 h 91630"/>
                <a:gd name="connsiteX10" fmla="*/ 65056 w 131349"/>
                <a:gd name="connsiteY10" fmla="*/ 90202 h 91630"/>
                <a:gd name="connsiteX11" fmla="*/ 57436 w 131349"/>
                <a:gd name="connsiteY11" fmla="*/ 88773 h 91630"/>
                <a:gd name="connsiteX12" fmla="*/ 41338 w 131349"/>
                <a:gd name="connsiteY12" fmla="*/ 80391 h 91630"/>
                <a:gd name="connsiteX13" fmla="*/ 33623 w 131349"/>
                <a:gd name="connsiteY13" fmla="*/ 74390 h 91630"/>
                <a:gd name="connsiteX14" fmla="*/ 29242 w 131349"/>
                <a:gd name="connsiteY14" fmla="*/ 69818 h 91630"/>
                <a:gd name="connsiteX15" fmla="*/ 27051 w 131349"/>
                <a:gd name="connsiteY15" fmla="*/ 62198 h 91630"/>
                <a:gd name="connsiteX16" fmla="*/ 22288 w 131349"/>
                <a:gd name="connsiteY16" fmla="*/ 60484 h 91630"/>
                <a:gd name="connsiteX17" fmla="*/ 16383 w 131349"/>
                <a:gd name="connsiteY17" fmla="*/ 63532 h 91630"/>
                <a:gd name="connsiteX18" fmla="*/ 6667 w 131349"/>
                <a:gd name="connsiteY18" fmla="*/ 53340 h 91630"/>
                <a:gd name="connsiteX19" fmla="*/ 0 w 131349"/>
                <a:gd name="connsiteY19" fmla="*/ 50387 h 91630"/>
                <a:gd name="connsiteX20" fmla="*/ 2572 w 131349"/>
                <a:gd name="connsiteY20" fmla="*/ 34290 h 91630"/>
                <a:gd name="connsiteX21" fmla="*/ 15811 w 131349"/>
                <a:gd name="connsiteY21" fmla="*/ 26670 h 91630"/>
                <a:gd name="connsiteX22" fmla="*/ 25527 w 131349"/>
                <a:gd name="connsiteY22" fmla="*/ 35528 h 91630"/>
                <a:gd name="connsiteX23" fmla="*/ 31813 w 131349"/>
                <a:gd name="connsiteY23" fmla="*/ 30480 h 91630"/>
                <a:gd name="connsiteX24" fmla="*/ 29051 w 131349"/>
                <a:gd name="connsiteY24" fmla="*/ 19050 h 91630"/>
                <a:gd name="connsiteX25" fmla="*/ 25527 w 131349"/>
                <a:gd name="connsiteY25" fmla="*/ 2572 h 91630"/>
                <a:gd name="connsiteX26" fmla="*/ 41529 w 131349"/>
                <a:gd name="connsiteY26" fmla="*/ 0 h 91630"/>
                <a:gd name="connsiteX27" fmla="*/ 61722 w 131349"/>
                <a:gd name="connsiteY27" fmla="*/ 1238 h 91630"/>
                <a:gd name="connsiteX28" fmla="*/ 88201 w 131349"/>
                <a:gd name="connsiteY28" fmla="*/ 8858 h 91630"/>
                <a:gd name="connsiteX29" fmla="*/ 108394 w 131349"/>
                <a:gd name="connsiteY29" fmla="*/ 17717 h 91630"/>
                <a:gd name="connsiteX30" fmla="*/ 131350 w 131349"/>
                <a:gd name="connsiteY30" fmla="*/ 25813 h 9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31349" h="91630">
                  <a:moveTo>
                    <a:pt x="131350" y="25908"/>
                  </a:moveTo>
                  <a:lnTo>
                    <a:pt x="129921" y="53435"/>
                  </a:lnTo>
                  <a:lnTo>
                    <a:pt x="114490" y="59722"/>
                  </a:lnTo>
                  <a:lnTo>
                    <a:pt x="99346" y="74200"/>
                  </a:lnTo>
                  <a:lnTo>
                    <a:pt x="93345" y="78867"/>
                  </a:lnTo>
                  <a:lnTo>
                    <a:pt x="88297" y="81248"/>
                  </a:lnTo>
                  <a:lnTo>
                    <a:pt x="76105" y="83630"/>
                  </a:lnTo>
                  <a:lnTo>
                    <a:pt x="73152" y="85344"/>
                  </a:lnTo>
                  <a:lnTo>
                    <a:pt x="71914" y="86868"/>
                  </a:lnTo>
                  <a:lnTo>
                    <a:pt x="72295" y="91631"/>
                  </a:lnTo>
                  <a:lnTo>
                    <a:pt x="65056" y="90202"/>
                  </a:lnTo>
                  <a:lnTo>
                    <a:pt x="57436" y="88773"/>
                  </a:lnTo>
                  <a:lnTo>
                    <a:pt x="41338" y="80391"/>
                  </a:lnTo>
                  <a:lnTo>
                    <a:pt x="33623" y="74390"/>
                  </a:lnTo>
                  <a:lnTo>
                    <a:pt x="29242" y="69818"/>
                  </a:lnTo>
                  <a:lnTo>
                    <a:pt x="27051" y="62198"/>
                  </a:lnTo>
                  <a:lnTo>
                    <a:pt x="22288" y="60484"/>
                  </a:lnTo>
                  <a:lnTo>
                    <a:pt x="16383" y="63532"/>
                  </a:lnTo>
                  <a:lnTo>
                    <a:pt x="6667" y="53340"/>
                  </a:lnTo>
                  <a:lnTo>
                    <a:pt x="0" y="50387"/>
                  </a:lnTo>
                  <a:lnTo>
                    <a:pt x="2572" y="34290"/>
                  </a:lnTo>
                  <a:lnTo>
                    <a:pt x="15811" y="26670"/>
                  </a:lnTo>
                  <a:lnTo>
                    <a:pt x="25527" y="35528"/>
                  </a:lnTo>
                  <a:lnTo>
                    <a:pt x="31813" y="30480"/>
                  </a:lnTo>
                  <a:lnTo>
                    <a:pt x="29051" y="19050"/>
                  </a:lnTo>
                  <a:lnTo>
                    <a:pt x="25527" y="2572"/>
                  </a:lnTo>
                  <a:lnTo>
                    <a:pt x="41529" y="0"/>
                  </a:lnTo>
                  <a:lnTo>
                    <a:pt x="61722" y="1238"/>
                  </a:lnTo>
                  <a:lnTo>
                    <a:pt x="88201" y="8858"/>
                  </a:lnTo>
                  <a:lnTo>
                    <a:pt x="108394" y="17717"/>
                  </a:lnTo>
                  <a:lnTo>
                    <a:pt x="131350" y="25813"/>
                  </a:lnTo>
                </a:path>
              </a:pathLst>
            </a:custGeom>
            <a:grpFill/>
            <a:ln w="2381" cap="sq">
              <a:noFill/>
              <a:prstDash val="solid"/>
              <a:bevel/>
            </a:ln>
          </p:spPr>
          <p:txBody>
            <a:bodyPr rtlCol="0" anchor="ctr"/>
            <a:lstStyle/>
            <a:p>
              <a:endParaRPr lang="cs-CZ"/>
            </a:p>
          </p:txBody>
        </p:sp>
        <p:sp>
          <p:nvSpPr>
            <p:cNvPr id="257" name="Freeform: Shape 256">
              <a:extLst>
                <a:ext uri="{FF2B5EF4-FFF2-40B4-BE49-F238E27FC236}">
                  <a16:creationId xmlns:a16="http://schemas.microsoft.com/office/drawing/2014/main" id="{A162288F-A248-D27A-7AEB-50EC2ED5F9A3}"/>
                </a:ext>
              </a:extLst>
            </p:cNvPr>
            <p:cNvSpPr/>
            <p:nvPr/>
          </p:nvSpPr>
          <p:spPr>
            <a:xfrm>
              <a:off x="12955808" y="8102089"/>
              <a:ext cx="212216" cy="206025"/>
            </a:xfrm>
            <a:custGeom>
              <a:avLst/>
              <a:gdLst>
                <a:gd name="connsiteX0" fmla="*/ 3620 w 212216"/>
                <a:gd name="connsiteY0" fmla="*/ 85439 h 206025"/>
                <a:gd name="connsiteX1" fmla="*/ 5048 w 212216"/>
                <a:gd name="connsiteY1" fmla="*/ 57912 h 206025"/>
                <a:gd name="connsiteX2" fmla="*/ 8001 w 212216"/>
                <a:gd name="connsiteY2" fmla="*/ 53054 h 206025"/>
                <a:gd name="connsiteX3" fmla="*/ 9716 w 212216"/>
                <a:gd name="connsiteY3" fmla="*/ 45148 h 206025"/>
                <a:gd name="connsiteX4" fmla="*/ 9430 w 212216"/>
                <a:gd name="connsiteY4" fmla="*/ 40100 h 206025"/>
                <a:gd name="connsiteX5" fmla="*/ 4000 w 212216"/>
                <a:gd name="connsiteY5" fmla="*/ 27432 h 206025"/>
                <a:gd name="connsiteX6" fmla="*/ 0 w 212216"/>
                <a:gd name="connsiteY6" fmla="*/ 11906 h 206025"/>
                <a:gd name="connsiteX7" fmla="*/ 5048 w 212216"/>
                <a:gd name="connsiteY7" fmla="*/ 13906 h 206025"/>
                <a:gd name="connsiteX8" fmla="*/ 20765 w 212216"/>
                <a:gd name="connsiteY8" fmla="*/ 12382 h 206025"/>
                <a:gd name="connsiteX9" fmla="*/ 29242 w 212216"/>
                <a:gd name="connsiteY9" fmla="*/ 15430 h 206025"/>
                <a:gd name="connsiteX10" fmla="*/ 32575 w 212216"/>
                <a:gd name="connsiteY10" fmla="*/ 19526 h 206025"/>
                <a:gd name="connsiteX11" fmla="*/ 41243 w 212216"/>
                <a:gd name="connsiteY11" fmla="*/ 34861 h 206025"/>
                <a:gd name="connsiteX12" fmla="*/ 44006 w 212216"/>
                <a:gd name="connsiteY12" fmla="*/ 36100 h 206025"/>
                <a:gd name="connsiteX13" fmla="*/ 51911 w 212216"/>
                <a:gd name="connsiteY13" fmla="*/ 43243 h 206025"/>
                <a:gd name="connsiteX14" fmla="*/ 54674 w 212216"/>
                <a:gd name="connsiteY14" fmla="*/ 47244 h 206025"/>
                <a:gd name="connsiteX15" fmla="*/ 57912 w 212216"/>
                <a:gd name="connsiteY15" fmla="*/ 50197 h 206025"/>
                <a:gd name="connsiteX16" fmla="*/ 64770 w 212216"/>
                <a:gd name="connsiteY16" fmla="*/ 52388 h 206025"/>
                <a:gd name="connsiteX17" fmla="*/ 72104 w 212216"/>
                <a:gd name="connsiteY17" fmla="*/ 54769 h 206025"/>
                <a:gd name="connsiteX18" fmla="*/ 74676 w 212216"/>
                <a:gd name="connsiteY18" fmla="*/ 57531 h 206025"/>
                <a:gd name="connsiteX19" fmla="*/ 82772 w 212216"/>
                <a:gd name="connsiteY19" fmla="*/ 69342 h 206025"/>
                <a:gd name="connsiteX20" fmla="*/ 96869 w 212216"/>
                <a:gd name="connsiteY20" fmla="*/ 53721 h 206025"/>
                <a:gd name="connsiteX21" fmla="*/ 105537 w 212216"/>
                <a:gd name="connsiteY21" fmla="*/ 37909 h 206025"/>
                <a:gd name="connsiteX22" fmla="*/ 103823 w 212216"/>
                <a:gd name="connsiteY22" fmla="*/ 23717 h 206025"/>
                <a:gd name="connsiteX23" fmla="*/ 114205 w 212216"/>
                <a:gd name="connsiteY23" fmla="*/ 18955 h 206025"/>
                <a:gd name="connsiteX24" fmla="*/ 118586 w 212216"/>
                <a:gd name="connsiteY24" fmla="*/ 0 h 206025"/>
                <a:gd name="connsiteX25" fmla="*/ 128969 w 212216"/>
                <a:gd name="connsiteY25" fmla="*/ 4763 h 206025"/>
                <a:gd name="connsiteX26" fmla="*/ 145447 w 212216"/>
                <a:gd name="connsiteY26" fmla="*/ 14288 h 206025"/>
                <a:gd name="connsiteX27" fmla="*/ 160211 w 212216"/>
                <a:gd name="connsiteY27" fmla="*/ 23813 h 206025"/>
                <a:gd name="connsiteX28" fmla="*/ 152400 w 212216"/>
                <a:gd name="connsiteY28" fmla="*/ 33338 h 206025"/>
                <a:gd name="connsiteX29" fmla="*/ 140303 w 212216"/>
                <a:gd name="connsiteY29" fmla="*/ 47530 h 206025"/>
                <a:gd name="connsiteX30" fmla="*/ 132493 w 212216"/>
                <a:gd name="connsiteY30" fmla="*/ 50673 h 206025"/>
                <a:gd name="connsiteX31" fmla="*/ 129921 w 212216"/>
                <a:gd name="connsiteY31" fmla="*/ 68104 h 206025"/>
                <a:gd name="connsiteX32" fmla="*/ 119539 w 212216"/>
                <a:gd name="connsiteY32" fmla="*/ 74390 h 206025"/>
                <a:gd name="connsiteX33" fmla="*/ 112014 w 212216"/>
                <a:gd name="connsiteY33" fmla="*/ 84487 h 206025"/>
                <a:gd name="connsiteX34" fmla="*/ 119063 w 212216"/>
                <a:gd name="connsiteY34" fmla="*/ 86868 h 206025"/>
                <a:gd name="connsiteX35" fmla="*/ 125635 w 212216"/>
                <a:gd name="connsiteY35" fmla="*/ 89059 h 206025"/>
                <a:gd name="connsiteX36" fmla="*/ 132588 w 212216"/>
                <a:gd name="connsiteY36" fmla="*/ 94107 h 206025"/>
                <a:gd name="connsiteX37" fmla="*/ 138779 w 212216"/>
                <a:gd name="connsiteY37" fmla="*/ 98584 h 206025"/>
                <a:gd name="connsiteX38" fmla="*/ 142685 w 212216"/>
                <a:gd name="connsiteY38" fmla="*/ 107728 h 206025"/>
                <a:gd name="connsiteX39" fmla="*/ 153162 w 212216"/>
                <a:gd name="connsiteY39" fmla="*/ 132397 h 206025"/>
                <a:gd name="connsiteX40" fmla="*/ 158782 w 212216"/>
                <a:gd name="connsiteY40" fmla="*/ 137636 h 206025"/>
                <a:gd name="connsiteX41" fmla="*/ 165925 w 212216"/>
                <a:gd name="connsiteY41" fmla="*/ 139065 h 206025"/>
                <a:gd name="connsiteX42" fmla="*/ 173355 w 212216"/>
                <a:gd name="connsiteY42" fmla="*/ 143542 h 206025"/>
                <a:gd name="connsiteX43" fmla="*/ 180404 w 212216"/>
                <a:gd name="connsiteY43" fmla="*/ 147828 h 206025"/>
                <a:gd name="connsiteX44" fmla="*/ 186881 w 212216"/>
                <a:gd name="connsiteY44" fmla="*/ 151733 h 206025"/>
                <a:gd name="connsiteX45" fmla="*/ 199549 w 212216"/>
                <a:gd name="connsiteY45" fmla="*/ 148780 h 206025"/>
                <a:gd name="connsiteX46" fmla="*/ 200501 w 212216"/>
                <a:gd name="connsiteY46" fmla="*/ 151924 h 206025"/>
                <a:gd name="connsiteX47" fmla="*/ 197644 w 212216"/>
                <a:gd name="connsiteY47" fmla="*/ 160401 h 206025"/>
                <a:gd name="connsiteX48" fmla="*/ 209360 w 212216"/>
                <a:gd name="connsiteY48" fmla="*/ 157639 h 206025"/>
                <a:gd name="connsiteX49" fmla="*/ 212217 w 212216"/>
                <a:gd name="connsiteY49" fmla="*/ 165163 h 206025"/>
                <a:gd name="connsiteX50" fmla="*/ 206502 w 212216"/>
                <a:gd name="connsiteY50" fmla="*/ 173165 h 206025"/>
                <a:gd name="connsiteX51" fmla="*/ 177927 w 212216"/>
                <a:gd name="connsiteY51" fmla="*/ 179165 h 206025"/>
                <a:gd name="connsiteX52" fmla="*/ 170498 w 212216"/>
                <a:gd name="connsiteY52" fmla="*/ 181261 h 206025"/>
                <a:gd name="connsiteX53" fmla="*/ 85820 w 212216"/>
                <a:gd name="connsiteY53" fmla="*/ 205549 h 206025"/>
                <a:gd name="connsiteX54" fmla="*/ 56483 w 212216"/>
                <a:gd name="connsiteY54" fmla="*/ 206026 h 206025"/>
                <a:gd name="connsiteX55" fmla="*/ 59341 w 212216"/>
                <a:gd name="connsiteY55" fmla="*/ 196691 h 206025"/>
                <a:gd name="connsiteX56" fmla="*/ 62103 w 212216"/>
                <a:gd name="connsiteY56" fmla="*/ 189643 h 206025"/>
                <a:gd name="connsiteX57" fmla="*/ 66008 w 212216"/>
                <a:gd name="connsiteY57" fmla="*/ 186404 h 206025"/>
                <a:gd name="connsiteX58" fmla="*/ 72200 w 212216"/>
                <a:gd name="connsiteY58" fmla="*/ 182975 h 206025"/>
                <a:gd name="connsiteX59" fmla="*/ 72200 w 212216"/>
                <a:gd name="connsiteY59" fmla="*/ 181070 h 206025"/>
                <a:gd name="connsiteX60" fmla="*/ 69818 w 212216"/>
                <a:gd name="connsiteY60" fmla="*/ 179070 h 206025"/>
                <a:gd name="connsiteX61" fmla="*/ 62960 w 212216"/>
                <a:gd name="connsiteY61" fmla="*/ 175641 h 206025"/>
                <a:gd name="connsiteX62" fmla="*/ 60008 w 212216"/>
                <a:gd name="connsiteY62" fmla="*/ 175165 h 206025"/>
                <a:gd name="connsiteX63" fmla="*/ 58198 w 212216"/>
                <a:gd name="connsiteY63" fmla="*/ 174307 h 206025"/>
                <a:gd name="connsiteX64" fmla="*/ 57817 w 212216"/>
                <a:gd name="connsiteY64" fmla="*/ 172784 h 206025"/>
                <a:gd name="connsiteX65" fmla="*/ 58865 w 212216"/>
                <a:gd name="connsiteY65" fmla="*/ 170307 h 206025"/>
                <a:gd name="connsiteX66" fmla="*/ 58674 w 212216"/>
                <a:gd name="connsiteY66" fmla="*/ 168307 h 206025"/>
                <a:gd name="connsiteX67" fmla="*/ 56483 w 212216"/>
                <a:gd name="connsiteY67" fmla="*/ 166211 h 206025"/>
                <a:gd name="connsiteX68" fmla="*/ 46006 w 212216"/>
                <a:gd name="connsiteY68" fmla="*/ 165068 h 206025"/>
                <a:gd name="connsiteX69" fmla="*/ 41053 w 212216"/>
                <a:gd name="connsiteY69" fmla="*/ 161068 h 206025"/>
                <a:gd name="connsiteX70" fmla="*/ 34195 w 212216"/>
                <a:gd name="connsiteY70" fmla="*/ 151543 h 206025"/>
                <a:gd name="connsiteX71" fmla="*/ 31528 w 212216"/>
                <a:gd name="connsiteY71" fmla="*/ 135731 h 206025"/>
                <a:gd name="connsiteX72" fmla="*/ 30290 w 212216"/>
                <a:gd name="connsiteY72" fmla="*/ 122968 h 206025"/>
                <a:gd name="connsiteX73" fmla="*/ 47530 w 212216"/>
                <a:gd name="connsiteY73" fmla="*/ 111728 h 206025"/>
                <a:gd name="connsiteX74" fmla="*/ 34576 w 212216"/>
                <a:gd name="connsiteY74" fmla="*/ 90297 h 206025"/>
                <a:gd name="connsiteX75" fmla="*/ 17145 w 212216"/>
                <a:gd name="connsiteY75" fmla="*/ 90297 h 206025"/>
                <a:gd name="connsiteX76" fmla="*/ 3810 w 212216"/>
                <a:gd name="connsiteY76" fmla="*/ 85630 h 206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212216" h="206025">
                  <a:moveTo>
                    <a:pt x="3620" y="85439"/>
                  </a:moveTo>
                  <a:lnTo>
                    <a:pt x="5048" y="57912"/>
                  </a:lnTo>
                  <a:lnTo>
                    <a:pt x="8001" y="53054"/>
                  </a:lnTo>
                  <a:lnTo>
                    <a:pt x="9716" y="45148"/>
                  </a:lnTo>
                  <a:lnTo>
                    <a:pt x="9430" y="40100"/>
                  </a:lnTo>
                  <a:lnTo>
                    <a:pt x="4000" y="27432"/>
                  </a:lnTo>
                  <a:lnTo>
                    <a:pt x="0" y="11906"/>
                  </a:lnTo>
                  <a:lnTo>
                    <a:pt x="5048" y="13906"/>
                  </a:lnTo>
                  <a:lnTo>
                    <a:pt x="20765" y="12382"/>
                  </a:lnTo>
                  <a:lnTo>
                    <a:pt x="29242" y="15430"/>
                  </a:lnTo>
                  <a:lnTo>
                    <a:pt x="32575" y="19526"/>
                  </a:lnTo>
                  <a:lnTo>
                    <a:pt x="41243" y="34861"/>
                  </a:lnTo>
                  <a:lnTo>
                    <a:pt x="44006" y="36100"/>
                  </a:lnTo>
                  <a:lnTo>
                    <a:pt x="51911" y="43243"/>
                  </a:lnTo>
                  <a:lnTo>
                    <a:pt x="54674" y="47244"/>
                  </a:lnTo>
                  <a:lnTo>
                    <a:pt x="57912" y="50197"/>
                  </a:lnTo>
                  <a:lnTo>
                    <a:pt x="64770" y="52388"/>
                  </a:lnTo>
                  <a:lnTo>
                    <a:pt x="72104" y="54769"/>
                  </a:lnTo>
                  <a:lnTo>
                    <a:pt x="74676" y="57531"/>
                  </a:lnTo>
                  <a:lnTo>
                    <a:pt x="82772" y="69342"/>
                  </a:lnTo>
                  <a:lnTo>
                    <a:pt x="96869" y="53721"/>
                  </a:lnTo>
                  <a:lnTo>
                    <a:pt x="105537" y="37909"/>
                  </a:lnTo>
                  <a:lnTo>
                    <a:pt x="103823" y="23717"/>
                  </a:lnTo>
                  <a:lnTo>
                    <a:pt x="114205" y="18955"/>
                  </a:lnTo>
                  <a:lnTo>
                    <a:pt x="118586" y="0"/>
                  </a:lnTo>
                  <a:lnTo>
                    <a:pt x="128969" y="4763"/>
                  </a:lnTo>
                  <a:lnTo>
                    <a:pt x="145447" y="14288"/>
                  </a:lnTo>
                  <a:lnTo>
                    <a:pt x="160211" y="23813"/>
                  </a:lnTo>
                  <a:lnTo>
                    <a:pt x="152400" y="33338"/>
                  </a:lnTo>
                  <a:lnTo>
                    <a:pt x="140303" y="47530"/>
                  </a:lnTo>
                  <a:lnTo>
                    <a:pt x="132493" y="50673"/>
                  </a:lnTo>
                  <a:lnTo>
                    <a:pt x="129921" y="68104"/>
                  </a:lnTo>
                  <a:lnTo>
                    <a:pt x="119539" y="74390"/>
                  </a:lnTo>
                  <a:lnTo>
                    <a:pt x="112014" y="84487"/>
                  </a:lnTo>
                  <a:lnTo>
                    <a:pt x="119063" y="86868"/>
                  </a:lnTo>
                  <a:lnTo>
                    <a:pt x="125635" y="89059"/>
                  </a:lnTo>
                  <a:lnTo>
                    <a:pt x="132588" y="94107"/>
                  </a:lnTo>
                  <a:lnTo>
                    <a:pt x="138779" y="98584"/>
                  </a:lnTo>
                  <a:lnTo>
                    <a:pt x="142685" y="107728"/>
                  </a:lnTo>
                  <a:lnTo>
                    <a:pt x="153162" y="132397"/>
                  </a:lnTo>
                  <a:lnTo>
                    <a:pt x="158782" y="137636"/>
                  </a:lnTo>
                  <a:lnTo>
                    <a:pt x="165925" y="139065"/>
                  </a:lnTo>
                  <a:lnTo>
                    <a:pt x="173355" y="143542"/>
                  </a:lnTo>
                  <a:lnTo>
                    <a:pt x="180404" y="147828"/>
                  </a:lnTo>
                  <a:lnTo>
                    <a:pt x="186881" y="151733"/>
                  </a:lnTo>
                  <a:lnTo>
                    <a:pt x="199549" y="148780"/>
                  </a:lnTo>
                  <a:lnTo>
                    <a:pt x="200501" y="151924"/>
                  </a:lnTo>
                  <a:lnTo>
                    <a:pt x="197644" y="160401"/>
                  </a:lnTo>
                  <a:lnTo>
                    <a:pt x="209360" y="157639"/>
                  </a:lnTo>
                  <a:lnTo>
                    <a:pt x="212217" y="165163"/>
                  </a:lnTo>
                  <a:lnTo>
                    <a:pt x="206502" y="173165"/>
                  </a:lnTo>
                  <a:lnTo>
                    <a:pt x="177927" y="179165"/>
                  </a:lnTo>
                  <a:lnTo>
                    <a:pt x="170498" y="181261"/>
                  </a:lnTo>
                  <a:lnTo>
                    <a:pt x="85820" y="205549"/>
                  </a:lnTo>
                  <a:lnTo>
                    <a:pt x="56483" y="206026"/>
                  </a:lnTo>
                  <a:lnTo>
                    <a:pt x="59341" y="196691"/>
                  </a:lnTo>
                  <a:lnTo>
                    <a:pt x="62103" y="189643"/>
                  </a:lnTo>
                  <a:lnTo>
                    <a:pt x="66008" y="186404"/>
                  </a:lnTo>
                  <a:lnTo>
                    <a:pt x="72200" y="182975"/>
                  </a:lnTo>
                  <a:lnTo>
                    <a:pt x="72200" y="181070"/>
                  </a:lnTo>
                  <a:cubicBezTo>
                    <a:pt x="72200" y="181070"/>
                    <a:pt x="69818" y="179070"/>
                    <a:pt x="69818" y="179070"/>
                  </a:cubicBezTo>
                  <a:lnTo>
                    <a:pt x="62960" y="175641"/>
                  </a:lnTo>
                  <a:lnTo>
                    <a:pt x="60008" y="175165"/>
                  </a:lnTo>
                  <a:lnTo>
                    <a:pt x="58198" y="174307"/>
                  </a:lnTo>
                  <a:lnTo>
                    <a:pt x="57817" y="172784"/>
                  </a:lnTo>
                  <a:lnTo>
                    <a:pt x="58865" y="170307"/>
                  </a:lnTo>
                  <a:lnTo>
                    <a:pt x="58674" y="168307"/>
                  </a:lnTo>
                  <a:lnTo>
                    <a:pt x="56483" y="166211"/>
                  </a:lnTo>
                  <a:lnTo>
                    <a:pt x="46006" y="165068"/>
                  </a:lnTo>
                  <a:lnTo>
                    <a:pt x="41053" y="161068"/>
                  </a:lnTo>
                  <a:lnTo>
                    <a:pt x="34195" y="151543"/>
                  </a:lnTo>
                  <a:lnTo>
                    <a:pt x="31528" y="135731"/>
                  </a:lnTo>
                  <a:lnTo>
                    <a:pt x="30290" y="122968"/>
                  </a:lnTo>
                  <a:lnTo>
                    <a:pt x="47530" y="111728"/>
                  </a:lnTo>
                  <a:lnTo>
                    <a:pt x="34576" y="90297"/>
                  </a:lnTo>
                  <a:lnTo>
                    <a:pt x="17145" y="90297"/>
                  </a:lnTo>
                  <a:cubicBezTo>
                    <a:pt x="17145" y="90297"/>
                    <a:pt x="3810" y="85630"/>
                    <a:pt x="3810" y="85630"/>
                  </a:cubicBezTo>
                </a:path>
              </a:pathLst>
            </a:custGeom>
            <a:grpFill/>
            <a:ln w="2381" cap="sq">
              <a:noFill/>
              <a:prstDash val="solid"/>
              <a:bevel/>
            </a:ln>
          </p:spPr>
          <p:txBody>
            <a:bodyPr rtlCol="0" anchor="ctr"/>
            <a:lstStyle/>
            <a:p>
              <a:endParaRPr lang="cs-CZ"/>
            </a:p>
          </p:txBody>
        </p:sp>
        <p:sp>
          <p:nvSpPr>
            <p:cNvPr id="258" name="Freeform: Shape 257">
              <a:extLst>
                <a:ext uri="{FF2B5EF4-FFF2-40B4-BE49-F238E27FC236}">
                  <a16:creationId xmlns:a16="http://schemas.microsoft.com/office/drawing/2014/main" id="{C9020D72-3037-265F-4FB4-A29695A4C7B4}"/>
                </a:ext>
              </a:extLst>
            </p:cNvPr>
            <p:cNvSpPr/>
            <p:nvPr/>
          </p:nvSpPr>
          <p:spPr>
            <a:xfrm>
              <a:off x="12758735" y="8194291"/>
              <a:ext cx="148494" cy="143351"/>
            </a:xfrm>
            <a:custGeom>
              <a:avLst/>
              <a:gdLst>
                <a:gd name="connsiteX0" fmla="*/ 93059 w 148494"/>
                <a:gd name="connsiteY0" fmla="*/ 286 h 143351"/>
                <a:gd name="connsiteX1" fmla="*/ 97822 w 148494"/>
                <a:gd name="connsiteY1" fmla="*/ 2000 h 143351"/>
                <a:gd name="connsiteX2" fmla="*/ 100013 w 148494"/>
                <a:gd name="connsiteY2" fmla="*/ 9620 h 143351"/>
                <a:gd name="connsiteX3" fmla="*/ 104394 w 148494"/>
                <a:gd name="connsiteY3" fmla="*/ 14192 h 143351"/>
                <a:gd name="connsiteX4" fmla="*/ 112109 w 148494"/>
                <a:gd name="connsiteY4" fmla="*/ 20193 h 143351"/>
                <a:gd name="connsiteX5" fmla="*/ 128206 w 148494"/>
                <a:gd name="connsiteY5" fmla="*/ 28575 h 143351"/>
                <a:gd name="connsiteX6" fmla="*/ 135827 w 148494"/>
                <a:gd name="connsiteY6" fmla="*/ 30004 h 143351"/>
                <a:gd name="connsiteX7" fmla="*/ 140780 w 148494"/>
                <a:gd name="connsiteY7" fmla="*/ 60103 h 143351"/>
                <a:gd name="connsiteX8" fmla="*/ 117824 w 148494"/>
                <a:gd name="connsiteY8" fmla="*/ 65151 h 143351"/>
                <a:gd name="connsiteX9" fmla="*/ 122682 w 148494"/>
                <a:gd name="connsiteY9" fmla="*/ 99250 h 143351"/>
                <a:gd name="connsiteX10" fmla="*/ 133160 w 148494"/>
                <a:gd name="connsiteY10" fmla="*/ 98012 h 143351"/>
                <a:gd name="connsiteX11" fmla="*/ 148495 w 148494"/>
                <a:gd name="connsiteY11" fmla="*/ 106870 h 143351"/>
                <a:gd name="connsiteX12" fmla="*/ 145732 w 148494"/>
                <a:gd name="connsiteY12" fmla="*/ 123253 h 143351"/>
                <a:gd name="connsiteX13" fmla="*/ 131826 w 148494"/>
                <a:gd name="connsiteY13" fmla="*/ 118205 h 143351"/>
                <a:gd name="connsiteX14" fmla="*/ 114395 w 148494"/>
                <a:gd name="connsiteY14" fmla="*/ 119443 h 143351"/>
                <a:gd name="connsiteX15" fmla="*/ 95631 w 148494"/>
                <a:gd name="connsiteY15" fmla="*/ 130778 h 143351"/>
                <a:gd name="connsiteX16" fmla="*/ 88678 w 148494"/>
                <a:gd name="connsiteY16" fmla="*/ 143351 h 143351"/>
                <a:gd name="connsiteX17" fmla="*/ 73343 w 148494"/>
                <a:gd name="connsiteY17" fmla="*/ 137065 h 143351"/>
                <a:gd name="connsiteX18" fmla="*/ 64960 w 148494"/>
                <a:gd name="connsiteY18" fmla="*/ 132016 h 143351"/>
                <a:gd name="connsiteX19" fmla="*/ 55912 w 148494"/>
                <a:gd name="connsiteY19" fmla="*/ 126968 h 143351"/>
                <a:gd name="connsiteX20" fmla="*/ 38481 w 148494"/>
                <a:gd name="connsiteY20" fmla="*/ 123158 h 143351"/>
                <a:gd name="connsiteX21" fmla="*/ 28194 w 148494"/>
                <a:gd name="connsiteY21" fmla="*/ 119063 h 143351"/>
                <a:gd name="connsiteX22" fmla="*/ 31909 w 148494"/>
                <a:gd name="connsiteY22" fmla="*/ 108299 h 143351"/>
                <a:gd name="connsiteX23" fmla="*/ 38481 w 148494"/>
                <a:gd name="connsiteY23" fmla="*/ 98965 h 143351"/>
                <a:gd name="connsiteX24" fmla="*/ 40386 w 148494"/>
                <a:gd name="connsiteY24" fmla="*/ 91249 h 143351"/>
                <a:gd name="connsiteX25" fmla="*/ 38957 w 148494"/>
                <a:gd name="connsiteY25" fmla="*/ 87439 h 143351"/>
                <a:gd name="connsiteX26" fmla="*/ 34100 w 148494"/>
                <a:gd name="connsiteY26" fmla="*/ 86487 h 143351"/>
                <a:gd name="connsiteX27" fmla="*/ 29146 w 148494"/>
                <a:gd name="connsiteY27" fmla="*/ 86487 h 143351"/>
                <a:gd name="connsiteX28" fmla="*/ 19050 w 148494"/>
                <a:gd name="connsiteY28" fmla="*/ 83629 h 143351"/>
                <a:gd name="connsiteX29" fmla="*/ 13335 w 148494"/>
                <a:gd name="connsiteY29" fmla="*/ 78867 h 143351"/>
                <a:gd name="connsiteX30" fmla="*/ 7715 w 148494"/>
                <a:gd name="connsiteY30" fmla="*/ 71533 h 143351"/>
                <a:gd name="connsiteX31" fmla="*/ 7715 w 148494"/>
                <a:gd name="connsiteY31" fmla="*/ 67913 h 143351"/>
                <a:gd name="connsiteX32" fmla="*/ 9049 w 148494"/>
                <a:gd name="connsiteY32" fmla="*/ 67246 h 143351"/>
                <a:gd name="connsiteX33" fmla="*/ 12668 w 148494"/>
                <a:gd name="connsiteY33" fmla="*/ 67246 h 143351"/>
                <a:gd name="connsiteX34" fmla="*/ 16478 w 148494"/>
                <a:gd name="connsiteY34" fmla="*/ 65722 h 143351"/>
                <a:gd name="connsiteX35" fmla="*/ 19717 w 148494"/>
                <a:gd name="connsiteY35" fmla="*/ 60007 h 143351"/>
                <a:gd name="connsiteX36" fmla="*/ 18764 w 148494"/>
                <a:gd name="connsiteY36" fmla="*/ 56674 h 143351"/>
                <a:gd name="connsiteX37" fmla="*/ 17526 w 148494"/>
                <a:gd name="connsiteY37" fmla="*/ 53721 h 143351"/>
                <a:gd name="connsiteX38" fmla="*/ 16954 w 148494"/>
                <a:gd name="connsiteY38" fmla="*/ 50959 h 143351"/>
                <a:gd name="connsiteX39" fmla="*/ 17240 w 148494"/>
                <a:gd name="connsiteY39" fmla="*/ 48577 h 143351"/>
                <a:gd name="connsiteX40" fmla="*/ 15335 w 148494"/>
                <a:gd name="connsiteY40" fmla="*/ 46768 h 143351"/>
                <a:gd name="connsiteX41" fmla="*/ 11525 w 148494"/>
                <a:gd name="connsiteY41" fmla="*/ 44101 h 143351"/>
                <a:gd name="connsiteX42" fmla="*/ 1238 w 148494"/>
                <a:gd name="connsiteY42" fmla="*/ 31813 h 143351"/>
                <a:gd name="connsiteX43" fmla="*/ 0 w 148494"/>
                <a:gd name="connsiteY43" fmla="*/ 27622 h 143351"/>
                <a:gd name="connsiteX44" fmla="*/ 857 w 148494"/>
                <a:gd name="connsiteY44" fmla="*/ 26575 h 143351"/>
                <a:gd name="connsiteX45" fmla="*/ 4286 w 148494"/>
                <a:gd name="connsiteY45" fmla="*/ 29051 h 143351"/>
                <a:gd name="connsiteX46" fmla="*/ 6477 w 148494"/>
                <a:gd name="connsiteY46" fmla="*/ 32004 h 143351"/>
                <a:gd name="connsiteX47" fmla="*/ 10763 w 148494"/>
                <a:gd name="connsiteY47" fmla="*/ 31337 h 143351"/>
                <a:gd name="connsiteX48" fmla="*/ 13716 w 148494"/>
                <a:gd name="connsiteY48" fmla="*/ 30099 h 143351"/>
                <a:gd name="connsiteX49" fmla="*/ 10477 w 148494"/>
                <a:gd name="connsiteY49" fmla="*/ 10954 h 143351"/>
                <a:gd name="connsiteX50" fmla="*/ 31242 w 148494"/>
                <a:gd name="connsiteY50" fmla="*/ 15335 h 143351"/>
                <a:gd name="connsiteX51" fmla="*/ 43244 w 148494"/>
                <a:gd name="connsiteY51" fmla="*/ 22860 h 143351"/>
                <a:gd name="connsiteX52" fmla="*/ 48292 w 148494"/>
                <a:gd name="connsiteY52" fmla="*/ 25051 h 143351"/>
                <a:gd name="connsiteX53" fmla="*/ 55150 w 148494"/>
                <a:gd name="connsiteY53" fmla="*/ 25241 h 143351"/>
                <a:gd name="connsiteX54" fmla="*/ 59722 w 148494"/>
                <a:gd name="connsiteY54" fmla="*/ 23813 h 143351"/>
                <a:gd name="connsiteX55" fmla="*/ 64484 w 148494"/>
                <a:gd name="connsiteY55" fmla="*/ 17812 h 143351"/>
                <a:gd name="connsiteX56" fmla="*/ 64960 w 148494"/>
                <a:gd name="connsiteY56" fmla="*/ 13144 h 143351"/>
                <a:gd name="connsiteX57" fmla="*/ 67151 w 148494"/>
                <a:gd name="connsiteY57" fmla="*/ 9334 h 143351"/>
                <a:gd name="connsiteX58" fmla="*/ 69247 w 148494"/>
                <a:gd name="connsiteY58" fmla="*/ 7810 h 143351"/>
                <a:gd name="connsiteX59" fmla="*/ 73628 w 148494"/>
                <a:gd name="connsiteY59" fmla="*/ 8572 h 143351"/>
                <a:gd name="connsiteX60" fmla="*/ 78772 w 148494"/>
                <a:gd name="connsiteY60" fmla="*/ 7239 h 143351"/>
                <a:gd name="connsiteX61" fmla="*/ 87059 w 148494"/>
                <a:gd name="connsiteY61" fmla="*/ 3048 h 143351"/>
                <a:gd name="connsiteX62" fmla="*/ 92964 w 148494"/>
                <a:gd name="connsiteY62" fmla="*/ 0 h 14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48494" h="143351">
                  <a:moveTo>
                    <a:pt x="93059" y="286"/>
                  </a:moveTo>
                  <a:lnTo>
                    <a:pt x="97822" y="2000"/>
                  </a:lnTo>
                  <a:lnTo>
                    <a:pt x="100013" y="9620"/>
                  </a:lnTo>
                  <a:lnTo>
                    <a:pt x="104394" y="14192"/>
                  </a:lnTo>
                  <a:lnTo>
                    <a:pt x="112109" y="20193"/>
                  </a:lnTo>
                  <a:lnTo>
                    <a:pt x="128206" y="28575"/>
                  </a:lnTo>
                  <a:lnTo>
                    <a:pt x="135827" y="30004"/>
                  </a:lnTo>
                  <a:lnTo>
                    <a:pt x="140780" y="60103"/>
                  </a:lnTo>
                  <a:lnTo>
                    <a:pt x="117824" y="65151"/>
                  </a:lnTo>
                  <a:lnTo>
                    <a:pt x="122682" y="99250"/>
                  </a:lnTo>
                  <a:lnTo>
                    <a:pt x="133160" y="98012"/>
                  </a:lnTo>
                  <a:lnTo>
                    <a:pt x="148495" y="106870"/>
                  </a:lnTo>
                  <a:lnTo>
                    <a:pt x="145732" y="123253"/>
                  </a:lnTo>
                  <a:lnTo>
                    <a:pt x="131826" y="118205"/>
                  </a:lnTo>
                  <a:lnTo>
                    <a:pt x="114395" y="119443"/>
                  </a:lnTo>
                  <a:lnTo>
                    <a:pt x="95631" y="130778"/>
                  </a:lnTo>
                  <a:lnTo>
                    <a:pt x="88678" y="143351"/>
                  </a:lnTo>
                  <a:lnTo>
                    <a:pt x="73343" y="137065"/>
                  </a:lnTo>
                  <a:lnTo>
                    <a:pt x="64960" y="132016"/>
                  </a:lnTo>
                  <a:lnTo>
                    <a:pt x="55912" y="126968"/>
                  </a:lnTo>
                  <a:lnTo>
                    <a:pt x="38481" y="123158"/>
                  </a:lnTo>
                  <a:lnTo>
                    <a:pt x="28194" y="119063"/>
                  </a:lnTo>
                  <a:lnTo>
                    <a:pt x="31909" y="108299"/>
                  </a:lnTo>
                  <a:lnTo>
                    <a:pt x="38481" y="98965"/>
                  </a:lnTo>
                  <a:lnTo>
                    <a:pt x="40386" y="91249"/>
                  </a:lnTo>
                  <a:lnTo>
                    <a:pt x="38957" y="87439"/>
                  </a:lnTo>
                  <a:lnTo>
                    <a:pt x="34100" y="86487"/>
                  </a:lnTo>
                  <a:lnTo>
                    <a:pt x="29146" y="86487"/>
                  </a:lnTo>
                  <a:cubicBezTo>
                    <a:pt x="29146" y="86487"/>
                    <a:pt x="19050" y="83629"/>
                    <a:pt x="19050" y="83629"/>
                  </a:cubicBezTo>
                  <a:lnTo>
                    <a:pt x="13335" y="78867"/>
                  </a:lnTo>
                  <a:lnTo>
                    <a:pt x="7715" y="71533"/>
                  </a:lnTo>
                  <a:lnTo>
                    <a:pt x="7715" y="67913"/>
                  </a:lnTo>
                  <a:cubicBezTo>
                    <a:pt x="7715" y="67913"/>
                    <a:pt x="9049" y="67246"/>
                    <a:pt x="9049" y="67246"/>
                  </a:cubicBezTo>
                  <a:lnTo>
                    <a:pt x="12668" y="67246"/>
                  </a:lnTo>
                  <a:lnTo>
                    <a:pt x="16478" y="65722"/>
                  </a:lnTo>
                  <a:lnTo>
                    <a:pt x="19717" y="60007"/>
                  </a:lnTo>
                  <a:lnTo>
                    <a:pt x="18764" y="56674"/>
                  </a:lnTo>
                  <a:lnTo>
                    <a:pt x="17526" y="53721"/>
                  </a:lnTo>
                  <a:lnTo>
                    <a:pt x="16954" y="50959"/>
                  </a:lnTo>
                  <a:lnTo>
                    <a:pt x="17240" y="48577"/>
                  </a:lnTo>
                  <a:lnTo>
                    <a:pt x="15335" y="46768"/>
                  </a:lnTo>
                  <a:lnTo>
                    <a:pt x="11525" y="44101"/>
                  </a:lnTo>
                  <a:lnTo>
                    <a:pt x="1238" y="31813"/>
                  </a:lnTo>
                  <a:lnTo>
                    <a:pt x="0" y="27622"/>
                  </a:lnTo>
                  <a:lnTo>
                    <a:pt x="857" y="26575"/>
                  </a:lnTo>
                  <a:lnTo>
                    <a:pt x="4286" y="29051"/>
                  </a:lnTo>
                  <a:lnTo>
                    <a:pt x="6477" y="32004"/>
                  </a:lnTo>
                  <a:lnTo>
                    <a:pt x="10763" y="31337"/>
                  </a:lnTo>
                  <a:lnTo>
                    <a:pt x="13716" y="30099"/>
                  </a:lnTo>
                  <a:lnTo>
                    <a:pt x="10477" y="10954"/>
                  </a:lnTo>
                  <a:lnTo>
                    <a:pt x="31242" y="15335"/>
                  </a:lnTo>
                  <a:lnTo>
                    <a:pt x="43244" y="22860"/>
                  </a:lnTo>
                  <a:lnTo>
                    <a:pt x="48292" y="25051"/>
                  </a:lnTo>
                  <a:lnTo>
                    <a:pt x="55150" y="25241"/>
                  </a:lnTo>
                  <a:lnTo>
                    <a:pt x="59722" y="23813"/>
                  </a:lnTo>
                  <a:lnTo>
                    <a:pt x="64484" y="17812"/>
                  </a:lnTo>
                  <a:lnTo>
                    <a:pt x="64960" y="13144"/>
                  </a:lnTo>
                  <a:lnTo>
                    <a:pt x="67151" y="9334"/>
                  </a:lnTo>
                  <a:lnTo>
                    <a:pt x="69247" y="7810"/>
                  </a:lnTo>
                  <a:lnTo>
                    <a:pt x="73628" y="8572"/>
                  </a:lnTo>
                  <a:lnTo>
                    <a:pt x="78772" y="7239"/>
                  </a:lnTo>
                  <a:lnTo>
                    <a:pt x="87059" y="3048"/>
                  </a:lnTo>
                  <a:lnTo>
                    <a:pt x="92964" y="0"/>
                  </a:lnTo>
                </a:path>
              </a:pathLst>
            </a:custGeom>
            <a:grpFill/>
            <a:ln w="2381" cap="sq">
              <a:noFill/>
              <a:prstDash val="solid"/>
              <a:bevel/>
            </a:ln>
          </p:spPr>
          <p:txBody>
            <a:bodyPr rtlCol="0" anchor="ctr"/>
            <a:lstStyle/>
            <a:p>
              <a:endParaRPr lang="cs-CZ"/>
            </a:p>
          </p:txBody>
        </p:sp>
        <p:sp>
          <p:nvSpPr>
            <p:cNvPr id="259" name="Freeform: Shape 258">
              <a:extLst>
                <a:ext uri="{FF2B5EF4-FFF2-40B4-BE49-F238E27FC236}">
                  <a16:creationId xmlns:a16="http://schemas.microsoft.com/office/drawing/2014/main" id="{EB335F6F-8A2B-FAE8-12B1-78F126D01A2F}"/>
                </a:ext>
              </a:extLst>
            </p:cNvPr>
            <p:cNvSpPr/>
            <p:nvPr/>
          </p:nvSpPr>
          <p:spPr>
            <a:xfrm>
              <a:off x="13337570" y="8105898"/>
              <a:ext cx="172116" cy="178879"/>
            </a:xfrm>
            <a:custGeom>
              <a:avLst/>
              <a:gdLst>
                <a:gd name="connsiteX0" fmla="*/ 106108 w 172116"/>
                <a:gd name="connsiteY0" fmla="*/ 191 h 178879"/>
                <a:gd name="connsiteX1" fmla="*/ 114014 w 172116"/>
                <a:gd name="connsiteY1" fmla="*/ 6953 h 178879"/>
                <a:gd name="connsiteX2" fmla="*/ 118396 w 172116"/>
                <a:gd name="connsiteY2" fmla="*/ 11811 h 178879"/>
                <a:gd name="connsiteX3" fmla="*/ 121920 w 172116"/>
                <a:gd name="connsiteY3" fmla="*/ 16859 h 178879"/>
                <a:gd name="connsiteX4" fmla="*/ 124111 w 172116"/>
                <a:gd name="connsiteY4" fmla="*/ 18955 h 178879"/>
                <a:gd name="connsiteX5" fmla="*/ 130207 w 172116"/>
                <a:gd name="connsiteY5" fmla="*/ 19526 h 178879"/>
                <a:gd name="connsiteX6" fmla="*/ 136017 w 172116"/>
                <a:gd name="connsiteY6" fmla="*/ 27813 h 178879"/>
                <a:gd name="connsiteX7" fmla="*/ 139160 w 172116"/>
                <a:gd name="connsiteY7" fmla="*/ 41243 h 178879"/>
                <a:gd name="connsiteX8" fmla="*/ 136398 w 172116"/>
                <a:gd name="connsiteY8" fmla="*/ 45434 h 178879"/>
                <a:gd name="connsiteX9" fmla="*/ 133826 w 172116"/>
                <a:gd name="connsiteY9" fmla="*/ 51054 h 178879"/>
                <a:gd name="connsiteX10" fmla="*/ 129826 w 172116"/>
                <a:gd name="connsiteY10" fmla="*/ 56198 h 178879"/>
                <a:gd name="connsiteX11" fmla="*/ 129254 w 172116"/>
                <a:gd name="connsiteY11" fmla="*/ 62294 h 178879"/>
                <a:gd name="connsiteX12" fmla="*/ 132683 w 172116"/>
                <a:gd name="connsiteY12" fmla="*/ 82487 h 178879"/>
                <a:gd name="connsiteX13" fmla="*/ 160877 w 172116"/>
                <a:gd name="connsiteY13" fmla="*/ 93155 h 178879"/>
                <a:gd name="connsiteX14" fmla="*/ 172117 w 172116"/>
                <a:gd name="connsiteY14" fmla="*/ 104299 h 178879"/>
                <a:gd name="connsiteX15" fmla="*/ 171164 w 172116"/>
                <a:gd name="connsiteY15" fmla="*/ 108299 h 178879"/>
                <a:gd name="connsiteX16" fmla="*/ 168688 w 172116"/>
                <a:gd name="connsiteY16" fmla="*/ 111443 h 178879"/>
                <a:gd name="connsiteX17" fmla="*/ 164306 w 172116"/>
                <a:gd name="connsiteY17" fmla="*/ 113252 h 178879"/>
                <a:gd name="connsiteX18" fmla="*/ 163640 w 172116"/>
                <a:gd name="connsiteY18" fmla="*/ 116110 h 178879"/>
                <a:gd name="connsiteX19" fmla="*/ 164592 w 172116"/>
                <a:gd name="connsiteY19" fmla="*/ 120206 h 178879"/>
                <a:gd name="connsiteX20" fmla="*/ 168021 w 172116"/>
                <a:gd name="connsiteY20" fmla="*/ 123635 h 178879"/>
                <a:gd name="connsiteX21" fmla="*/ 169831 w 172116"/>
                <a:gd name="connsiteY21" fmla="*/ 126778 h 178879"/>
                <a:gd name="connsiteX22" fmla="*/ 170688 w 172116"/>
                <a:gd name="connsiteY22" fmla="*/ 135255 h 178879"/>
                <a:gd name="connsiteX23" fmla="*/ 151638 w 172116"/>
                <a:gd name="connsiteY23" fmla="*/ 145352 h 178879"/>
                <a:gd name="connsiteX24" fmla="*/ 131254 w 172116"/>
                <a:gd name="connsiteY24" fmla="*/ 152686 h 178879"/>
                <a:gd name="connsiteX25" fmla="*/ 114681 w 172116"/>
                <a:gd name="connsiteY25" fmla="*/ 155448 h 178879"/>
                <a:gd name="connsiteX26" fmla="*/ 102489 w 172116"/>
                <a:gd name="connsiteY26" fmla="*/ 153353 h 178879"/>
                <a:gd name="connsiteX27" fmla="*/ 97441 w 172116"/>
                <a:gd name="connsiteY27" fmla="*/ 149828 h 178879"/>
                <a:gd name="connsiteX28" fmla="*/ 84677 w 172116"/>
                <a:gd name="connsiteY28" fmla="*/ 157925 h 178879"/>
                <a:gd name="connsiteX29" fmla="*/ 75724 w 172116"/>
                <a:gd name="connsiteY29" fmla="*/ 161544 h 178879"/>
                <a:gd name="connsiteX30" fmla="*/ 59531 w 172116"/>
                <a:gd name="connsiteY30" fmla="*/ 164687 h 178879"/>
                <a:gd name="connsiteX31" fmla="*/ 41910 w 172116"/>
                <a:gd name="connsiteY31" fmla="*/ 177070 h 178879"/>
                <a:gd name="connsiteX32" fmla="*/ 33338 w 172116"/>
                <a:gd name="connsiteY32" fmla="*/ 178880 h 178879"/>
                <a:gd name="connsiteX33" fmla="*/ 29623 w 172116"/>
                <a:gd name="connsiteY33" fmla="*/ 178594 h 178879"/>
                <a:gd name="connsiteX34" fmla="*/ 6001 w 172116"/>
                <a:gd name="connsiteY34" fmla="*/ 177070 h 178879"/>
                <a:gd name="connsiteX35" fmla="*/ 0 w 172116"/>
                <a:gd name="connsiteY35" fmla="*/ 169831 h 178879"/>
                <a:gd name="connsiteX36" fmla="*/ 2000 w 172116"/>
                <a:gd name="connsiteY36" fmla="*/ 160401 h 178879"/>
                <a:gd name="connsiteX37" fmla="*/ 762 w 172116"/>
                <a:gd name="connsiteY37" fmla="*/ 153734 h 178879"/>
                <a:gd name="connsiteX38" fmla="*/ 10382 w 172116"/>
                <a:gd name="connsiteY38" fmla="*/ 152400 h 178879"/>
                <a:gd name="connsiteX39" fmla="*/ 14669 w 172116"/>
                <a:gd name="connsiteY39" fmla="*/ 131921 h 178879"/>
                <a:gd name="connsiteX40" fmla="*/ 34576 w 172116"/>
                <a:gd name="connsiteY40" fmla="*/ 108299 h 178879"/>
                <a:gd name="connsiteX41" fmla="*/ 29337 w 172116"/>
                <a:gd name="connsiteY41" fmla="*/ 83058 h 178879"/>
                <a:gd name="connsiteX42" fmla="*/ 47530 w 172116"/>
                <a:gd name="connsiteY42" fmla="*/ 79915 h 178879"/>
                <a:gd name="connsiteX43" fmla="*/ 47530 w 172116"/>
                <a:gd name="connsiteY43" fmla="*/ 64103 h 178879"/>
                <a:gd name="connsiteX44" fmla="*/ 39719 w 172116"/>
                <a:gd name="connsiteY44" fmla="*/ 54578 h 178879"/>
                <a:gd name="connsiteX45" fmla="*/ 41434 w 172116"/>
                <a:gd name="connsiteY45" fmla="*/ 45053 h 178879"/>
                <a:gd name="connsiteX46" fmla="*/ 51816 w 172116"/>
                <a:gd name="connsiteY46" fmla="*/ 46673 h 178879"/>
                <a:gd name="connsiteX47" fmla="*/ 63056 w 172116"/>
                <a:gd name="connsiteY47" fmla="*/ 52959 h 178879"/>
                <a:gd name="connsiteX48" fmla="*/ 77153 w 172116"/>
                <a:gd name="connsiteY48" fmla="*/ 41243 h 178879"/>
                <a:gd name="connsiteX49" fmla="*/ 91916 w 172116"/>
                <a:gd name="connsiteY49" fmla="*/ 32861 h 178879"/>
                <a:gd name="connsiteX50" fmla="*/ 93536 w 172116"/>
                <a:gd name="connsiteY50" fmla="*/ 27813 h 178879"/>
                <a:gd name="connsiteX51" fmla="*/ 98203 w 172116"/>
                <a:gd name="connsiteY51" fmla="*/ 19431 h 178879"/>
                <a:gd name="connsiteX52" fmla="*/ 99155 w 172116"/>
                <a:gd name="connsiteY52" fmla="*/ 13906 h 178879"/>
                <a:gd name="connsiteX53" fmla="*/ 98965 w 172116"/>
                <a:gd name="connsiteY53" fmla="*/ 9716 h 178879"/>
                <a:gd name="connsiteX54" fmla="*/ 95631 w 172116"/>
                <a:gd name="connsiteY54" fmla="*/ 7049 h 178879"/>
                <a:gd name="connsiteX55" fmla="*/ 98203 w 172116"/>
                <a:gd name="connsiteY55" fmla="*/ 1619 h 178879"/>
                <a:gd name="connsiteX56" fmla="*/ 105632 w 172116"/>
                <a:gd name="connsiteY56" fmla="*/ 0 h 178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72116" h="178879">
                  <a:moveTo>
                    <a:pt x="106108" y="191"/>
                  </a:moveTo>
                  <a:lnTo>
                    <a:pt x="114014" y="6953"/>
                  </a:lnTo>
                  <a:lnTo>
                    <a:pt x="118396" y="11811"/>
                  </a:lnTo>
                  <a:lnTo>
                    <a:pt x="121920" y="16859"/>
                  </a:lnTo>
                  <a:lnTo>
                    <a:pt x="124111" y="18955"/>
                  </a:lnTo>
                  <a:lnTo>
                    <a:pt x="130207" y="19526"/>
                  </a:lnTo>
                  <a:lnTo>
                    <a:pt x="136017" y="27813"/>
                  </a:lnTo>
                  <a:lnTo>
                    <a:pt x="139160" y="41243"/>
                  </a:lnTo>
                  <a:lnTo>
                    <a:pt x="136398" y="45434"/>
                  </a:lnTo>
                  <a:lnTo>
                    <a:pt x="133826" y="51054"/>
                  </a:lnTo>
                  <a:lnTo>
                    <a:pt x="129826" y="56198"/>
                  </a:lnTo>
                  <a:lnTo>
                    <a:pt x="129254" y="62294"/>
                  </a:lnTo>
                  <a:lnTo>
                    <a:pt x="132683" y="82487"/>
                  </a:lnTo>
                  <a:lnTo>
                    <a:pt x="160877" y="93155"/>
                  </a:lnTo>
                  <a:lnTo>
                    <a:pt x="172117" y="104299"/>
                  </a:lnTo>
                  <a:lnTo>
                    <a:pt x="171164" y="108299"/>
                  </a:lnTo>
                  <a:lnTo>
                    <a:pt x="168688" y="111443"/>
                  </a:lnTo>
                  <a:lnTo>
                    <a:pt x="164306" y="113252"/>
                  </a:lnTo>
                  <a:lnTo>
                    <a:pt x="163640" y="116110"/>
                  </a:lnTo>
                  <a:lnTo>
                    <a:pt x="164592" y="120206"/>
                  </a:lnTo>
                  <a:lnTo>
                    <a:pt x="168021" y="123635"/>
                  </a:lnTo>
                  <a:lnTo>
                    <a:pt x="169831" y="126778"/>
                  </a:lnTo>
                  <a:lnTo>
                    <a:pt x="170688" y="135255"/>
                  </a:lnTo>
                  <a:lnTo>
                    <a:pt x="151638" y="145352"/>
                  </a:lnTo>
                  <a:lnTo>
                    <a:pt x="131254" y="152686"/>
                  </a:lnTo>
                  <a:lnTo>
                    <a:pt x="114681" y="155448"/>
                  </a:lnTo>
                  <a:lnTo>
                    <a:pt x="102489" y="153353"/>
                  </a:lnTo>
                  <a:lnTo>
                    <a:pt x="97441" y="149828"/>
                  </a:lnTo>
                  <a:lnTo>
                    <a:pt x="84677" y="157925"/>
                  </a:lnTo>
                  <a:lnTo>
                    <a:pt x="75724" y="161544"/>
                  </a:lnTo>
                  <a:lnTo>
                    <a:pt x="59531" y="164687"/>
                  </a:lnTo>
                  <a:lnTo>
                    <a:pt x="41910" y="177070"/>
                  </a:lnTo>
                  <a:lnTo>
                    <a:pt x="33338" y="178880"/>
                  </a:lnTo>
                  <a:lnTo>
                    <a:pt x="29623" y="178594"/>
                  </a:lnTo>
                  <a:lnTo>
                    <a:pt x="6001" y="177070"/>
                  </a:lnTo>
                  <a:lnTo>
                    <a:pt x="0" y="169831"/>
                  </a:lnTo>
                  <a:lnTo>
                    <a:pt x="2000" y="160401"/>
                  </a:lnTo>
                  <a:lnTo>
                    <a:pt x="762" y="153734"/>
                  </a:lnTo>
                  <a:lnTo>
                    <a:pt x="10382" y="152400"/>
                  </a:lnTo>
                  <a:lnTo>
                    <a:pt x="14669" y="131921"/>
                  </a:lnTo>
                  <a:lnTo>
                    <a:pt x="34576" y="108299"/>
                  </a:lnTo>
                  <a:lnTo>
                    <a:pt x="29337" y="83058"/>
                  </a:lnTo>
                  <a:lnTo>
                    <a:pt x="47530" y="79915"/>
                  </a:lnTo>
                  <a:lnTo>
                    <a:pt x="47530" y="64103"/>
                  </a:lnTo>
                  <a:lnTo>
                    <a:pt x="39719" y="54578"/>
                  </a:lnTo>
                  <a:lnTo>
                    <a:pt x="41434" y="45053"/>
                  </a:lnTo>
                  <a:lnTo>
                    <a:pt x="51816" y="46673"/>
                  </a:lnTo>
                  <a:lnTo>
                    <a:pt x="63056" y="52959"/>
                  </a:lnTo>
                  <a:lnTo>
                    <a:pt x="77153" y="41243"/>
                  </a:lnTo>
                  <a:lnTo>
                    <a:pt x="91916" y="32861"/>
                  </a:lnTo>
                  <a:lnTo>
                    <a:pt x="93536" y="27813"/>
                  </a:lnTo>
                  <a:lnTo>
                    <a:pt x="98203" y="19431"/>
                  </a:lnTo>
                  <a:lnTo>
                    <a:pt x="99155" y="13906"/>
                  </a:lnTo>
                  <a:lnTo>
                    <a:pt x="98965" y="9716"/>
                  </a:lnTo>
                  <a:lnTo>
                    <a:pt x="95631" y="7049"/>
                  </a:lnTo>
                  <a:lnTo>
                    <a:pt x="98203" y="1619"/>
                  </a:lnTo>
                  <a:lnTo>
                    <a:pt x="105632" y="0"/>
                  </a:lnTo>
                </a:path>
              </a:pathLst>
            </a:custGeom>
            <a:grpFill/>
            <a:ln w="2381" cap="sq">
              <a:noFill/>
              <a:prstDash val="solid"/>
              <a:bevel/>
            </a:ln>
          </p:spPr>
          <p:txBody>
            <a:bodyPr rtlCol="0" anchor="ctr"/>
            <a:lstStyle/>
            <a:p>
              <a:endParaRPr lang="cs-CZ"/>
            </a:p>
          </p:txBody>
        </p:sp>
        <p:sp>
          <p:nvSpPr>
            <p:cNvPr id="260" name="Freeform: Shape 259">
              <a:extLst>
                <a:ext uri="{FF2B5EF4-FFF2-40B4-BE49-F238E27FC236}">
                  <a16:creationId xmlns:a16="http://schemas.microsoft.com/office/drawing/2014/main" id="{6F4B2149-0656-6001-7E3C-EAEDC3F5041F}"/>
                </a:ext>
              </a:extLst>
            </p:cNvPr>
            <p:cNvSpPr/>
            <p:nvPr/>
          </p:nvSpPr>
          <p:spPr>
            <a:xfrm>
              <a:off x="13245939" y="8116852"/>
              <a:ext cx="169068" cy="157543"/>
            </a:xfrm>
            <a:custGeom>
              <a:avLst/>
              <a:gdLst>
                <a:gd name="connsiteX0" fmla="*/ 96393 w 169068"/>
                <a:gd name="connsiteY0" fmla="*/ 0 h 157543"/>
                <a:gd name="connsiteX1" fmla="*/ 118300 w 169068"/>
                <a:gd name="connsiteY1" fmla="*/ 7525 h 157543"/>
                <a:gd name="connsiteX2" fmla="*/ 135255 w 169068"/>
                <a:gd name="connsiteY2" fmla="*/ 7525 h 157543"/>
                <a:gd name="connsiteX3" fmla="*/ 149447 w 169068"/>
                <a:gd name="connsiteY3" fmla="*/ 14954 h 157543"/>
                <a:gd name="connsiteX4" fmla="*/ 160020 w 169068"/>
                <a:gd name="connsiteY4" fmla="*/ 17145 h 157543"/>
                <a:gd name="connsiteX5" fmla="*/ 169069 w 169068"/>
                <a:gd name="connsiteY5" fmla="*/ 30290 h 157543"/>
                <a:gd name="connsiteX6" fmla="*/ 154972 w 169068"/>
                <a:gd name="connsiteY6" fmla="*/ 42005 h 157543"/>
                <a:gd name="connsiteX7" fmla="*/ 143732 w 169068"/>
                <a:gd name="connsiteY7" fmla="*/ 35719 h 157543"/>
                <a:gd name="connsiteX8" fmla="*/ 133350 w 169068"/>
                <a:gd name="connsiteY8" fmla="*/ 34100 h 157543"/>
                <a:gd name="connsiteX9" fmla="*/ 131635 w 169068"/>
                <a:gd name="connsiteY9" fmla="*/ 43625 h 157543"/>
                <a:gd name="connsiteX10" fmla="*/ 139446 w 169068"/>
                <a:gd name="connsiteY10" fmla="*/ 53150 h 157543"/>
                <a:gd name="connsiteX11" fmla="*/ 139446 w 169068"/>
                <a:gd name="connsiteY11" fmla="*/ 68961 h 157543"/>
                <a:gd name="connsiteX12" fmla="*/ 121253 w 169068"/>
                <a:gd name="connsiteY12" fmla="*/ 72104 h 157543"/>
                <a:gd name="connsiteX13" fmla="*/ 126492 w 169068"/>
                <a:gd name="connsiteY13" fmla="*/ 97346 h 157543"/>
                <a:gd name="connsiteX14" fmla="*/ 106585 w 169068"/>
                <a:gd name="connsiteY14" fmla="*/ 120968 h 157543"/>
                <a:gd name="connsiteX15" fmla="*/ 102299 w 169068"/>
                <a:gd name="connsiteY15" fmla="*/ 141446 h 157543"/>
                <a:gd name="connsiteX16" fmla="*/ 92678 w 169068"/>
                <a:gd name="connsiteY16" fmla="*/ 142780 h 157543"/>
                <a:gd name="connsiteX17" fmla="*/ 89440 w 169068"/>
                <a:gd name="connsiteY17" fmla="*/ 141637 h 157543"/>
                <a:gd name="connsiteX18" fmla="*/ 80677 w 169068"/>
                <a:gd name="connsiteY18" fmla="*/ 142018 h 157543"/>
                <a:gd name="connsiteX19" fmla="*/ 64484 w 169068"/>
                <a:gd name="connsiteY19" fmla="*/ 131826 h 157543"/>
                <a:gd name="connsiteX20" fmla="*/ 54864 w 169068"/>
                <a:gd name="connsiteY20" fmla="*/ 129445 h 157543"/>
                <a:gd name="connsiteX21" fmla="*/ 42481 w 169068"/>
                <a:gd name="connsiteY21" fmla="*/ 141065 h 157543"/>
                <a:gd name="connsiteX22" fmla="*/ 28289 w 169068"/>
                <a:gd name="connsiteY22" fmla="*/ 152971 h 157543"/>
                <a:gd name="connsiteX23" fmla="*/ 14002 w 169068"/>
                <a:gd name="connsiteY23" fmla="*/ 157544 h 157543"/>
                <a:gd name="connsiteX24" fmla="*/ 14002 w 169068"/>
                <a:gd name="connsiteY24" fmla="*/ 128969 h 157543"/>
                <a:gd name="connsiteX25" fmla="*/ 14002 w 169068"/>
                <a:gd name="connsiteY25" fmla="*/ 97441 h 157543"/>
                <a:gd name="connsiteX26" fmla="*/ 8287 w 169068"/>
                <a:gd name="connsiteY26" fmla="*/ 82677 h 157543"/>
                <a:gd name="connsiteX27" fmla="*/ 14954 w 169068"/>
                <a:gd name="connsiteY27" fmla="*/ 71247 h 157543"/>
                <a:gd name="connsiteX28" fmla="*/ 15335 w 169068"/>
                <a:gd name="connsiteY28" fmla="*/ 68961 h 157543"/>
                <a:gd name="connsiteX29" fmla="*/ 15907 w 169068"/>
                <a:gd name="connsiteY29" fmla="*/ 66770 h 157543"/>
                <a:gd name="connsiteX30" fmla="*/ 14002 w 169068"/>
                <a:gd name="connsiteY30" fmla="*/ 63913 h 157543"/>
                <a:gd name="connsiteX31" fmla="*/ 0 w 169068"/>
                <a:gd name="connsiteY31" fmla="*/ 54864 h 157543"/>
                <a:gd name="connsiteX32" fmla="*/ 4286 w 169068"/>
                <a:gd name="connsiteY32" fmla="*/ 48387 h 157543"/>
                <a:gd name="connsiteX33" fmla="*/ 14859 w 169068"/>
                <a:gd name="connsiteY33" fmla="*/ 41815 h 157543"/>
                <a:gd name="connsiteX34" fmla="*/ 26765 w 169068"/>
                <a:gd name="connsiteY34" fmla="*/ 39338 h 157543"/>
                <a:gd name="connsiteX35" fmla="*/ 38481 w 169068"/>
                <a:gd name="connsiteY35" fmla="*/ 42577 h 157543"/>
                <a:gd name="connsiteX36" fmla="*/ 37624 w 169068"/>
                <a:gd name="connsiteY36" fmla="*/ 38386 h 157543"/>
                <a:gd name="connsiteX37" fmla="*/ 37433 w 169068"/>
                <a:gd name="connsiteY37" fmla="*/ 36100 h 157543"/>
                <a:gd name="connsiteX38" fmla="*/ 42005 w 169068"/>
                <a:gd name="connsiteY38" fmla="*/ 35909 h 157543"/>
                <a:gd name="connsiteX39" fmla="*/ 47054 w 169068"/>
                <a:gd name="connsiteY39" fmla="*/ 37910 h 157543"/>
                <a:gd name="connsiteX40" fmla="*/ 52197 w 169068"/>
                <a:gd name="connsiteY40" fmla="*/ 37052 h 157543"/>
                <a:gd name="connsiteX41" fmla="*/ 70199 w 169068"/>
                <a:gd name="connsiteY41" fmla="*/ 27146 h 157543"/>
                <a:gd name="connsiteX42" fmla="*/ 96679 w 169068"/>
                <a:gd name="connsiteY42" fmla="*/ 191 h 157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9068" h="157543">
                  <a:moveTo>
                    <a:pt x="96393" y="0"/>
                  </a:moveTo>
                  <a:lnTo>
                    <a:pt x="118300" y="7525"/>
                  </a:lnTo>
                  <a:lnTo>
                    <a:pt x="135255" y="7525"/>
                  </a:lnTo>
                  <a:cubicBezTo>
                    <a:pt x="135255" y="7525"/>
                    <a:pt x="149447" y="14954"/>
                    <a:pt x="149447" y="14954"/>
                  </a:cubicBezTo>
                  <a:lnTo>
                    <a:pt x="160020" y="17145"/>
                  </a:lnTo>
                  <a:lnTo>
                    <a:pt x="169069" y="30290"/>
                  </a:lnTo>
                  <a:lnTo>
                    <a:pt x="154972" y="42005"/>
                  </a:lnTo>
                  <a:lnTo>
                    <a:pt x="143732" y="35719"/>
                  </a:lnTo>
                  <a:lnTo>
                    <a:pt x="133350" y="34100"/>
                  </a:lnTo>
                  <a:lnTo>
                    <a:pt x="131635" y="43625"/>
                  </a:lnTo>
                  <a:lnTo>
                    <a:pt x="139446" y="53150"/>
                  </a:lnTo>
                  <a:lnTo>
                    <a:pt x="139446" y="68961"/>
                  </a:lnTo>
                  <a:lnTo>
                    <a:pt x="121253" y="72104"/>
                  </a:lnTo>
                  <a:lnTo>
                    <a:pt x="126492" y="97346"/>
                  </a:lnTo>
                  <a:lnTo>
                    <a:pt x="106585" y="120968"/>
                  </a:lnTo>
                  <a:lnTo>
                    <a:pt x="102299" y="141446"/>
                  </a:lnTo>
                  <a:lnTo>
                    <a:pt x="92678" y="142780"/>
                  </a:lnTo>
                  <a:lnTo>
                    <a:pt x="89440" y="141637"/>
                  </a:lnTo>
                  <a:lnTo>
                    <a:pt x="80677" y="142018"/>
                  </a:lnTo>
                  <a:lnTo>
                    <a:pt x="64484" y="131826"/>
                  </a:lnTo>
                  <a:lnTo>
                    <a:pt x="54864" y="129445"/>
                  </a:lnTo>
                  <a:lnTo>
                    <a:pt x="42481" y="141065"/>
                  </a:lnTo>
                  <a:lnTo>
                    <a:pt x="28289" y="152971"/>
                  </a:lnTo>
                  <a:lnTo>
                    <a:pt x="14002" y="157544"/>
                  </a:lnTo>
                  <a:lnTo>
                    <a:pt x="14002" y="128969"/>
                  </a:lnTo>
                  <a:cubicBezTo>
                    <a:pt x="14002" y="128969"/>
                    <a:pt x="14002" y="97441"/>
                    <a:pt x="14002" y="97441"/>
                  </a:cubicBezTo>
                  <a:lnTo>
                    <a:pt x="8287" y="82677"/>
                  </a:lnTo>
                  <a:lnTo>
                    <a:pt x="14954" y="71247"/>
                  </a:lnTo>
                  <a:lnTo>
                    <a:pt x="15335" y="68961"/>
                  </a:lnTo>
                  <a:lnTo>
                    <a:pt x="15907" y="66770"/>
                  </a:lnTo>
                  <a:lnTo>
                    <a:pt x="14002" y="63913"/>
                  </a:lnTo>
                  <a:lnTo>
                    <a:pt x="0" y="54864"/>
                  </a:lnTo>
                  <a:lnTo>
                    <a:pt x="4286" y="48387"/>
                  </a:lnTo>
                  <a:lnTo>
                    <a:pt x="14859" y="41815"/>
                  </a:lnTo>
                  <a:lnTo>
                    <a:pt x="26765" y="39338"/>
                  </a:lnTo>
                  <a:lnTo>
                    <a:pt x="38481" y="42577"/>
                  </a:lnTo>
                  <a:lnTo>
                    <a:pt x="37624" y="38386"/>
                  </a:lnTo>
                  <a:lnTo>
                    <a:pt x="37433" y="36100"/>
                  </a:lnTo>
                  <a:lnTo>
                    <a:pt x="42005" y="35909"/>
                  </a:lnTo>
                  <a:lnTo>
                    <a:pt x="47054" y="37910"/>
                  </a:lnTo>
                  <a:lnTo>
                    <a:pt x="52197" y="37052"/>
                  </a:lnTo>
                  <a:lnTo>
                    <a:pt x="70199" y="27146"/>
                  </a:lnTo>
                  <a:lnTo>
                    <a:pt x="96679" y="191"/>
                  </a:lnTo>
                </a:path>
              </a:pathLst>
            </a:custGeom>
            <a:grpFill/>
            <a:ln w="2381" cap="sq">
              <a:noFill/>
              <a:prstDash val="solid"/>
              <a:bevel/>
            </a:ln>
          </p:spPr>
          <p:txBody>
            <a:bodyPr rtlCol="0" anchor="ctr"/>
            <a:lstStyle/>
            <a:p>
              <a:endParaRPr lang="cs-CZ"/>
            </a:p>
          </p:txBody>
        </p:sp>
        <p:sp>
          <p:nvSpPr>
            <p:cNvPr id="261" name="Freeform: Shape 260">
              <a:extLst>
                <a:ext uri="{FF2B5EF4-FFF2-40B4-BE49-F238E27FC236}">
                  <a16:creationId xmlns:a16="http://schemas.microsoft.com/office/drawing/2014/main" id="{0B154D54-D954-E3CC-8C99-AB12C0AAF0F4}"/>
                </a:ext>
              </a:extLst>
            </p:cNvPr>
            <p:cNvSpPr/>
            <p:nvPr/>
          </p:nvSpPr>
          <p:spPr>
            <a:xfrm>
              <a:off x="13199457" y="8191338"/>
              <a:ext cx="60198" cy="86868"/>
            </a:xfrm>
            <a:custGeom>
              <a:avLst/>
              <a:gdLst>
                <a:gd name="connsiteX0" fmla="*/ 30861 w 60198"/>
                <a:gd name="connsiteY0" fmla="*/ 0 h 86868"/>
                <a:gd name="connsiteX1" fmla="*/ 54483 w 60198"/>
                <a:gd name="connsiteY1" fmla="*/ 8096 h 86868"/>
                <a:gd name="connsiteX2" fmla="*/ 60198 w 60198"/>
                <a:gd name="connsiteY2" fmla="*/ 22860 h 86868"/>
                <a:gd name="connsiteX3" fmla="*/ 60198 w 60198"/>
                <a:gd name="connsiteY3" fmla="*/ 82963 h 86868"/>
                <a:gd name="connsiteX4" fmla="*/ 37719 w 60198"/>
                <a:gd name="connsiteY4" fmla="*/ 86868 h 86868"/>
                <a:gd name="connsiteX5" fmla="*/ 29908 w 60198"/>
                <a:gd name="connsiteY5" fmla="*/ 84582 h 86868"/>
                <a:gd name="connsiteX6" fmla="*/ 19621 w 60198"/>
                <a:gd name="connsiteY6" fmla="*/ 76010 h 86868"/>
                <a:gd name="connsiteX7" fmla="*/ 9525 w 60198"/>
                <a:gd name="connsiteY7" fmla="*/ 67627 h 86868"/>
                <a:gd name="connsiteX8" fmla="*/ 0 w 60198"/>
                <a:gd name="connsiteY8" fmla="*/ 63246 h 86868"/>
                <a:gd name="connsiteX9" fmla="*/ 16002 w 60198"/>
                <a:gd name="connsiteY9" fmla="*/ 48197 h 86868"/>
                <a:gd name="connsiteX10" fmla="*/ 16859 w 60198"/>
                <a:gd name="connsiteY10" fmla="*/ 34004 h 86868"/>
                <a:gd name="connsiteX11" fmla="*/ 11716 w 60198"/>
                <a:gd name="connsiteY11" fmla="*/ 19812 h 86868"/>
                <a:gd name="connsiteX12" fmla="*/ 14764 w 60198"/>
                <a:gd name="connsiteY12" fmla="*/ 3620 h 86868"/>
                <a:gd name="connsiteX13" fmla="*/ 24194 w 60198"/>
                <a:gd name="connsiteY13" fmla="*/ 7525 h 86868"/>
                <a:gd name="connsiteX14" fmla="*/ 30099 w 60198"/>
                <a:gd name="connsiteY14" fmla="*/ 2286 h 86868"/>
                <a:gd name="connsiteX15" fmla="*/ 30956 w 60198"/>
                <a:gd name="connsiteY15" fmla="*/ 191 h 8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198" h="86868">
                  <a:moveTo>
                    <a:pt x="30861" y="0"/>
                  </a:moveTo>
                  <a:lnTo>
                    <a:pt x="54483" y="8096"/>
                  </a:lnTo>
                  <a:lnTo>
                    <a:pt x="60198" y="22860"/>
                  </a:lnTo>
                  <a:lnTo>
                    <a:pt x="60198" y="82963"/>
                  </a:lnTo>
                  <a:cubicBezTo>
                    <a:pt x="60198" y="82963"/>
                    <a:pt x="37719" y="86868"/>
                    <a:pt x="37719" y="86868"/>
                  </a:cubicBezTo>
                  <a:lnTo>
                    <a:pt x="29908" y="84582"/>
                  </a:lnTo>
                  <a:lnTo>
                    <a:pt x="19621" y="76010"/>
                  </a:lnTo>
                  <a:lnTo>
                    <a:pt x="9525" y="67627"/>
                  </a:lnTo>
                  <a:lnTo>
                    <a:pt x="0" y="63246"/>
                  </a:lnTo>
                  <a:lnTo>
                    <a:pt x="16002" y="48197"/>
                  </a:lnTo>
                  <a:lnTo>
                    <a:pt x="16859" y="34004"/>
                  </a:lnTo>
                  <a:lnTo>
                    <a:pt x="11716" y="19812"/>
                  </a:lnTo>
                  <a:lnTo>
                    <a:pt x="14764" y="3620"/>
                  </a:lnTo>
                  <a:lnTo>
                    <a:pt x="24194" y="7525"/>
                  </a:lnTo>
                  <a:lnTo>
                    <a:pt x="30099" y="2286"/>
                  </a:lnTo>
                  <a:lnTo>
                    <a:pt x="30956" y="191"/>
                  </a:lnTo>
                </a:path>
              </a:pathLst>
            </a:custGeom>
            <a:grpFill/>
            <a:ln w="2381" cap="sq">
              <a:noFill/>
              <a:prstDash val="solid"/>
              <a:bevel/>
            </a:ln>
          </p:spPr>
          <p:txBody>
            <a:bodyPr rtlCol="0" anchor="ctr"/>
            <a:lstStyle/>
            <a:p>
              <a:endParaRPr lang="cs-CZ"/>
            </a:p>
          </p:txBody>
        </p:sp>
        <p:sp>
          <p:nvSpPr>
            <p:cNvPr id="262" name="Freeform: Shape 261">
              <a:extLst>
                <a:ext uri="{FF2B5EF4-FFF2-40B4-BE49-F238E27FC236}">
                  <a16:creationId xmlns:a16="http://schemas.microsoft.com/office/drawing/2014/main" id="{48F112E5-A2A9-32BE-A122-DACE86062CBB}"/>
                </a:ext>
              </a:extLst>
            </p:cNvPr>
            <p:cNvSpPr/>
            <p:nvPr/>
          </p:nvSpPr>
          <p:spPr>
            <a:xfrm>
              <a:off x="13151356" y="8170764"/>
              <a:ext cx="64960" cy="91535"/>
            </a:xfrm>
            <a:custGeom>
              <a:avLst/>
              <a:gdLst>
                <a:gd name="connsiteX0" fmla="*/ 32195 w 64960"/>
                <a:gd name="connsiteY0" fmla="*/ 95 h 91535"/>
                <a:gd name="connsiteX1" fmla="*/ 52292 w 64960"/>
                <a:gd name="connsiteY1" fmla="*/ 16097 h 91535"/>
                <a:gd name="connsiteX2" fmla="*/ 54007 w 64960"/>
                <a:gd name="connsiteY2" fmla="*/ 20383 h 91535"/>
                <a:gd name="connsiteX3" fmla="*/ 62865 w 64960"/>
                <a:gd name="connsiteY3" fmla="*/ 24098 h 91535"/>
                <a:gd name="connsiteX4" fmla="*/ 59817 w 64960"/>
                <a:gd name="connsiteY4" fmla="*/ 40291 h 91535"/>
                <a:gd name="connsiteX5" fmla="*/ 64961 w 64960"/>
                <a:gd name="connsiteY5" fmla="*/ 54483 h 91535"/>
                <a:gd name="connsiteX6" fmla="*/ 64103 w 64960"/>
                <a:gd name="connsiteY6" fmla="*/ 68675 h 91535"/>
                <a:gd name="connsiteX7" fmla="*/ 48101 w 64960"/>
                <a:gd name="connsiteY7" fmla="*/ 83725 h 91535"/>
                <a:gd name="connsiteX8" fmla="*/ 40100 w 64960"/>
                <a:gd name="connsiteY8" fmla="*/ 80010 h 91535"/>
                <a:gd name="connsiteX9" fmla="*/ 25337 w 64960"/>
                <a:gd name="connsiteY9" fmla="*/ 82010 h 91535"/>
                <a:gd name="connsiteX10" fmla="*/ 13430 w 64960"/>
                <a:gd name="connsiteY10" fmla="*/ 88773 h 91535"/>
                <a:gd name="connsiteX11" fmla="*/ 1715 w 64960"/>
                <a:gd name="connsiteY11" fmla="*/ 91535 h 91535"/>
                <a:gd name="connsiteX12" fmla="*/ 4572 w 64960"/>
                <a:gd name="connsiteY12" fmla="*/ 83058 h 91535"/>
                <a:gd name="connsiteX13" fmla="*/ 3620 w 64960"/>
                <a:gd name="connsiteY13" fmla="*/ 79915 h 91535"/>
                <a:gd name="connsiteX14" fmla="*/ 2477 w 64960"/>
                <a:gd name="connsiteY14" fmla="*/ 74581 h 91535"/>
                <a:gd name="connsiteX15" fmla="*/ 0 w 64960"/>
                <a:gd name="connsiteY15" fmla="*/ 68294 h 91535"/>
                <a:gd name="connsiteX16" fmla="*/ 953 w 64960"/>
                <a:gd name="connsiteY16" fmla="*/ 46482 h 91535"/>
                <a:gd name="connsiteX17" fmla="*/ 762 w 64960"/>
                <a:gd name="connsiteY17" fmla="*/ 39529 h 91535"/>
                <a:gd name="connsiteX18" fmla="*/ 1810 w 64960"/>
                <a:gd name="connsiteY18" fmla="*/ 35242 h 91535"/>
                <a:gd name="connsiteX19" fmla="*/ 3715 w 64960"/>
                <a:gd name="connsiteY19" fmla="*/ 33147 h 91535"/>
                <a:gd name="connsiteX20" fmla="*/ 6953 w 64960"/>
                <a:gd name="connsiteY20" fmla="*/ 31528 h 91535"/>
                <a:gd name="connsiteX21" fmla="*/ 10478 w 64960"/>
                <a:gd name="connsiteY21" fmla="*/ 30575 h 91535"/>
                <a:gd name="connsiteX22" fmla="*/ 15716 w 64960"/>
                <a:gd name="connsiteY22" fmla="*/ 25432 h 91535"/>
                <a:gd name="connsiteX23" fmla="*/ 15145 w 64960"/>
                <a:gd name="connsiteY23" fmla="*/ 22098 h 91535"/>
                <a:gd name="connsiteX24" fmla="*/ 12383 w 64960"/>
                <a:gd name="connsiteY24" fmla="*/ 20574 h 91535"/>
                <a:gd name="connsiteX25" fmla="*/ 10573 w 64960"/>
                <a:gd name="connsiteY25" fmla="*/ 17145 h 91535"/>
                <a:gd name="connsiteX26" fmla="*/ 8287 w 64960"/>
                <a:gd name="connsiteY26" fmla="*/ 14478 h 91535"/>
                <a:gd name="connsiteX27" fmla="*/ 8477 w 64960"/>
                <a:gd name="connsiteY27" fmla="*/ 11621 h 91535"/>
                <a:gd name="connsiteX28" fmla="*/ 5334 w 64960"/>
                <a:gd name="connsiteY28" fmla="*/ 7144 h 91535"/>
                <a:gd name="connsiteX29" fmla="*/ 32099 w 64960"/>
                <a:gd name="connsiteY29" fmla="*/ 0 h 91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4960" h="91535">
                  <a:moveTo>
                    <a:pt x="32195" y="95"/>
                  </a:moveTo>
                  <a:lnTo>
                    <a:pt x="52292" y="16097"/>
                  </a:lnTo>
                  <a:lnTo>
                    <a:pt x="54007" y="20383"/>
                  </a:lnTo>
                  <a:lnTo>
                    <a:pt x="62865" y="24098"/>
                  </a:lnTo>
                  <a:lnTo>
                    <a:pt x="59817" y="40291"/>
                  </a:lnTo>
                  <a:lnTo>
                    <a:pt x="64961" y="54483"/>
                  </a:lnTo>
                  <a:lnTo>
                    <a:pt x="64103" y="68675"/>
                  </a:lnTo>
                  <a:lnTo>
                    <a:pt x="48101" y="83725"/>
                  </a:lnTo>
                  <a:lnTo>
                    <a:pt x="40100" y="80010"/>
                  </a:lnTo>
                  <a:lnTo>
                    <a:pt x="25337" y="82010"/>
                  </a:lnTo>
                  <a:lnTo>
                    <a:pt x="13430" y="88773"/>
                  </a:lnTo>
                  <a:lnTo>
                    <a:pt x="1715" y="91535"/>
                  </a:lnTo>
                  <a:lnTo>
                    <a:pt x="4572" y="83058"/>
                  </a:lnTo>
                  <a:lnTo>
                    <a:pt x="3620" y="79915"/>
                  </a:lnTo>
                  <a:lnTo>
                    <a:pt x="2477" y="74581"/>
                  </a:lnTo>
                  <a:lnTo>
                    <a:pt x="0" y="68294"/>
                  </a:lnTo>
                  <a:lnTo>
                    <a:pt x="953" y="46482"/>
                  </a:lnTo>
                  <a:lnTo>
                    <a:pt x="762" y="39529"/>
                  </a:lnTo>
                  <a:lnTo>
                    <a:pt x="1810" y="35242"/>
                  </a:lnTo>
                  <a:lnTo>
                    <a:pt x="3715" y="33147"/>
                  </a:lnTo>
                  <a:lnTo>
                    <a:pt x="6953" y="31528"/>
                  </a:lnTo>
                  <a:lnTo>
                    <a:pt x="10478" y="30575"/>
                  </a:lnTo>
                  <a:lnTo>
                    <a:pt x="15716" y="25432"/>
                  </a:lnTo>
                  <a:lnTo>
                    <a:pt x="15145" y="22098"/>
                  </a:lnTo>
                  <a:lnTo>
                    <a:pt x="12383" y="20574"/>
                  </a:lnTo>
                  <a:lnTo>
                    <a:pt x="10573" y="17145"/>
                  </a:lnTo>
                  <a:lnTo>
                    <a:pt x="8287" y="14478"/>
                  </a:lnTo>
                  <a:lnTo>
                    <a:pt x="8477" y="11621"/>
                  </a:lnTo>
                  <a:lnTo>
                    <a:pt x="5334" y="7144"/>
                  </a:lnTo>
                  <a:lnTo>
                    <a:pt x="32099" y="0"/>
                  </a:lnTo>
                </a:path>
              </a:pathLst>
            </a:custGeom>
            <a:grpFill/>
            <a:ln w="2381" cap="sq">
              <a:noFill/>
              <a:prstDash val="solid"/>
              <a:bevel/>
            </a:ln>
          </p:spPr>
          <p:txBody>
            <a:bodyPr rtlCol="0" anchor="ctr"/>
            <a:lstStyle/>
            <a:p>
              <a:endParaRPr lang="cs-CZ"/>
            </a:p>
          </p:txBody>
        </p:sp>
        <p:sp>
          <p:nvSpPr>
            <p:cNvPr id="263" name="Freeform: Shape 262">
              <a:extLst>
                <a:ext uri="{FF2B5EF4-FFF2-40B4-BE49-F238E27FC236}">
                  <a16:creationId xmlns:a16="http://schemas.microsoft.com/office/drawing/2014/main" id="{0BC57228-F3EC-BD71-B4CC-50C885909D7E}"/>
                </a:ext>
              </a:extLst>
            </p:cNvPr>
            <p:cNvSpPr/>
            <p:nvPr/>
          </p:nvSpPr>
          <p:spPr>
            <a:xfrm>
              <a:off x="13067536" y="8119519"/>
              <a:ext cx="116014" cy="134207"/>
            </a:xfrm>
            <a:custGeom>
              <a:avLst/>
              <a:gdLst>
                <a:gd name="connsiteX0" fmla="*/ 116014 w 116014"/>
                <a:gd name="connsiteY0" fmla="*/ 51340 h 134207"/>
                <a:gd name="connsiteX1" fmla="*/ 89249 w 116014"/>
                <a:gd name="connsiteY1" fmla="*/ 58483 h 134207"/>
                <a:gd name="connsiteX2" fmla="*/ 92392 w 116014"/>
                <a:gd name="connsiteY2" fmla="*/ 62960 h 134207"/>
                <a:gd name="connsiteX3" fmla="*/ 92202 w 116014"/>
                <a:gd name="connsiteY3" fmla="*/ 65818 h 134207"/>
                <a:gd name="connsiteX4" fmla="*/ 94488 w 116014"/>
                <a:gd name="connsiteY4" fmla="*/ 68485 h 134207"/>
                <a:gd name="connsiteX5" fmla="*/ 96298 w 116014"/>
                <a:gd name="connsiteY5" fmla="*/ 71914 h 134207"/>
                <a:gd name="connsiteX6" fmla="*/ 99060 w 116014"/>
                <a:gd name="connsiteY6" fmla="*/ 73438 h 134207"/>
                <a:gd name="connsiteX7" fmla="*/ 99631 w 116014"/>
                <a:gd name="connsiteY7" fmla="*/ 76772 h 134207"/>
                <a:gd name="connsiteX8" fmla="*/ 94393 w 116014"/>
                <a:gd name="connsiteY8" fmla="*/ 81915 h 134207"/>
                <a:gd name="connsiteX9" fmla="*/ 90868 w 116014"/>
                <a:gd name="connsiteY9" fmla="*/ 82868 h 134207"/>
                <a:gd name="connsiteX10" fmla="*/ 87630 w 116014"/>
                <a:gd name="connsiteY10" fmla="*/ 84487 h 134207"/>
                <a:gd name="connsiteX11" fmla="*/ 85725 w 116014"/>
                <a:gd name="connsiteY11" fmla="*/ 86582 h 134207"/>
                <a:gd name="connsiteX12" fmla="*/ 84677 w 116014"/>
                <a:gd name="connsiteY12" fmla="*/ 90869 h 134207"/>
                <a:gd name="connsiteX13" fmla="*/ 84868 w 116014"/>
                <a:gd name="connsiteY13" fmla="*/ 97822 h 134207"/>
                <a:gd name="connsiteX14" fmla="*/ 83915 w 116014"/>
                <a:gd name="connsiteY14" fmla="*/ 119634 h 134207"/>
                <a:gd name="connsiteX15" fmla="*/ 86392 w 116014"/>
                <a:gd name="connsiteY15" fmla="*/ 125921 h 134207"/>
                <a:gd name="connsiteX16" fmla="*/ 87535 w 116014"/>
                <a:gd name="connsiteY16" fmla="*/ 131254 h 134207"/>
                <a:gd name="connsiteX17" fmla="*/ 74867 w 116014"/>
                <a:gd name="connsiteY17" fmla="*/ 134207 h 134207"/>
                <a:gd name="connsiteX18" fmla="*/ 68389 w 116014"/>
                <a:gd name="connsiteY18" fmla="*/ 130302 h 134207"/>
                <a:gd name="connsiteX19" fmla="*/ 61341 w 116014"/>
                <a:gd name="connsiteY19" fmla="*/ 126016 h 134207"/>
                <a:gd name="connsiteX20" fmla="*/ 53911 w 116014"/>
                <a:gd name="connsiteY20" fmla="*/ 121539 h 134207"/>
                <a:gd name="connsiteX21" fmla="*/ 46768 w 116014"/>
                <a:gd name="connsiteY21" fmla="*/ 120110 h 134207"/>
                <a:gd name="connsiteX22" fmla="*/ 41148 w 116014"/>
                <a:gd name="connsiteY22" fmla="*/ 114872 h 134207"/>
                <a:gd name="connsiteX23" fmla="*/ 30671 w 116014"/>
                <a:gd name="connsiteY23" fmla="*/ 90202 h 134207"/>
                <a:gd name="connsiteX24" fmla="*/ 26765 w 116014"/>
                <a:gd name="connsiteY24" fmla="*/ 81058 h 134207"/>
                <a:gd name="connsiteX25" fmla="*/ 20574 w 116014"/>
                <a:gd name="connsiteY25" fmla="*/ 76581 h 134207"/>
                <a:gd name="connsiteX26" fmla="*/ 13621 w 116014"/>
                <a:gd name="connsiteY26" fmla="*/ 71533 h 134207"/>
                <a:gd name="connsiteX27" fmla="*/ 7048 w 116014"/>
                <a:gd name="connsiteY27" fmla="*/ 69342 h 134207"/>
                <a:gd name="connsiteX28" fmla="*/ 0 w 116014"/>
                <a:gd name="connsiteY28" fmla="*/ 66961 h 134207"/>
                <a:gd name="connsiteX29" fmla="*/ 7525 w 116014"/>
                <a:gd name="connsiteY29" fmla="*/ 56864 h 134207"/>
                <a:gd name="connsiteX30" fmla="*/ 17907 w 116014"/>
                <a:gd name="connsiteY30" fmla="*/ 50578 h 134207"/>
                <a:gd name="connsiteX31" fmla="*/ 20479 w 116014"/>
                <a:gd name="connsiteY31" fmla="*/ 33147 h 134207"/>
                <a:gd name="connsiteX32" fmla="*/ 28289 w 116014"/>
                <a:gd name="connsiteY32" fmla="*/ 30004 h 134207"/>
                <a:gd name="connsiteX33" fmla="*/ 40386 w 116014"/>
                <a:gd name="connsiteY33" fmla="*/ 15812 h 134207"/>
                <a:gd name="connsiteX34" fmla="*/ 48196 w 116014"/>
                <a:gd name="connsiteY34" fmla="*/ 6287 h 134207"/>
                <a:gd name="connsiteX35" fmla="*/ 56007 w 116014"/>
                <a:gd name="connsiteY35" fmla="*/ 0 h 134207"/>
                <a:gd name="connsiteX36" fmla="*/ 65532 w 116014"/>
                <a:gd name="connsiteY36" fmla="*/ 7906 h 134207"/>
                <a:gd name="connsiteX37" fmla="*/ 80296 w 116014"/>
                <a:gd name="connsiteY37" fmla="*/ 11049 h 134207"/>
                <a:gd name="connsiteX38" fmla="*/ 94202 w 116014"/>
                <a:gd name="connsiteY38" fmla="*/ 14192 h 134207"/>
                <a:gd name="connsiteX39" fmla="*/ 101155 w 116014"/>
                <a:gd name="connsiteY39" fmla="*/ 28385 h 134207"/>
                <a:gd name="connsiteX40" fmla="*/ 107251 w 116014"/>
                <a:gd name="connsiteY40" fmla="*/ 39433 h 134207"/>
                <a:gd name="connsiteX41" fmla="*/ 116014 w 116014"/>
                <a:gd name="connsiteY41" fmla="*/ 51340 h 134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6014" h="134207">
                  <a:moveTo>
                    <a:pt x="116014" y="51340"/>
                  </a:moveTo>
                  <a:lnTo>
                    <a:pt x="89249" y="58483"/>
                  </a:lnTo>
                  <a:lnTo>
                    <a:pt x="92392" y="62960"/>
                  </a:lnTo>
                  <a:lnTo>
                    <a:pt x="92202" y="65818"/>
                  </a:lnTo>
                  <a:lnTo>
                    <a:pt x="94488" y="68485"/>
                  </a:lnTo>
                  <a:lnTo>
                    <a:pt x="96298" y="71914"/>
                  </a:lnTo>
                  <a:lnTo>
                    <a:pt x="99060" y="73438"/>
                  </a:lnTo>
                  <a:lnTo>
                    <a:pt x="99631" y="76772"/>
                  </a:lnTo>
                  <a:lnTo>
                    <a:pt x="94393" y="81915"/>
                  </a:lnTo>
                  <a:lnTo>
                    <a:pt x="90868" y="82868"/>
                  </a:lnTo>
                  <a:lnTo>
                    <a:pt x="87630" y="84487"/>
                  </a:lnTo>
                  <a:lnTo>
                    <a:pt x="85725" y="86582"/>
                  </a:lnTo>
                  <a:lnTo>
                    <a:pt x="84677" y="90869"/>
                  </a:lnTo>
                  <a:lnTo>
                    <a:pt x="84868" y="97822"/>
                  </a:lnTo>
                  <a:lnTo>
                    <a:pt x="83915" y="119634"/>
                  </a:lnTo>
                  <a:lnTo>
                    <a:pt x="86392" y="125921"/>
                  </a:lnTo>
                  <a:lnTo>
                    <a:pt x="87535" y="131254"/>
                  </a:lnTo>
                  <a:lnTo>
                    <a:pt x="74867" y="134207"/>
                  </a:lnTo>
                  <a:lnTo>
                    <a:pt x="68389" y="130302"/>
                  </a:lnTo>
                  <a:lnTo>
                    <a:pt x="61341" y="126016"/>
                  </a:lnTo>
                  <a:lnTo>
                    <a:pt x="53911" y="121539"/>
                  </a:lnTo>
                  <a:lnTo>
                    <a:pt x="46768" y="120110"/>
                  </a:lnTo>
                  <a:lnTo>
                    <a:pt x="41148" y="114872"/>
                  </a:lnTo>
                  <a:lnTo>
                    <a:pt x="30671" y="90202"/>
                  </a:lnTo>
                  <a:lnTo>
                    <a:pt x="26765" y="81058"/>
                  </a:lnTo>
                  <a:lnTo>
                    <a:pt x="20574" y="76581"/>
                  </a:lnTo>
                  <a:lnTo>
                    <a:pt x="13621" y="71533"/>
                  </a:lnTo>
                  <a:lnTo>
                    <a:pt x="7048" y="69342"/>
                  </a:lnTo>
                  <a:lnTo>
                    <a:pt x="0" y="66961"/>
                  </a:lnTo>
                  <a:lnTo>
                    <a:pt x="7525" y="56864"/>
                  </a:lnTo>
                  <a:lnTo>
                    <a:pt x="17907" y="50578"/>
                  </a:lnTo>
                  <a:lnTo>
                    <a:pt x="20479" y="33147"/>
                  </a:lnTo>
                  <a:lnTo>
                    <a:pt x="28289" y="30004"/>
                  </a:lnTo>
                  <a:lnTo>
                    <a:pt x="40386" y="15812"/>
                  </a:lnTo>
                  <a:lnTo>
                    <a:pt x="48196" y="6287"/>
                  </a:lnTo>
                  <a:lnTo>
                    <a:pt x="56007" y="0"/>
                  </a:lnTo>
                  <a:lnTo>
                    <a:pt x="65532" y="7906"/>
                  </a:lnTo>
                  <a:lnTo>
                    <a:pt x="80296" y="11049"/>
                  </a:lnTo>
                  <a:lnTo>
                    <a:pt x="94202" y="14192"/>
                  </a:lnTo>
                  <a:lnTo>
                    <a:pt x="101155" y="28385"/>
                  </a:lnTo>
                  <a:lnTo>
                    <a:pt x="107251" y="39433"/>
                  </a:lnTo>
                  <a:lnTo>
                    <a:pt x="116014" y="51340"/>
                  </a:lnTo>
                </a:path>
              </a:pathLst>
            </a:custGeom>
            <a:grpFill/>
            <a:ln w="2381" cap="sq">
              <a:noFill/>
              <a:prstDash val="solid"/>
              <a:bevel/>
            </a:ln>
          </p:spPr>
          <p:txBody>
            <a:bodyPr rtlCol="0" anchor="ctr"/>
            <a:lstStyle/>
            <a:p>
              <a:endParaRPr lang="cs-CZ"/>
            </a:p>
          </p:txBody>
        </p:sp>
        <p:sp>
          <p:nvSpPr>
            <p:cNvPr id="264" name="Freeform: Shape 263">
              <a:extLst>
                <a:ext uri="{FF2B5EF4-FFF2-40B4-BE49-F238E27FC236}">
                  <a16:creationId xmlns:a16="http://schemas.microsoft.com/office/drawing/2014/main" id="{F34BFB79-4C05-DA8E-B794-559BCEC3DA3B}"/>
                </a:ext>
              </a:extLst>
            </p:cNvPr>
            <p:cNvSpPr/>
            <p:nvPr/>
          </p:nvSpPr>
          <p:spPr>
            <a:xfrm>
              <a:off x="13126115" y="8246202"/>
              <a:ext cx="255936" cy="160972"/>
            </a:xfrm>
            <a:custGeom>
              <a:avLst/>
              <a:gdLst>
                <a:gd name="connsiteX0" fmla="*/ 0 w 255936"/>
                <a:gd name="connsiteY0" fmla="*/ 37052 h 160972"/>
                <a:gd name="connsiteX1" fmla="*/ 7429 w 255936"/>
                <a:gd name="connsiteY1" fmla="*/ 34957 h 160972"/>
                <a:gd name="connsiteX2" fmla="*/ 36004 w 255936"/>
                <a:gd name="connsiteY2" fmla="*/ 28956 h 160972"/>
                <a:gd name="connsiteX3" fmla="*/ 41720 w 255936"/>
                <a:gd name="connsiteY3" fmla="*/ 20955 h 160972"/>
                <a:gd name="connsiteX4" fmla="*/ 38862 w 255936"/>
                <a:gd name="connsiteY4" fmla="*/ 13430 h 160972"/>
                <a:gd name="connsiteX5" fmla="*/ 50768 w 255936"/>
                <a:gd name="connsiteY5" fmla="*/ 6667 h 160972"/>
                <a:gd name="connsiteX6" fmla="*/ 65532 w 255936"/>
                <a:gd name="connsiteY6" fmla="*/ 4667 h 160972"/>
                <a:gd name="connsiteX7" fmla="*/ 73533 w 255936"/>
                <a:gd name="connsiteY7" fmla="*/ 8382 h 160972"/>
                <a:gd name="connsiteX8" fmla="*/ 83058 w 255936"/>
                <a:gd name="connsiteY8" fmla="*/ 12763 h 160972"/>
                <a:gd name="connsiteX9" fmla="*/ 93154 w 255936"/>
                <a:gd name="connsiteY9" fmla="*/ 21146 h 160972"/>
                <a:gd name="connsiteX10" fmla="*/ 103442 w 255936"/>
                <a:gd name="connsiteY10" fmla="*/ 29718 h 160972"/>
                <a:gd name="connsiteX11" fmla="*/ 111252 w 255936"/>
                <a:gd name="connsiteY11" fmla="*/ 32004 h 160972"/>
                <a:gd name="connsiteX12" fmla="*/ 133826 w 255936"/>
                <a:gd name="connsiteY12" fmla="*/ 28099 h 160972"/>
                <a:gd name="connsiteX13" fmla="*/ 148114 w 255936"/>
                <a:gd name="connsiteY13" fmla="*/ 23527 h 160972"/>
                <a:gd name="connsiteX14" fmla="*/ 162306 w 255936"/>
                <a:gd name="connsiteY14" fmla="*/ 11621 h 160972"/>
                <a:gd name="connsiteX15" fmla="*/ 174688 w 255936"/>
                <a:gd name="connsiteY15" fmla="*/ 0 h 160972"/>
                <a:gd name="connsiteX16" fmla="*/ 184309 w 255936"/>
                <a:gd name="connsiteY16" fmla="*/ 2381 h 160972"/>
                <a:gd name="connsiteX17" fmla="*/ 200501 w 255936"/>
                <a:gd name="connsiteY17" fmla="*/ 12573 h 160972"/>
                <a:gd name="connsiteX18" fmla="*/ 209264 w 255936"/>
                <a:gd name="connsiteY18" fmla="*/ 12192 h 160972"/>
                <a:gd name="connsiteX19" fmla="*/ 212503 w 255936"/>
                <a:gd name="connsiteY19" fmla="*/ 13335 h 160972"/>
                <a:gd name="connsiteX20" fmla="*/ 213741 w 255936"/>
                <a:gd name="connsiteY20" fmla="*/ 20002 h 160972"/>
                <a:gd name="connsiteX21" fmla="*/ 211741 w 255936"/>
                <a:gd name="connsiteY21" fmla="*/ 29432 h 160972"/>
                <a:gd name="connsiteX22" fmla="*/ 217742 w 255936"/>
                <a:gd name="connsiteY22" fmla="*/ 36671 h 160972"/>
                <a:gd name="connsiteX23" fmla="*/ 241363 w 255936"/>
                <a:gd name="connsiteY23" fmla="*/ 38195 h 160972"/>
                <a:gd name="connsiteX24" fmla="*/ 237649 w 255936"/>
                <a:gd name="connsiteY24" fmla="*/ 40196 h 160972"/>
                <a:gd name="connsiteX25" fmla="*/ 245364 w 255936"/>
                <a:gd name="connsiteY25" fmla="*/ 43529 h 160972"/>
                <a:gd name="connsiteX26" fmla="*/ 252889 w 255936"/>
                <a:gd name="connsiteY26" fmla="*/ 42767 h 160972"/>
                <a:gd name="connsiteX27" fmla="*/ 255937 w 255936"/>
                <a:gd name="connsiteY27" fmla="*/ 44577 h 160972"/>
                <a:gd name="connsiteX28" fmla="*/ 255365 w 255936"/>
                <a:gd name="connsiteY28" fmla="*/ 48577 h 160972"/>
                <a:gd name="connsiteX29" fmla="*/ 252603 w 255936"/>
                <a:gd name="connsiteY29" fmla="*/ 55817 h 160972"/>
                <a:gd name="connsiteX30" fmla="*/ 243745 w 255936"/>
                <a:gd name="connsiteY30" fmla="*/ 64389 h 160972"/>
                <a:gd name="connsiteX31" fmla="*/ 236982 w 255936"/>
                <a:gd name="connsiteY31" fmla="*/ 84868 h 160972"/>
                <a:gd name="connsiteX32" fmla="*/ 239840 w 255936"/>
                <a:gd name="connsiteY32" fmla="*/ 93631 h 160972"/>
                <a:gd name="connsiteX33" fmla="*/ 245269 w 255936"/>
                <a:gd name="connsiteY33" fmla="*/ 100584 h 160972"/>
                <a:gd name="connsiteX34" fmla="*/ 250984 w 255936"/>
                <a:gd name="connsiteY34" fmla="*/ 115538 h 160972"/>
                <a:gd name="connsiteX35" fmla="*/ 249460 w 255936"/>
                <a:gd name="connsiteY35" fmla="*/ 120015 h 160972"/>
                <a:gd name="connsiteX36" fmla="*/ 246602 w 255936"/>
                <a:gd name="connsiteY36" fmla="*/ 121634 h 160972"/>
                <a:gd name="connsiteX37" fmla="*/ 242888 w 255936"/>
                <a:gd name="connsiteY37" fmla="*/ 125635 h 160972"/>
                <a:gd name="connsiteX38" fmla="*/ 240125 w 255936"/>
                <a:gd name="connsiteY38" fmla="*/ 129350 h 160972"/>
                <a:gd name="connsiteX39" fmla="*/ 232696 w 255936"/>
                <a:gd name="connsiteY39" fmla="*/ 131254 h 160972"/>
                <a:gd name="connsiteX40" fmla="*/ 223266 w 255936"/>
                <a:gd name="connsiteY40" fmla="*/ 131254 h 160972"/>
                <a:gd name="connsiteX41" fmla="*/ 216217 w 255936"/>
                <a:gd name="connsiteY41" fmla="*/ 137255 h 160972"/>
                <a:gd name="connsiteX42" fmla="*/ 204883 w 255936"/>
                <a:gd name="connsiteY42" fmla="*/ 149638 h 160972"/>
                <a:gd name="connsiteX43" fmla="*/ 196882 w 255936"/>
                <a:gd name="connsiteY43" fmla="*/ 153543 h 160972"/>
                <a:gd name="connsiteX44" fmla="*/ 172688 w 255936"/>
                <a:gd name="connsiteY44" fmla="*/ 155258 h 160972"/>
                <a:gd name="connsiteX45" fmla="*/ 148495 w 255936"/>
                <a:gd name="connsiteY45" fmla="*/ 148019 h 160972"/>
                <a:gd name="connsiteX46" fmla="*/ 134874 w 255936"/>
                <a:gd name="connsiteY46" fmla="*/ 148304 h 160972"/>
                <a:gd name="connsiteX47" fmla="*/ 133826 w 255936"/>
                <a:gd name="connsiteY47" fmla="*/ 157353 h 160972"/>
                <a:gd name="connsiteX48" fmla="*/ 71438 w 255936"/>
                <a:gd name="connsiteY48" fmla="*/ 153448 h 160972"/>
                <a:gd name="connsiteX49" fmla="*/ 48482 w 255936"/>
                <a:gd name="connsiteY49" fmla="*/ 160973 h 160972"/>
                <a:gd name="connsiteX50" fmla="*/ 39433 w 255936"/>
                <a:gd name="connsiteY50" fmla="*/ 118205 h 160972"/>
                <a:gd name="connsiteX51" fmla="*/ 30385 w 255936"/>
                <a:gd name="connsiteY51" fmla="*/ 120682 h 160972"/>
                <a:gd name="connsiteX52" fmla="*/ 24860 w 255936"/>
                <a:gd name="connsiteY52" fmla="*/ 95440 h 160972"/>
                <a:gd name="connsiteX53" fmla="*/ 17907 w 255936"/>
                <a:gd name="connsiteY53" fmla="*/ 56293 h 160972"/>
                <a:gd name="connsiteX54" fmla="*/ 2572 w 255936"/>
                <a:gd name="connsiteY54" fmla="*/ 56293 h 160972"/>
                <a:gd name="connsiteX55" fmla="*/ 95 w 255936"/>
                <a:gd name="connsiteY55" fmla="*/ 36862 h 160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55936" h="160972">
                  <a:moveTo>
                    <a:pt x="0" y="37052"/>
                  </a:moveTo>
                  <a:lnTo>
                    <a:pt x="7429" y="34957"/>
                  </a:lnTo>
                  <a:lnTo>
                    <a:pt x="36004" y="28956"/>
                  </a:lnTo>
                  <a:lnTo>
                    <a:pt x="41720" y="20955"/>
                  </a:lnTo>
                  <a:lnTo>
                    <a:pt x="38862" y="13430"/>
                  </a:lnTo>
                  <a:lnTo>
                    <a:pt x="50768" y="6667"/>
                  </a:lnTo>
                  <a:lnTo>
                    <a:pt x="65532" y="4667"/>
                  </a:lnTo>
                  <a:lnTo>
                    <a:pt x="73533" y="8382"/>
                  </a:lnTo>
                  <a:lnTo>
                    <a:pt x="83058" y="12763"/>
                  </a:lnTo>
                  <a:lnTo>
                    <a:pt x="93154" y="21146"/>
                  </a:lnTo>
                  <a:lnTo>
                    <a:pt x="103442" y="29718"/>
                  </a:lnTo>
                  <a:lnTo>
                    <a:pt x="111252" y="32004"/>
                  </a:lnTo>
                  <a:lnTo>
                    <a:pt x="133826" y="28099"/>
                  </a:lnTo>
                  <a:lnTo>
                    <a:pt x="148114" y="23527"/>
                  </a:lnTo>
                  <a:lnTo>
                    <a:pt x="162306" y="11621"/>
                  </a:lnTo>
                  <a:lnTo>
                    <a:pt x="174688" y="0"/>
                  </a:lnTo>
                  <a:lnTo>
                    <a:pt x="184309" y="2381"/>
                  </a:lnTo>
                  <a:lnTo>
                    <a:pt x="200501" y="12573"/>
                  </a:lnTo>
                  <a:lnTo>
                    <a:pt x="209264" y="12192"/>
                  </a:lnTo>
                  <a:lnTo>
                    <a:pt x="212503" y="13335"/>
                  </a:lnTo>
                  <a:lnTo>
                    <a:pt x="213741" y="20002"/>
                  </a:lnTo>
                  <a:lnTo>
                    <a:pt x="211741" y="29432"/>
                  </a:lnTo>
                  <a:lnTo>
                    <a:pt x="217742" y="36671"/>
                  </a:lnTo>
                  <a:lnTo>
                    <a:pt x="241363" y="38195"/>
                  </a:lnTo>
                  <a:lnTo>
                    <a:pt x="237649" y="40196"/>
                  </a:lnTo>
                  <a:lnTo>
                    <a:pt x="245364" y="43529"/>
                  </a:lnTo>
                  <a:lnTo>
                    <a:pt x="252889" y="42767"/>
                  </a:lnTo>
                  <a:lnTo>
                    <a:pt x="255937" y="44577"/>
                  </a:lnTo>
                  <a:lnTo>
                    <a:pt x="255365" y="48577"/>
                  </a:lnTo>
                  <a:lnTo>
                    <a:pt x="252603" y="55817"/>
                  </a:lnTo>
                  <a:lnTo>
                    <a:pt x="243745" y="64389"/>
                  </a:lnTo>
                  <a:lnTo>
                    <a:pt x="236982" y="84868"/>
                  </a:lnTo>
                  <a:lnTo>
                    <a:pt x="239840" y="93631"/>
                  </a:lnTo>
                  <a:lnTo>
                    <a:pt x="245269" y="100584"/>
                  </a:lnTo>
                  <a:lnTo>
                    <a:pt x="250984" y="115538"/>
                  </a:lnTo>
                  <a:lnTo>
                    <a:pt x="249460" y="120015"/>
                  </a:lnTo>
                  <a:lnTo>
                    <a:pt x="246602" y="121634"/>
                  </a:lnTo>
                  <a:lnTo>
                    <a:pt x="242888" y="125635"/>
                  </a:lnTo>
                  <a:lnTo>
                    <a:pt x="240125" y="129350"/>
                  </a:lnTo>
                  <a:lnTo>
                    <a:pt x="232696" y="131254"/>
                  </a:lnTo>
                  <a:lnTo>
                    <a:pt x="223266" y="131254"/>
                  </a:lnTo>
                  <a:cubicBezTo>
                    <a:pt x="223266" y="131254"/>
                    <a:pt x="216217" y="137255"/>
                    <a:pt x="216217" y="137255"/>
                  </a:cubicBezTo>
                  <a:lnTo>
                    <a:pt x="204883" y="149638"/>
                  </a:lnTo>
                  <a:lnTo>
                    <a:pt x="196882" y="153543"/>
                  </a:lnTo>
                  <a:lnTo>
                    <a:pt x="172688" y="155258"/>
                  </a:lnTo>
                  <a:lnTo>
                    <a:pt x="148495" y="148019"/>
                  </a:lnTo>
                  <a:lnTo>
                    <a:pt x="134874" y="148304"/>
                  </a:lnTo>
                  <a:lnTo>
                    <a:pt x="133826" y="157353"/>
                  </a:lnTo>
                  <a:lnTo>
                    <a:pt x="71438" y="153448"/>
                  </a:lnTo>
                  <a:lnTo>
                    <a:pt x="48482" y="160973"/>
                  </a:lnTo>
                  <a:lnTo>
                    <a:pt x="39433" y="118205"/>
                  </a:lnTo>
                  <a:lnTo>
                    <a:pt x="30385" y="120682"/>
                  </a:lnTo>
                  <a:lnTo>
                    <a:pt x="24860" y="95440"/>
                  </a:lnTo>
                  <a:lnTo>
                    <a:pt x="17907" y="56293"/>
                  </a:lnTo>
                  <a:lnTo>
                    <a:pt x="2572" y="56293"/>
                  </a:lnTo>
                  <a:lnTo>
                    <a:pt x="95" y="36862"/>
                  </a:lnTo>
                </a:path>
              </a:pathLst>
            </a:custGeom>
            <a:grpFill/>
            <a:ln w="2381" cap="sq">
              <a:noFill/>
              <a:prstDash val="solid"/>
              <a:bevel/>
            </a:ln>
          </p:spPr>
          <p:txBody>
            <a:bodyPr rtlCol="0" anchor="ctr"/>
            <a:lstStyle/>
            <a:p>
              <a:endParaRPr lang="cs-CZ"/>
            </a:p>
          </p:txBody>
        </p:sp>
        <p:sp>
          <p:nvSpPr>
            <p:cNvPr id="265" name="Freeform: Shape 264">
              <a:extLst>
                <a:ext uri="{FF2B5EF4-FFF2-40B4-BE49-F238E27FC236}">
                  <a16:creationId xmlns:a16="http://schemas.microsoft.com/office/drawing/2014/main" id="{AEA9D5FB-2226-ED63-9FBE-BF08841190CC}"/>
                </a:ext>
              </a:extLst>
            </p:cNvPr>
            <p:cNvSpPr/>
            <p:nvPr/>
          </p:nvSpPr>
          <p:spPr>
            <a:xfrm>
              <a:off x="13714379" y="8374123"/>
              <a:ext cx="166687" cy="237743"/>
            </a:xfrm>
            <a:custGeom>
              <a:avLst/>
              <a:gdLst>
                <a:gd name="connsiteX0" fmla="*/ 111919 w 166687"/>
                <a:gd name="connsiteY0" fmla="*/ 237553 h 237743"/>
                <a:gd name="connsiteX1" fmla="*/ 100394 w 166687"/>
                <a:gd name="connsiteY1" fmla="*/ 237553 h 237743"/>
                <a:gd name="connsiteX2" fmla="*/ 93345 w 166687"/>
                <a:gd name="connsiteY2" fmla="*/ 232219 h 237743"/>
                <a:gd name="connsiteX3" fmla="*/ 88297 w 166687"/>
                <a:gd name="connsiteY3" fmla="*/ 227457 h 237743"/>
                <a:gd name="connsiteX4" fmla="*/ 72962 w 166687"/>
                <a:gd name="connsiteY4" fmla="*/ 220599 h 237743"/>
                <a:gd name="connsiteX5" fmla="*/ 61246 w 166687"/>
                <a:gd name="connsiteY5" fmla="*/ 210312 h 237743"/>
                <a:gd name="connsiteX6" fmla="*/ 55626 w 166687"/>
                <a:gd name="connsiteY6" fmla="*/ 198787 h 237743"/>
                <a:gd name="connsiteX7" fmla="*/ 72581 w 166687"/>
                <a:gd name="connsiteY7" fmla="*/ 200215 h 237743"/>
                <a:gd name="connsiteX8" fmla="*/ 82201 w 166687"/>
                <a:gd name="connsiteY8" fmla="*/ 191548 h 237743"/>
                <a:gd name="connsiteX9" fmla="*/ 82963 w 166687"/>
                <a:gd name="connsiteY9" fmla="*/ 162592 h 237743"/>
                <a:gd name="connsiteX10" fmla="*/ 77343 w 166687"/>
                <a:gd name="connsiteY10" fmla="*/ 133636 h 237743"/>
                <a:gd name="connsiteX11" fmla="*/ 70104 w 166687"/>
                <a:gd name="connsiteY11" fmla="*/ 122015 h 237743"/>
                <a:gd name="connsiteX12" fmla="*/ 54769 w 166687"/>
                <a:gd name="connsiteY12" fmla="*/ 117634 h 237743"/>
                <a:gd name="connsiteX13" fmla="*/ 50768 w 166687"/>
                <a:gd name="connsiteY13" fmla="*/ 91535 h 237743"/>
                <a:gd name="connsiteX14" fmla="*/ 42672 w 166687"/>
                <a:gd name="connsiteY14" fmla="*/ 90106 h 237743"/>
                <a:gd name="connsiteX15" fmla="*/ 20955 w 166687"/>
                <a:gd name="connsiteY15" fmla="*/ 81439 h 237743"/>
                <a:gd name="connsiteX16" fmla="*/ 0 w 166687"/>
                <a:gd name="connsiteY16" fmla="*/ 64008 h 237743"/>
                <a:gd name="connsiteX17" fmla="*/ 7239 w 166687"/>
                <a:gd name="connsiteY17" fmla="*/ 40767 h 237743"/>
                <a:gd name="connsiteX18" fmla="*/ 31433 w 166687"/>
                <a:gd name="connsiteY18" fmla="*/ 52387 h 237743"/>
                <a:gd name="connsiteX19" fmla="*/ 45149 w 166687"/>
                <a:gd name="connsiteY19" fmla="*/ 11621 h 237743"/>
                <a:gd name="connsiteX20" fmla="*/ 50768 w 166687"/>
                <a:gd name="connsiteY20" fmla="*/ 2857 h 237743"/>
                <a:gd name="connsiteX21" fmla="*/ 63627 w 166687"/>
                <a:gd name="connsiteY21" fmla="*/ 0 h 237743"/>
                <a:gd name="connsiteX22" fmla="*/ 87821 w 166687"/>
                <a:gd name="connsiteY22" fmla="*/ 14573 h 237743"/>
                <a:gd name="connsiteX23" fmla="*/ 106394 w 166687"/>
                <a:gd name="connsiteY23" fmla="*/ 37909 h 237743"/>
                <a:gd name="connsiteX24" fmla="*/ 97536 w 166687"/>
                <a:gd name="connsiteY24" fmla="*/ 46673 h 237743"/>
                <a:gd name="connsiteX25" fmla="*/ 81439 w 166687"/>
                <a:gd name="connsiteY25" fmla="*/ 56864 h 237743"/>
                <a:gd name="connsiteX26" fmla="*/ 74200 w 166687"/>
                <a:gd name="connsiteY26" fmla="*/ 80105 h 237743"/>
                <a:gd name="connsiteX27" fmla="*/ 79820 w 166687"/>
                <a:gd name="connsiteY27" fmla="*/ 90297 h 237743"/>
                <a:gd name="connsiteX28" fmla="*/ 94298 w 166687"/>
                <a:gd name="connsiteY28" fmla="*/ 96107 h 237743"/>
                <a:gd name="connsiteX29" fmla="*/ 109633 w 166687"/>
                <a:gd name="connsiteY29" fmla="*/ 112109 h 237743"/>
                <a:gd name="connsiteX30" fmla="*/ 125730 w 166687"/>
                <a:gd name="connsiteY30" fmla="*/ 117919 h 237743"/>
                <a:gd name="connsiteX31" fmla="*/ 137827 w 166687"/>
                <a:gd name="connsiteY31" fmla="*/ 138208 h 237743"/>
                <a:gd name="connsiteX32" fmla="*/ 147447 w 166687"/>
                <a:gd name="connsiteY32" fmla="*/ 165735 h 237743"/>
                <a:gd name="connsiteX33" fmla="*/ 145828 w 166687"/>
                <a:gd name="connsiteY33" fmla="*/ 175927 h 237743"/>
                <a:gd name="connsiteX34" fmla="*/ 132969 w 166687"/>
                <a:gd name="connsiteY34" fmla="*/ 186023 h 237743"/>
                <a:gd name="connsiteX35" fmla="*/ 142589 w 166687"/>
                <a:gd name="connsiteY35" fmla="*/ 191833 h 237743"/>
                <a:gd name="connsiteX36" fmla="*/ 156305 w 166687"/>
                <a:gd name="connsiteY36" fmla="*/ 201930 h 237743"/>
                <a:gd name="connsiteX37" fmla="*/ 164306 w 166687"/>
                <a:gd name="connsiteY37" fmla="*/ 209169 h 237743"/>
                <a:gd name="connsiteX38" fmla="*/ 166688 w 166687"/>
                <a:gd name="connsiteY38" fmla="*/ 225361 h 237743"/>
                <a:gd name="connsiteX39" fmla="*/ 160401 w 166687"/>
                <a:gd name="connsiteY39" fmla="*/ 226505 h 237743"/>
                <a:gd name="connsiteX40" fmla="*/ 150781 w 166687"/>
                <a:gd name="connsiteY40" fmla="*/ 228790 h 237743"/>
                <a:gd name="connsiteX41" fmla="*/ 146590 w 166687"/>
                <a:gd name="connsiteY41" fmla="*/ 224981 h 237743"/>
                <a:gd name="connsiteX42" fmla="*/ 141351 w 166687"/>
                <a:gd name="connsiteY42" fmla="*/ 224981 h 237743"/>
                <a:gd name="connsiteX43" fmla="*/ 135160 w 166687"/>
                <a:gd name="connsiteY43" fmla="*/ 226409 h 237743"/>
                <a:gd name="connsiteX44" fmla="*/ 122492 w 166687"/>
                <a:gd name="connsiteY44" fmla="*/ 234982 h 237743"/>
                <a:gd name="connsiteX45" fmla="*/ 112204 w 166687"/>
                <a:gd name="connsiteY45" fmla="*/ 237744 h 23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66687" h="237743">
                  <a:moveTo>
                    <a:pt x="111919" y="237553"/>
                  </a:moveTo>
                  <a:lnTo>
                    <a:pt x="100394" y="237553"/>
                  </a:lnTo>
                  <a:cubicBezTo>
                    <a:pt x="100394" y="237553"/>
                    <a:pt x="93345" y="232219"/>
                    <a:pt x="93345" y="232219"/>
                  </a:cubicBezTo>
                  <a:lnTo>
                    <a:pt x="88297" y="227457"/>
                  </a:lnTo>
                  <a:lnTo>
                    <a:pt x="72962" y="220599"/>
                  </a:lnTo>
                  <a:lnTo>
                    <a:pt x="61246" y="210312"/>
                  </a:lnTo>
                  <a:lnTo>
                    <a:pt x="55626" y="198787"/>
                  </a:lnTo>
                  <a:lnTo>
                    <a:pt x="72581" y="200215"/>
                  </a:lnTo>
                  <a:lnTo>
                    <a:pt x="82201" y="191548"/>
                  </a:lnTo>
                  <a:lnTo>
                    <a:pt x="82963" y="162592"/>
                  </a:lnTo>
                  <a:lnTo>
                    <a:pt x="77343" y="133636"/>
                  </a:lnTo>
                  <a:lnTo>
                    <a:pt x="70104" y="122015"/>
                  </a:lnTo>
                  <a:lnTo>
                    <a:pt x="54769" y="117634"/>
                  </a:lnTo>
                  <a:lnTo>
                    <a:pt x="50768" y="91535"/>
                  </a:lnTo>
                  <a:lnTo>
                    <a:pt x="42672" y="90106"/>
                  </a:lnTo>
                  <a:lnTo>
                    <a:pt x="20955" y="81439"/>
                  </a:lnTo>
                  <a:lnTo>
                    <a:pt x="0" y="64008"/>
                  </a:lnTo>
                  <a:lnTo>
                    <a:pt x="7239" y="40767"/>
                  </a:lnTo>
                  <a:lnTo>
                    <a:pt x="31433" y="52387"/>
                  </a:lnTo>
                  <a:lnTo>
                    <a:pt x="45149" y="11621"/>
                  </a:lnTo>
                  <a:lnTo>
                    <a:pt x="50768" y="2857"/>
                  </a:lnTo>
                  <a:lnTo>
                    <a:pt x="63627" y="0"/>
                  </a:lnTo>
                  <a:lnTo>
                    <a:pt x="87821" y="14573"/>
                  </a:lnTo>
                  <a:lnTo>
                    <a:pt x="106394" y="37909"/>
                  </a:lnTo>
                  <a:lnTo>
                    <a:pt x="97536" y="46673"/>
                  </a:lnTo>
                  <a:lnTo>
                    <a:pt x="81439" y="56864"/>
                  </a:lnTo>
                  <a:lnTo>
                    <a:pt x="74200" y="80105"/>
                  </a:lnTo>
                  <a:lnTo>
                    <a:pt x="79820" y="90297"/>
                  </a:lnTo>
                  <a:lnTo>
                    <a:pt x="94298" y="96107"/>
                  </a:lnTo>
                  <a:lnTo>
                    <a:pt x="109633" y="112109"/>
                  </a:lnTo>
                  <a:lnTo>
                    <a:pt x="125730" y="117919"/>
                  </a:lnTo>
                  <a:lnTo>
                    <a:pt x="137827" y="138208"/>
                  </a:lnTo>
                  <a:lnTo>
                    <a:pt x="147447" y="165735"/>
                  </a:lnTo>
                  <a:lnTo>
                    <a:pt x="145828" y="175927"/>
                  </a:lnTo>
                  <a:lnTo>
                    <a:pt x="132969" y="186023"/>
                  </a:lnTo>
                  <a:lnTo>
                    <a:pt x="142589" y="191833"/>
                  </a:lnTo>
                  <a:lnTo>
                    <a:pt x="156305" y="201930"/>
                  </a:lnTo>
                  <a:lnTo>
                    <a:pt x="164306" y="209169"/>
                  </a:lnTo>
                  <a:lnTo>
                    <a:pt x="166688" y="225361"/>
                  </a:lnTo>
                  <a:lnTo>
                    <a:pt x="160401" y="226505"/>
                  </a:lnTo>
                  <a:lnTo>
                    <a:pt x="150781" y="228790"/>
                  </a:lnTo>
                  <a:lnTo>
                    <a:pt x="146590" y="224981"/>
                  </a:lnTo>
                  <a:lnTo>
                    <a:pt x="141351" y="224981"/>
                  </a:lnTo>
                  <a:cubicBezTo>
                    <a:pt x="141351" y="224981"/>
                    <a:pt x="135160" y="226409"/>
                    <a:pt x="135160" y="226409"/>
                  </a:cubicBezTo>
                  <a:lnTo>
                    <a:pt x="122492" y="234982"/>
                  </a:lnTo>
                  <a:lnTo>
                    <a:pt x="112204" y="237744"/>
                  </a:lnTo>
                </a:path>
              </a:pathLst>
            </a:custGeom>
            <a:grpFill/>
            <a:ln w="2381" cap="sq">
              <a:noFill/>
              <a:prstDash val="solid"/>
              <a:bevel/>
            </a:ln>
          </p:spPr>
          <p:txBody>
            <a:bodyPr rtlCol="0" anchor="ctr"/>
            <a:lstStyle/>
            <a:p>
              <a:endParaRPr lang="cs-CZ"/>
            </a:p>
          </p:txBody>
        </p:sp>
        <p:sp>
          <p:nvSpPr>
            <p:cNvPr id="266" name="Freeform: Shape 265">
              <a:extLst>
                <a:ext uri="{FF2B5EF4-FFF2-40B4-BE49-F238E27FC236}">
                  <a16:creationId xmlns:a16="http://schemas.microsoft.com/office/drawing/2014/main" id="{A9A59A38-9316-771D-269F-05718B84FCFA}"/>
                </a:ext>
              </a:extLst>
            </p:cNvPr>
            <p:cNvSpPr/>
            <p:nvPr/>
          </p:nvSpPr>
          <p:spPr>
            <a:xfrm>
              <a:off x="13569504" y="8325926"/>
              <a:ext cx="199739" cy="235267"/>
            </a:xfrm>
            <a:custGeom>
              <a:avLst/>
              <a:gdLst>
                <a:gd name="connsiteX0" fmla="*/ 96012 w 199739"/>
                <a:gd name="connsiteY0" fmla="*/ 230791 h 235267"/>
                <a:gd name="connsiteX1" fmla="*/ 82582 w 199739"/>
                <a:gd name="connsiteY1" fmla="*/ 235267 h 235267"/>
                <a:gd name="connsiteX2" fmla="*/ 68389 w 199739"/>
                <a:gd name="connsiteY2" fmla="*/ 216027 h 235267"/>
                <a:gd name="connsiteX3" fmla="*/ 62579 w 199739"/>
                <a:gd name="connsiteY3" fmla="*/ 212027 h 235267"/>
                <a:gd name="connsiteX4" fmla="*/ 58579 w 199739"/>
                <a:gd name="connsiteY4" fmla="*/ 211360 h 235267"/>
                <a:gd name="connsiteX5" fmla="*/ 50863 w 199739"/>
                <a:gd name="connsiteY5" fmla="*/ 208407 h 235267"/>
                <a:gd name="connsiteX6" fmla="*/ 46482 w 199739"/>
                <a:gd name="connsiteY6" fmla="*/ 207740 h 235267"/>
                <a:gd name="connsiteX7" fmla="*/ 40767 w 199739"/>
                <a:gd name="connsiteY7" fmla="*/ 205359 h 235267"/>
                <a:gd name="connsiteX8" fmla="*/ 39052 w 199739"/>
                <a:gd name="connsiteY8" fmla="*/ 199263 h 235267"/>
                <a:gd name="connsiteX9" fmla="*/ 39814 w 199739"/>
                <a:gd name="connsiteY9" fmla="*/ 183356 h 235267"/>
                <a:gd name="connsiteX10" fmla="*/ 40386 w 199739"/>
                <a:gd name="connsiteY10" fmla="*/ 179737 h 235267"/>
                <a:gd name="connsiteX11" fmla="*/ 41529 w 199739"/>
                <a:gd name="connsiteY11" fmla="*/ 175450 h 235267"/>
                <a:gd name="connsiteX12" fmla="*/ 42481 w 199739"/>
                <a:gd name="connsiteY12" fmla="*/ 170402 h 235267"/>
                <a:gd name="connsiteX13" fmla="*/ 42481 w 199739"/>
                <a:gd name="connsiteY13" fmla="*/ 164687 h 235267"/>
                <a:gd name="connsiteX14" fmla="*/ 41910 w 199739"/>
                <a:gd name="connsiteY14" fmla="*/ 165259 h 235267"/>
                <a:gd name="connsiteX15" fmla="*/ 40196 w 199739"/>
                <a:gd name="connsiteY15" fmla="*/ 163830 h 235267"/>
                <a:gd name="connsiteX16" fmla="*/ 38291 w 199739"/>
                <a:gd name="connsiteY16" fmla="*/ 161639 h 235267"/>
                <a:gd name="connsiteX17" fmla="*/ 37243 w 199739"/>
                <a:gd name="connsiteY17" fmla="*/ 159925 h 235267"/>
                <a:gd name="connsiteX18" fmla="*/ 36862 w 199739"/>
                <a:gd name="connsiteY18" fmla="*/ 156305 h 235267"/>
                <a:gd name="connsiteX19" fmla="*/ 37243 w 199739"/>
                <a:gd name="connsiteY19" fmla="*/ 142685 h 235267"/>
                <a:gd name="connsiteX20" fmla="*/ 36004 w 199739"/>
                <a:gd name="connsiteY20" fmla="*/ 138970 h 235267"/>
                <a:gd name="connsiteX21" fmla="*/ 30480 w 199739"/>
                <a:gd name="connsiteY21" fmla="*/ 127444 h 235267"/>
                <a:gd name="connsiteX22" fmla="*/ 29242 w 199739"/>
                <a:gd name="connsiteY22" fmla="*/ 123730 h 235267"/>
                <a:gd name="connsiteX23" fmla="*/ 28861 w 199739"/>
                <a:gd name="connsiteY23" fmla="*/ 109061 h 235267"/>
                <a:gd name="connsiteX24" fmla="*/ 28004 w 199739"/>
                <a:gd name="connsiteY24" fmla="*/ 102775 h 235267"/>
                <a:gd name="connsiteX25" fmla="*/ 26575 w 199739"/>
                <a:gd name="connsiteY25" fmla="*/ 97060 h 235267"/>
                <a:gd name="connsiteX26" fmla="*/ 21812 w 199739"/>
                <a:gd name="connsiteY26" fmla="*/ 90773 h 235267"/>
                <a:gd name="connsiteX27" fmla="*/ 7906 w 199739"/>
                <a:gd name="connsiteY27" fmla="*/ 79057 h 235267"/>
                <a:gd name="connsiteX28" fmla="*/ 0 w 199739"/>
                <a:gd name="connsiteY28" fmla="*/ 78676 h 235267"/>
                <a:gd name="connsiteX29" fmla="*/ 25241 w 199739"/>
                <a:gd name="connsiteY29" fmla="*/ 62579 h 235267"/>
                <a:gd name="connsiteX30" fmla="*/ 40005 w 199739"/>
                <a:gd name="connsiteY30" fmla="*/ 42386 h 235267"/>
                <a:gd name="connsiteX31" fmla="*/ 43243 w 199739"/>
                <a:gd name="connsiteY31" fmla="*/ 31718 h 235267"/>
                <a:gd name="connsiteX32" fmla="*/ 56293 w 199739"/>
                <a:gd name="connsiteY32" fmla="*/ 13525 h 235267"/>
                <a:gd name="connsiteX33" fmla="*/ 65722 w 199739"/>
                <a:gd name="connsiteY33" fmla="*/ 4191 h 235267"/>
                <a:gd name="connsiteX34" fmla="*/ 78676 w 199739"/>
                <a:gd name="connsiteY34" fmla="*/ 0 h 235267"/>
                <a:gd name="connsiteX35" fmla="*/ 86011 w 199739"/>
                <a:gd name="connsiteY35" fmla="*/ 1619 h 235267"/>
                <a:gd name="connsiteX36" fmla="*/ 88583 w 199739"/>
                <a:gd name="connsiteY36" fmla="*/ 4191 h 235267"/>
                <a:gd name="connsiteX37" fmla="*/ 90583 w 199739"/>
                <a:gd name="connsiteY37" fmla="*/ 7810 h 235267"/>
                <a:gd name="connsiteX38" fmla="*/ 91535 w 199739"/>
                <a:gd name="connsiteY38" fmla="*/ 14002 h 235267"/>
                <a:gd name="connsiteX39" fmla="*/ 103156 w 199739"/>
                <a:gd name="connsiteY39" fmla="*/ 30670 h 235267"/>
                <a:gd name="connsiteX40" fmla="*/ 106871 w 199739"/>
                <a:gd name="connsiteY40" fmla="*/ 47339 h 235267"/>
                <a:gd name="connsiteX41" fmla="*/ 126206 w 199739"/>
                <a:gd name="connsiteY41" fmla="*/ 37147 h 235267"/>
                <a:gd name="connsiteX42" fmla="*/ 135350 w 199739"/>
                <a:gd name="connsiteY42" fmla="*/ 29623 h 235267"/>
                <a:gd name="connsiteX43" fmla="*/ 139160 w 199739"/>
                <a:gd name="connsiteY43" fmla="*/ 24860 h 235267"/>
                <a:gd name="connsiteX44" fmla="*/ 144018 w 199739"/>
                <a:gd name="connsiteY44" fmla="*/ 20479 h 235267"/>
                <a:gd name="connsiteX45" fmla="*/ 150685 w 199739"/>
                <a:gd name="connsiteY45" fmla="*/ 16859 h 235267"/>
                <a:gd name="connsiteX46" fmla="*/ 159925 w 199739"/>
                <a:gd name="connsiteY46" fmla="*/ 15526 h 235267"/>
                <a:gd name="connsiteX47" fmla="*/ 171641 w 199739"/>
                <a:gd name="connsiteY47" fmla="*/ 17145 h 235267"/>
                <a:gd name="connsiteX48" fmla="*/ 176117 w 199739"/>
                <a:gd name="connsiteY48" fmla="*/ 19907 h 235267"/>
                <a:gd name="connsiteX49" fmla="*/ 174784 w 199739"/>
                <a:gd name="connsiteY49" fmla="*/ 36385 h 235267"/>
                <a:gd name="connsiteX50" fmla="*/ 174784 w 199739"/>
                <a:gd name="connsiteY50" fmla="*/ 50959 h 235267"/>
                <a:gd name="connsiteX51" fmla="*/ 183642 w 199739"/>
                <a:gd name="connsiteY51" fmla="*/ 55340 h 235267"/>
                <a:gd name="connsiteX52" fmla="*/ 190119 w 199739"/>
                <a:gd name="connsiteY52" fmla="*/ 59722 h 235267"/>
                <a:gd name="connsiteX53" fmla="*/ 176403 w 199739"/>
                <a:gd name="connsiteY53" fmla="*/ 100489 h 235267"/>
                <a:gd name="connsiteX54" fmla="*/ 152209 w 199739"/>
                <a:gd name="connsiteY54" fmla="*/ 88868 h 235267"/>
                <a:gd name="connsiteX55" fmla="*/ 144971 w 199739"/>
                <a:gd name="connsiteY55" fmla="*/ 112109 h 235267"/>
                <a:gd name="connsiteX56" fmla="*/ 165925 w 199739"/>
                <a:gd name="connsiteY56" fmla="*/ 129540 h 235267"/>
                <a:gd name="connsiteX57" fmla="*/ 187642 w 199739"/>
                <a:gd name="connsiteY57" fmla="*/ 138208 h 235267"/>
                <a:gd name="connsiteX58" fmla="*/ 195739 w 199739"/>
                <a:gd name="connsiteY58" fmla="*/ 139636 h 235267"/>
                <a:gd name="connsiteX59" fmla="*/ 199739 w 199739"/>
                <a:gd name="connsiteY59" fmla="*/ 165735 h 235267"/>
                <a:gd name="connsiteX60" fmla="*/ 184404 w 199739"/>
                <a:gd name="connsiteY60" fmla="*/ 175927 h 235267"/>
                <a:gd name="connsiteX61" fmla="*/ 164306 w 199739"/>
                <a:gd name="connsiteY61" fmla="*/ 175927 h 235267"/>
                <a:gd name="connsiteX62" fmla="*/ 137731 w 199739"/>
                <a:gd name="connsiteY62" fmla="*/ 177356 h 235267"/>
                <a:gd name="connsiteX63" fmla="*/ 122396 w 199739"/>
                <a:gd name="connsiteY63" fmla="*/ 165735 h 235267"/>
                <a:gd name="connsiteX64" fmla="*/ 113538 w 199739"/>
                <a:gd name="connsiteY64" fmla="*/ 143923 h 235267"/>
                <a:gd name="connsiteX65" fmla="*/ 103918 w 199739"/>
                <a:gd name="connsiteY65" fmla="*/ 145352 h 235267"/>
                <a:gd name="connsiteX66" fmla="*/ 103156 w 199739"/>
                <a:gd name="connsiteY66" fmla="*/ 171450 h 235267"/>
                <a:gd name="connsiteX67" fmla="*/ 79820 w 199739"/>
                <a:gd name="connsiteY67" fmla="*/ 164211 h 235267"/>
                <a:gd name="connsiteX68" fmla="*/ 87058 w 199739"/>
                <a:gd name="connsiteY68" fmla="*/ 204787 h 235267"/>
                <a:gd name="connsiteX69" fmla="*/ 96298 w 199739"/>
                <a:gd name="connsiteY69" fmla="*/ 230505 h 235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99739" h="235267">
                  <a:moveTo>
                    <a:pt x="96012" y="230791"/>
                  </a:moveTo>
                  <a:lnTo>
                    <a:pt x="82582" y="235267"/>
                  </a:lnTo>
                  <a:lnTo>
                    <a:pt x="68389" y="216027"/>
                  </a:lnTo>
                  <a:lnTo>
                    <a:pt x="62579" y="212027"/>
                  </a:lnTo>
                  <a:lnTo>
                    <a:pt x="58579" y="211360"/>
                  </a:lnTo>
                  <a:lnTo>
                    <a:pt x="50863" y="208407"/>
                  </a:lnTo>
                  <a:lnTo>
                    <a:pt x="46482" y="207740"/>
                  </a:lnTo>
                  <a:lnTo>
                    <a:pt x="40767" y="205359"/>
                  </a:lnTo>
                  <a:lnTo>
                    <a:pt x="39052" y="199263"/>
                  </a:lnTo>
                  <a:lnTo>
                    <a:pt x="39814" y="183356"/>
                  </a:lnTo>
                  <a:lnTo>
                    <a:pt x="40386" y="179737"/>
                  </a:lnTo>
                  <a:lnTo>
                    <a:pt x="41529" y="175450"/>
                  </a:lnTo>
                  <a:lnTo>
                    <a:pt x="42481" y="170402"/>
                  </a:lnTo>
                  <a:lnTo>
                    <a:pt x="42481" y="164687"/>
                  </a:lnTo>
                  <a:cubicBezTo>
                    <a:pt x="42481" y="164687"/>
                    <a:pt x="41910" y="165259"/>
                    <a:pt x="41910" y="165259"/>
                  </a:cubicBezTo>
                  <a:lnTo>
                    <a:pt x="40196" y="163830"/>
                  </a:lnTo>
                  <a:lnTo>
                    <a:pt x="38291" y="161639"/>
                  </a:lnTo>
                  <a:lnTo>
                    <a:pt x="37243" y="159925"/>
                  </a:lnTo>
                  <a:lnTo>
                    <a:pt x="36862" y="156305"/>
                  </a:lnTo>
                  <a:lnTo>
                    <a:pt x="37243" y="142685"/>
                  </a:lnTo>
                  <a:lnTo>
                    <a:pt x="36004" y="138970"/>
                  </a:lnTo>
                  <a:lnTo>
                    <a:pt x="30480" y="127444"/>
                  </a:lnTo>
                  <a:lnTo>
                    <a:pt x="29242" y="123730"/>
                  </a:lnTo>
                  <a:lnTo>
                    <a:pt x="28861" y="109061"/>
                  </a:lnTo>
                  <a:lnTo>
                    <a:pt x="28004" y="102775"/>
                  </a:lnTo>
                  <a:lnTo>
                    <a:pt x="26575" y="97060"/>
                  </a:lnTo>
                  <a:lnTo>
                    <a:pt x="21812" y="90773"/>
                  </a:lnTo>
                  <a:lnTo>
                    <a:pt x="7906" y="79057"/>
                  </a:lnTo>
                  <a:lnTo>
                    <a:pt x="0" y="78676"/>
                  </a:lnTo>
                  <a:lnTo>
                    <a:pt x="25241" y="62579"/>
                  </a:lnTo>
                  <a:lnTo>
                    <a:pt x="40005" y="42386"/>
                  </a:lnTo>
                  <a:lnTo>
                    <a:pt x="43243" y="31718"/>
                  </a:lnTo>
                  <a:lnTo>
                    <a:pt x="56293" y="13525"/>
                  </a:lnTo>
                  <a:lnTo>
                    <a:pt x="65722" y="4191"/>
                  </a:lnTo>
                  <a:lnTo>
                    <a:pt x="78676" y="0"/>
                  </a:lnTo>
                  <a:lnTo>
                    <a:pt x="86011" y="1619"/>
                  </a:lnTo>
                  <a:lnTo>
                    <a:pt x="88583" y="4191"/>
                  </a:lnTo>
                  <a:lnTo>
                    <a:pt x="90583" y="7810"/>
                  </a:lnTo>
                  <a:lnTo>
                    <a:pt x="91535" y="14002"/>
                  </a:lnTo>
                  <a:lnTo>
                    <a:pt x="103156" y="30670"/>
                  </a:lnTo>
                  <a:lnTo>
                    <a:pt x="106871" y="47339"/>
                  </a:lnTo>
                  <a:lnTo>
                    <a:pt x="126206" y="37147"/>
                  </a:lnTo>
                  <a:lnTo>
                    <a:pt x="135350" y="29623"/>
                  </a:lnTo>
                  <a:lnTo>
                    <a:pt x="139160" y="24860"/>
                  </a:lnTo>
                  <a:lnTo>
                    <a:pt x="144018" y="20479"/>
                  </a:lnTo>
                  <a:lnTo>
                    <a:pt x="150685" y="16859"/>
                  </a:lnTo>
                  <a:lnTo>
                    <a:pt x="159925" y="15526"/>
                  </a:lnTo>
                  <a:lnTo>
                    <a:pt x="171641" y="17145"/>
                  </a:lnTo>
                  <a:lnTo>
                    <a:pt x="176117" y="19907"/>
                  </a:lnTo>
                  <a:lnTo>
                    <a:pt x="174784" y="36385"/>
                  </a:lnTo>
                  <a:lnTo>
                    <a:pt x="174784" y="50959"/>
                  </a:lnTo>
                  <a:lnTo>
                    <a:pt x="183642" y="55340"/>
                  </a:lnTo>
                  <a:lnTo>
                    <a:pt x="190119" y="59722"/>
                  </a:lnTo>
                  <a:lnTo>
                    <a:pt x="176403" y="100489"/>
                  </a:lnTo>
                  <a:lnTo>
                    <a:pt x="152209" y="88868"/>
                  </a:lnTo>
                  <a:lnTo>
                    <a:pt x="144971" y="112109"/>
                  </a:lnTo>
                  <a:lnTo>
                    <a:pt x="165925" y="129540"/>
                  </a:lnTo>
                  <a:lnTo>
                    <a:pt x="187642" y="138208"/>
                  </a:lnTo>
                  <a:lnTo>
                    <a:pt x="195739" y="139636"/>
                  </a:lnTo>
                  <a:lnTo>
                    <a:pt x="199739" y="165735"/>
                  </a:lnTo>
                  <a:lnTo>
                    <a:pt x="184404" y="175927"/>
                  </a:lnTo>
                  <a:lnTo>
                    <a:pt x="164306" y="175927"/>
                  </a:lnTo>
                  <a:lnTo>
                    <a:pt x="137731" y="177356"/>
                  </a:lnTo>
                  <a:lnTo>
                    <a:pt x="122396" y="165735"/>
                  </a:lnTo>
                  <a:lnTo>
                    <a:pt x="113538" y="143923"/>
                  </a:lnTo>
                  <a:lnTo>
                    <a:pt x="103918" y="145352"/>
                  </a:lnTo>
                  <a:lnTo>
                    <a:pt x="103156" y="171450"/>
                  </a:lnTo>
                  <a:lnTo>
                    <a:pt x="79820" y="164211"/>
                  </a:lnTo>
                  <a:lnTo>
                    <a:pt x="87058" y="204787"/>
                  </a:lnTo>
                  <a:lnTo>
                    <a:pt x="96298" y="230505"/>
                  </a:lnTo>
                </a:path>
              </a:pathLst>
            </a:custGeom>
            <a:grpFill/>
            <a:ln w="2381" cap="sq">
              <a:noFill/>
              <a:prstDash val="solid"/>
              <a:bevel/>
            </a:ln>
          </p:spPr>
          <p:txBody>
            <a:bodyPr rtlCol="0" anchor="ctr"/>
            <a:lstStyle/>
            <a:p>
              <a:endParaRPr lang="cs-CZ"/>
            </a:p>
          </p:txBody>
        </p:sp>
        <p:sp>
          <p:nvSpPr>
            <p:cNvPr id="267" name="Freeform: Shape 266">
              <a:extLst>
                <a:ext uri="{FF2B5EF4-FFF2-40B4-BE49-F238E27FC236}">
                  <a16:creationId xmlns:a16="http://schemas.microsoft.com/office/drawing/2014/main" id="{326A9099-5052-953B-C65C-6A829854D518}"/>
                </a:ext>
              </a:extLst>
            </p:cNvPr>
            <p:cNvSpPr/>
            <p:nvPr/>
          </p:nvSpPr>
          <p:spPr>
            <a:xfrm>
              <a:off x="13649037" y="8470134"/>
              <a:ext cx="148113" cy="134683"/>
            </a:xfrm>
            <a:custGeom>
              <a:avLst/>
              <a:gdLst>
                <a:gd name="connsiteX0" fmla="*/ 83534 w 148113"/>
                <a:gd name="connsiteY0" fmla="*/ 126683 h 134683"/>
                <a:gd name="connsiteX1" fmla="*/ 74581 w 148113"/>
                <a:gd name="connsiteY1" fmla="*/ 101918 h 134683"/>
                <a:gd name="connsiteX2" fmla="*/ 63246 w 148113"/>
                <a:gd name="connsiteY2" fmla="*/ 93059 h 134683"/>
                <a:gd name="connsiteX3" fmla="*/ 48101 w 148113"/>
                <a:gd name="connsiteY3" fmla="*/ 90869 h 134683"/>
                <a:gd name="connsiteX4" fmla="*/ 34195 w 148113"/>
                <a:gd name="connsiteY4" fmla="*/ 81534 h 134683"/>
                <a:gd name="connsiteX5" fmla="*/ 16478 w 148113"/>
                <a:gd name="connsiteY5" fmla="*/ 86582 h 134683"/>
                <a:gd name="connsiteX6" fmla="*/ 7239 w 148113"/>
                <a:gd name="connsiteY6" fmla="*/ 60865 h 134683"/>
                <a:gd name="connsiteX7" fmla="*/ 0 w 148113"/>
                <a:gd name="connsiteY7" fmla="*/ 20288 h 134683"/>
                <a:gd name="connsiteX8" fmla="*/ 23336 w 148113"/>
                <a:gd name="connsiteY8" fmla="*/ 27527 h 134683"/>
                <a:gd name="connsiteX9" fmla="*/ 24098 w 148113"/>
                <a:gd name="connsiteY9" fmla="*/ 1429 h 134683"/>
                <a:gd name="connsiteX10" fmla="*/ 33719 w 148113"/>
                <a:gd name="connsiteY10" fmla="*/ 0 h 134683"/>
                <a:gd name="connsiteX11" fmla="*/ 42577 w 148113"/>
                <a:gd name="connsiteY11" fmla="*/ 21812 h 134683"/>
                <a:gd name="connsiteX12" fmla="*/ 57912 w 148113"/>
                <a:gd name="connsiteY12" fmla="*/ 33433 h 134683"/>
                <a:gd name="connsiteX13" fmla="*/ 84487 w 148113"/>
                <a:gd name="connsiteY13" fmla="*/ 32004 h 134683"/>
                <a:gd name="connsiteX14" fmla="*/ 104585 w 148113"/>
                <a:gd name="connsiteY14" fmla="*/ 32004 h 134683"/>
                <a:gd name="connsiteX15" fmla="*/ 119920 w 148113"/>
                <a:gd name="connsiteY15" fmla="*/ 21812 h 134683"/>
                <a:gd name="connsiteX16" fmla="*/ 135255 w 148113"/>
                <a:gd name="connsiteY16" fmla="*/ 26194 h 134683"/>
                <a:gd name="connsiteX17" fmla="*/ 142494 w 148113"/>
                <a:gd name="connsiteY17" fmla="*/ 37814 h 134683"/>
                <a:gd name="connsiteX18" fmla="*/ 148114 w 148113"/>
                <a:gd name="connsiteY18" fmla="*/ 66770 h 134683"/>
                <a:gd name="connsiteX19" fmla="*/ 147352 w 148113"/>
                <a:gd name="connsiteY19" fmla="*/ 95726 h 134683"/>
                <a:gd name="connsiteX20" fmla="*/ 137732 w 148113"/>
                <a:gd name="connsiteY20" fmla="*/ 104394 h 134683"/>
                <a:gd name="connsiteX21" fmla="*/ 120777 w 148113"/>
                <a:gd name="connsiteY21" fmla="*/ 102965 h 134683"/>
                <a:gd name="connsiteX22" fmla="*/ 126397 w 148113"/>
                <a:gd name="connsiteY22" fmla="*/ 114491 h 134683"/>
                <a:gd name="connsiteX23" fmla="*/ 138113 w 148113"/>
                <a:gd name="connsiteY23" fmla="*/ 124778 h 134683"/>
                <a:gd name="connsiteX24" fmla="*/ 129064 w 148113"/>
                <a:gd name="connsiteY24" fmla="*/ 134684 h 134683"/>
                <a:gd name="connsiteX25" fmla="*/ 127445 w 148113"/>
                <a:gd name="connsiteY25" fmla="*/ 132017 h 134683"/>
                <a:gd name="connsiteX26" fmla="*/ 123158 w 148113"/>
                <a:gd name="connsiteY26" fmla="*/ 126968 h 134683"/>
                <a:gd name="connsiteX27" fmla="*/ 110109 w 148113"/>
                <a:gd name="connsiteY27" fmla="*/ 115919 h 134683"/>
                <a:gd name="connsiteX28" fmla="*/ 107918 w 148113"/>
                <a:gd name="connsiteY28" fmla="*/ 111824 h 134683"/>
                <a:gd name="connsiteX29" fmla="*/ 102394 w 148113"/>
                <a:gd name="connsiteY29" fmla="*/ 110014 h 134683"/>
                <a:gd name="connsiteX30" fmla="*/ 97441 w 148113"/>
                <a:gd name="connsiteY30" fmla="*/ 120110 h 134683"/>
                <a:gd name="connsiteX31" fmla="*/ 96203 w 148113"/>
                <a:gd name="connsiteY31" fmla="*/ 125825 h 134683"/>
                <a:gd name="connsiteX32" fmla="*/ 83249 w 148113"/>
                <a:gd name="connsiteY32" fmla="*/ 126968 h 134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48113" h="134683">
                  <a:moveTo>
                    <a:pt x="83534" y="126683"/>
                  </a:moveTo>
                  <a:lnTo>
                    <a:pt x="74581" y="101918"/>
                  </a:lnTo>
                  <a:lnTo>
                    <a:pt x="63246" y="93059"/>
                  </a:lnTo>
                  <a:lnTo>
                    <a:pt x="48101" y="90869"/>
                  </a:lnTo>
                  <a:lnTo>
                    <a:pt x="34195" y="81534"/>
                  </a:lnTo>
                  <a:lnTo>
                    <a:pt x="16478" y="86582"/>
                  </a:lnTo>
                  <a:lnTo>
                    <a:pt x="7239" y="60865"/>
                  </a:lnTo>
                  <a:lnTo>
                    <a:pt x="0" y="20288"/>
                  </a:lnTo>
                  <a:lnTo>
                    <a:pt x="23336" y="27527"/>
                  </a:lnTo>
                  <a:lnTo>
                    <a:pt x="24098" y="1429"/>
                  </a:lnTo>
                  <a:lnTo>
                    <a:pt x="33719" y="0"/>
                  </a:lnTo>
                  <a:lnTo>
                    <a:pt x="42577" y="21812"/>
                  </a:lnTo>
                  <a:lnTo>
                    <a:pt x="57912" y="33433"/>
                  </a:lnTo>
                  <a:lnTo>
                    <a:pt x="84487" y="32004"/>
                  </a:lnTo>
                  <a:lnTo>
                    <a:pt x="104585" y="32004"/>
                  </a:lnTo>
                  <a:lnTo>
                    <a:pt x="119920" y="21812"/>
                  </a:lnTo>
                  <a:lnTo>
                    <a:pt x="135255" y="26194"/>
                  </a:lnTo>
                  <a:lnTo>
                    <a:pt x="142494" y="37814"/>
                  </a:lnTo>
                  <a:lnTo>
                    <a:pt x="148114" y="66770"/>
                  </a:lnTo>
                  <a:lnTo>
                    <a:pt x="147352" y="95726"/>
                  </a:lnTo>
                  <a:lnTo>
                    <a:pt x="137732" y="104394"/>
                  </a:lnTo>
                  <a:lnTo>
                    <a:pt x="120777" y="102965"/>
                  </a:lnTo>
                  <a:lnTo>
                    <a:pt x="126397" y="114491"/>
                  </a:lnTo>
                  <a:lnTo>
                    <a:pt x="138113" y="124778"/>
                  </a:lnTo>
                  <a:lnTo>
                    <a:pt x="129064" y="134684"/>
                  </a:lnTo>
                  <a:lnTo>
                    <a:pt x="127445" y="132017"/>
                  </a:lnTo>
                  <a:lnTo>
                    <a:pt x="123158" y="126968"/>
                  </a:lnTo>
                  <a:lnTo>
                    <a:pt x="110109" y="115919"/>
                  </a:lnTo>
                  <a:lnTo>
                    <a:pt x="107918" y="111824"/>
                  </a:lnTo>
                  <a:lnTo>
                    <a:pt x="102394" y="110014"/>
                  </a:lnTo>
                  <a:lnTo>
                    <a:pt x="97441" y="120110"/>
                  </a:lnTo>
                  <a:lnTo>
                    <a:pt x="96203" y="125825"/>
                  </a:lnTo>
                  <a:lnTo>
                    <a:pt x="83249" y="126968"/>
                  </a:lnTo>
                </a:path>
              </a:pathLst>
            </a:custGeom>
            <a:grpFill/>
            <a:ln w="2381" cap="sq">
              <a:noFill/>
              <a:prstDash val="solid"/>
              <a:bevel/>
            </a:ln>
          </p:spPr>
          <p:txBody>
            <a:bodyPr rtlCol="0" anchor="ctr"/>
            <a:lstStyle/>
            <a:p>
              <a:endParaRPr lang="cs-CZ"/>
            </a:p>
          </p:txBody>
        </p:sp>
        <p:sp>
          <p:nvSpPr>
            <p:cNvPr id="268" name="Freeform: Shape 267">
              <a:extLst>
                <a:ext uri="{FF2B5EF4-FFF2-40B4-BE49-F238E27FC236}">
                  <a16:creationId xmlns:a16="http://schemas.microsoft.com/office/drawing/2014/main" id="{396BD9CD-DAFB-3B0E-3A08-58E0E071147F}"/>
                </a:ext>
              </a:extLst>
            </p:cNvPr>
            <p:cNvSpPr/>
            <p:nvPr/>
          </p:nvSpPr>
          <p:spPr>
            <a:xfrm>
              <a:off x="13410626" y="8342119"/>
              <a:ext cx="258699" cy="300704"/>
            </a:xfrm>
            <a:custGeom>
              <a:avLst/>
              <a:gdLst>
                <a:gd name="connsiteX0" fmla="*/ 158782 w 258699"/>
                <a:gd name="connsiteY0" fmla="*/ 62484 h 300704"/>
                <a:gd name="connsiteX1" fmla="*/ 166688 w 258699"/>
                <a:gd name="connsiteY1" fmla="*/ 62865 h 300704"/>
                <a:gd name="connsiteX2" fmla="*/ 180594 w 258699"/>
                <a:gd name="connsiteY2" fmla="*/ 74581 h 300704"/>
                <a:gd name="connsiteX3" fmla="*/ 185357 w 258699"/>
                <a:gd name="connsiteY3" fmla="*/ 80867 h 300704"/>
                <a:gd name="connsiteX4" fmla="*/ 186785 w 258699"/>
                <a:gd name="connsiteY4" fmla="*/ 86582 h 300704"/>
                <a:gd name="connsiteX5" fmla="*/ 187643 w 258699"/>
                <a:gd name="connsiteY5" fmla="*/ 92869 h 300704"/>
                <a:gd name="connsiteX6" fmla="*/ 188024 w 258699"/>
                <a:gd name="connsiteY6" fmla="*/ 107537 h 300704"/>
                <a:gd name="connsiteX7" fmla="*/ 189262 w 258699"/>
                <a:gd name="connsiteY7" fmla="*/ 111252 h 300704"/>
                <a:gd name="connsiteX8" fmla="*/ 194786 w 258699"/>
                <a:gd name="connsiteY8" fmla="*/ 122777 h 300704"/>
                <a:gd name="connsiteX9" fmla="*/ 196025 w 258699"/>
                <a:gd name="connsiteY9" fmla="*/ 126492 h 300704"/>
                <a:gd name="connsiteX10" fmla="*/ 195644 w 258699"/>
                <a:gd name="connsiteY10" fmla="*/ 140113 h 300704"/>
                <a:gd name="connsiteX11" fmla="*/ 196025 w 258699"/>
                <a:gd name="connsiteY11" fmla="*/ 143732 h 300704"/>
                <a:gd name="connsiteX12" fmla="*/ 197072 w 258699"/>
                <a:gd name="connsiteY12" fmla="*/ 145447 h 300704"/>
                <a:gd name="connsiteX13" fmla="*/ 198977 w 258699"/>
                <a:gd name="connsiteY13" fmla="*/ 147637 h 300704"/>
                <a:gd name="connsiteX14" fmla="*/ 200692 w 258699"/>
                <a:gd name="connsiteY14" fmla="*/ 149066 h 300704"/>
                <a:gd name="connsiteX15" fmla="*/ 201359 w 258699"/>
                <a:gd name="connsiteY15" fmla="*/ 148495 h 300704"/>
                <a:gd name="connsiteX16" fmla="*/ 201359 w 258699"/>
                <a:gd name="connsiteY16" fmla="*/ 154210 h 300704"/>
                <a:gd name="connsiteX17" fmla="*/ 200311 w 258699"/>
                <a:gd name="connsiteY17" fmla="*/ 159258 h 300704"/>
                <a:gd name="connsiteX18" fmla="*/ 199168 w 258699"/>
                <a:gd name="connsiteY18" fmla="*/ 163544 h 300704"/>
                <a:gd name="connsiteX19" fmla="*/ 198596 w 258699"/>
                <a:gd name="connsiteY19" fmla="*/ 167164 h 300704"/>
                <a:gd name="connsiteX20" fmla="*/ 197834 w 258699"/>
                <a:gd name="connsiteY20" fmla="*/ 183070 h 300704"/>
                <a:gd name="connsiteX21" fmla="*/ 199549 w 258699"/>
                <a:gd name="connsiteY21" fmla="*/ 189166 h 300704"/>
                <a:gd name="connsiteX22" fmla="*/ 205264 w 258699"/>
                <a:gd name="connsiteY22" fmla="*/ 191548 h 300704"/>
                <a:gd name="connsiteX23" fmla="*/ 209645 w 258699"/>
                <a:gd name="connsiteY23" fmla="*/ 192215 h 300704"/>
                <a:gd name="connsiteX24" fmla="*/ 217361 w 258699"/>
                <a:gd name="connsiteY24" fmla="*/ 195167 h 300704"/>
                <a:gd name="connsiteX25" fmla="*/ 221361 w 258699"/>
                <a:gd name="connsiteY25" fmla="*/ 195834 h 300704"/>
                <a:gd name="connsiteX26" fmla="*/ 227171 w 258699"/>
                <a:gd name="connsiteY26" fmla="*/ 199835 h 300704"/>
                <a:gd name="connsiteX27" fmla="*/ 241364 w 258699"/>
                <a:gd name="connsiteY27" fmla="*/ 219075 h 300704"/>
                <a:gd name="connsiteX28" fmla="*/ 252032 w 258699"/>
                <a:gd name="connsiteY28" fmla="*/ 233553 h 300704"/>
                <a:gd name="connsiteX29" fmla="*/ 255270 w 258699"/>
                <a:gd name="connsiteY29" fmla="*/ 242792 h 300704"/>
                <a:gd name="connsiteX30" fmla="*/ 256889 w 258699"/>
                <a:gd name="connsiteY30" fmla="*/ 253460 h 300704"/>
                <a:gd name="connsiteX31" fmla="*/ 257651 w 258699"/>
                <a:gd name="connsiteY31" fmla="*/ 271844 h 300704"/>
                <a:gd name="connsiteX32" fmla="*/ 258699 w 258699"/>
                <a:gd name="connsiteY32" fmla="*/ 281940 h 300704"/>
                <a:gd name="connsiteX33" fmla="*/ 247364 w 258699"/>
                <a:gd name="connsiteY33" fmla="*/ 261461 h 300704"/>
                <a:gd name="connsiteX34" fmla="*/ 246888 w 258699"/>
                <a:gd name="connsiteY34" fmla="*/ 255841 h 300704"/>
                <a:gd name="connsiteX35" fmla="*/ 248222 w 258699"/>
                <a:gd name="connsiteY35" fmla="*/ 252889 h 300704"/>
                <a:gd name="connsiteX36" fmla="*/ 249079 w 258699"/>
                <a:gd name="connsiteY36" fmla="*/ 248317 h 300704"/>
                <a:gd name="connsiteX37" fmla="*/ 247841 w 258699"/>
                <a:gd name="connsiteY37" fmla="*/ 245269 h 300704"/>
                <a:gd name="connsiteX38" fmla="*/ 246126 w 258699"/>
                <a:gd name="connsiteY38" fmla="*/ 242126 h 300704"/>
                <a:gd name="connsiteX39" fmla="*/ 242983 w 258699"/>
                <a:gd name="connsiteY39" fmla="*/ 239935 h 300704"/>
                <a:gd name="connsiteX40" fmla="*/ 234125 w 258699"/>
                <a:gd name="connsiteY40" fmla="*/ 236125 h 300704"/>
                <a:gd name="connsiteX41" fmla="*/ 224409 w 258699"/>
                <a:gd name="connsiteY41" fmla="*/ 233934 h 300704"/>
                <a:gd name="connsiteX42" fmla="*/ 219075 w 258699"/>
                <a:gd name="connsiteY42" fmla="*/ 230410 h 300704"/>
                <a:gd name="connsiteX43" fmla="*/ 209836 w 258699"/>
                <a:gd name="connsiteY43" fmla="*/ 231172 h 300704"/>
                <a:gd name="connsiteX44" fmla="*/ 204407 w 258699"/>
                <a:gd name="connsiteY44" fmla="*/ 232886 h 300704"/>
                <a:gd name="connsiteX45" fmla="*/ 178403 w 258699"/>
                <a:gd name="connsiteY45" fmla="*/ 255556 h 300704"/>
                <a:gd name="connsiteX46" fmla="*/ 183261 w 258699"/>
                <a:gd name="connsiteY46" fmla="*/ 262604 h 300704"/>
                <a:gd name="connsiteX47" fmla="*/ 183928 w 258699"/>
                <a:gd name="connsiteY47" fmla="*/ 264509 h 300704"/>
                <a:gd name="connsiteX48" fmla="*/ 183737 w 258699"/>
                <a:gd name="connsiteY48" fmla="*/ 270891 h 300704"/>
                <a:gd name="connsiteX49" fmla="*/ 174689 w 258699"/>
                <a:gd name="connsiteY49" fmla="*/ 278416 h 300704"/>
                <a:gd name="connsiteX50" fmla="*/ 171260 w 258699"/>
                <a:gd name="connsiteY50" fmla="*/ 276797 h 300704"/>
                <a:gd name="connsiteX51" fmla="*/ 166592 w 258699"/>
                <a:gd name="connsiteY51" fmla="*/ 276225 h 300704"/>
                <a:gd name="connsiteX52" fmla="*/ 162306 w 258699"/>
                <a:gd name="connsiteY52" fmla="*/ 280035 h 300704"/>
                <a:gd name="connsiteX53" fmla="*/ 160306 w 258699"/>
                <a:gd name="connsiteY53" fmla="*/ 284512 h 300704"/>
                <a:gd name="connsiteX54" fmla="*/ 155258 w 258699"/>
                <a:gd name="connsiteY54" fmla="*/ 292036 h 300704"/>
                <a:gd name="connsiteX55" fmla="*/ 147257 w 258699"/>
                <a:gd name="connsiteY55" fmla="*/ 299752 h 300704"/>
                <a:gd name="connsiteX56" fmla="*/ 142304 w 258699"/>
                <a:gd name="connsiteY56" fmla="*/ 300704 h 300704"/>
                <a:gd name="connsiteX57" fmla="*/ 138684 w 258699"/>
                <a:gd name="connsiteY57" fmla="*/ 299180 h 300704"/>
                <a:gd name="connsiteX58" fmla="*/ 134207 w 258699"/>
                <a:gd name="connsiteY58" fmla="*/ 291656 h 300704"/>
                <a:gd name="connsiteX59" fmla="*/ 129064 w 258699"/>
                <a:gd name="connsiteY59" fmla="*/ 271462 h 300704"/>
                <a:gd name="connsiteX60" fmla="*/ 118682 w 258699"/>
                <a:gd name="connsiteY60" fmla="*/ 269939 h 300704"/>
                <a:gd name="connsiteX61" fmla="*/ 115253 w 258699"/>
                <a:gd name="connsiteY61" fmla="*/ 257461 h 300704"/>
                <a:gd name="connsiteX62" fmla="*/ 115253 w 258699"/>
                <a:gd name="connsiteY62" fmla="*/ 243459 h 300704"/>
                <a:gd name="connsiteX63" fmla="*/ 104013 w 258699"/>
                <a:gd name="connsiteY63" fmla="*/ 237268 h 300704"/>
                <a:gd name="connsiteX64" fmla="*/ 87535 w 258699"/>
                <a:gd name="connsiteY64" fmla="*/ 227933 h 300704"/>
                <a:gd name="connsiteX65" fmla="*/ 84106 w 258699"/>
                <a:gd name="connsiteY65" fmla="*/ 206121 h 300704"/>
                <a:gd name="connsiteX66" fmla="*/ 76295 w 258699"/>
                <a:gd name="connsiteY66" fmla="*/ 192119 h 300704"/>
                <a:gd name="connsiteX67" fmla="*/ 61532 w 258699"/>
                <a:gd name="connsiteY67" fmla="*/ 188976 h 300704"/>
                <a:gd name="connsiteX68" fmla="*/ 46768 w 258699"/>
                <a:gd name="connsiteY68" fmla="*/ 182690 h 300704"/>
                <a:gd name="connsiteX69" fmla="*/ 29432 w 258699"/>
                <a:gd name="connsiteY69" fmla="*/ 185833 h 300704"/>
                <a:gd name="connsiteX70" fmla="*/ 5144 w 258699"/>
                <a:gd name="connsiteY70" fmla="*/ 187357 h 300704"/>
                <a:gd name="connsiteX71" fmla="*/ 0 w 258699"/>
                <a:gd name="connsiteY71" fmla="*/ 142113 h 300704"/>
                <a:gd name="connsiteX72" fmla="*/ 20765 w 258699"/>
                <a:gd name="connsiteY72" fmla="*/ 137446 h 300704"/>
                <a:gd name="connsiteX73" fmla="*/ 21622 w 258699"/>
                <a:gd name="connsiteY73" fmla="*/ 117157 h 300704"/>
                <a:gd name="connsiteX74" fmla="*/ 20765 w 258699"/>
                <a:gd name="connsiteY74" fmla="*/ 101536 h 300704"/>
                <a:gd name="connsiteX75" fmla="*/ 44196 w 258699"/>
                <a:gd name="connsiteY75" fmla="*/ 95250 h 300704"/>
                <a:gd name="connsiteX76" fmla="*/ 63246 w 258699"/>
                <a:gd name="connsiteY76" fmla="*/ 57626 h 300704"/>
                <a:gd name="connsiteX77" fmla="*/ 50197 w 258699"/>
                <a:gd name="connsiteY77" fmla="*/ 35719 h 300704"/>
                <a:gd name="connsiteX78" fmla="*/ 54483 w 258699"/>
                <a:gd name="connsiteY78" fmla="*/ 5906 h 300704"/>
                <a:gd name="connsiteX79" fmla="*/ 64008 w 258699"/>
                <a:gd name="connsiteY79" fmla="*/ 12192 h 300704"/>
                <a:gd name="connsiteX80" fmla="*/ 78772 w 258699"/>
                <a:gd name="connsiteY80" fmla="*/ 13811 h 300704"/>
                <a:gd name="connsiteX81" fmla="*/ 76200 w 258699"/>
                <a:gd name="connsiteY81" fmla="*/ 0 h 300704"/>
                <a:gd name="connsiteX82" fmla="*/ 95345 w 258699"/>
                <a:gd name="connsiteY82" fmla="*/ 8192 h 300704"/>
                <a:gd name="connsiteX83" fmla="*/ 141161 w 258699"/>
                <a:gd name="connsiteY83" fmla="*/ 27623 h 300704"/>
                <a:gd name="connsiteX84" fmla="*/ 145828 w 258699"/>
                <a:gd name="connsiteY84" fmla="*/ 30956 h 300704"/>
                <a:gd name="connsiteX85" fmla="*/ 149257 w 258699"/>
                <a:gd name="connsiteY85" fmla="*/ 41148 h 300704"/>
                <a:gd name="connsiteX86" fmla="*/ 155543 w 258699"/>
                <a:gd name="connsiteY86" fmla="*/ 54483 h 300704"/>
                <a:gd name="connsiteX87" fmla="*/ 158782 w 258699"/>
                <a:gd name="connsiteY87" fmla="*/ 62579 h 30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58699" h="300704">
                  <a:moveTo>
                    <a:pt x="158782" y="62484"/>
                  </a:moveTo>
                  <a:lnTo>
                    <a:pt x="166688" y="62865"/>
                  </a:lnTo>
                  <a:lnTo>
                    <a:pt x="180594" y="74581"/>
                  </a:lnTo>
                  <a:lnTo>
                    <a:pt x="185357" y="80867"/>
                  </a:lnTo>
                  <a:lnTo>
                    <a:pt x="186785" y="86582"/>
                  </a:lnTo>
                  <a:lnTo>
                    <a:pt x="187643" y="92869"/>
                  </a:lnTo>
                  <a:lnTo>
                    <a:pt x="188024" y="107537"/>
                  </a:lnTo>
                  <a:lnTo>
                    <a:pt x="189262" y="111252"/>
                  </a:lnTo>
                  <a:lnTo>
                    <a:pt x="194786" y="122777"/>
                  </a:lnTo>
                  <a:lnTo>
                    <a:pt x="196025" y="126492"/>
                  </a:lnTo>
                  <a:lnTo>
                    <a:pt x="195644" y="140113"/>
                  </a:lnTo>
                  <a:lnTo>
                    <a:pt x="196025" y="143732"/>
                  </a:lnTo>
                  <a:lnTo>
                    <a:pt x="197072" y="145447"/>
                  </a:lnTo>
                  <a:lnTo>
                    <a:pt x="198977" y="147637"/>
                  </a:lnTo>
                  <a:lnTo>
                    <a:pt x="200692" y="149066"/>
                  </a:lnTo>
                  <a:lnTo>
                    <a:pt x="201359" y="148495"/>
                  </a:lnTo>
                  <a:lnTo>
                    <a:pt x="201359" y="154210"/>
                  </a:lnTo>
                  <a:cubicBezTo>
                    <a:pt x="201359" y="154210"/>
                    <a:pt x="200311" y="159258"/>
                    <a:pt x="200311" y="159258"/>
                  </a:cubicBezTo>
                  <a:lnTo>
                    <a:pt x="199168" y="163544"/>
                  </a:lnTo>
                  <a:lnTo>
                    <a:pt x="198596" y="167164"/>
                  </a:lnTo>
                  <a:lnTo>
                    <a:pt x="197834" y="183070"/>
                  </a:lnTo>
                  <a:lnTo>
                    <a:pt x="199549" y="189166"/>
                  </a:lnTo>
                  <a:lnTo>
                    <a:pt x="205264" y="191548"/>
                  </a:lnTo>
                  <a:lnTo>
                    <a:pt x="209645" y="192215"/>
                  </a:lnTo>
                  <a:lnTo>
                    <a:pt x="217361" y="195167"/>
                  </a:lnTo>
                  <a:lnTo>
                    <a:pt x="221361" y="195834"/>
                  </a:lnTo>
                  <a:lnTo>
                    <a:pt x="227171" y="199835"/>
                  </a:lnTo>
                  <a:lnTo>
                    <a:pt x="241364" y="219075"/>
                  </a:lnTo>
                  <a:lnTo>
                    <a:pt x="252032" y="233553"/>
                  </a:lnTo>
                  <a:lnTo>
                    <a:pt x="255270" y="242792"/>
                  </a:lnTo>
                  <a:lnTo>
                    <a:pt x="256889" y="253460"/>
                  </a:lnTo>
                  <a:lnTo>
                    <a:pt x="257651" y="271844"/>
                  </a:lnTo>
                  <a:lnTo>
                    <a:pt x="258699" y="281940"/>
                  </a:lnTo>
                  <a:lnTo>
                    <a:pt x="247364" y="261461"/>
                  </a:lnTo>
                  <a:lnTo>
                    <a:pt x="246888" y="255841"/>
                  </a:lnTo>
                  <a:lnTo>
                    <a:pt x="248222" y="252889"/>
                  </a:lnTo>
                  <a:lnTo>
                    <a:pt x="249079" y="248317"/>
                  </a:lnTo>
                  <a:lnTo>
                    <a:pt x="247841" y="245269"/>
                  </a:lnTo>
                  <a:lnTo>
                    <a:pt x="246126" y="242126"/>
                  </a:lnTo>
                  <a:lnTo>
                    <a:pt x="242983" y="239935"/>
                  </a:lnTo>
                  <a:lnTo>
                    <a:pt x="234125" y="236125"/>
                  </a:lnTo>
                  <a:lnTo>
                    <a:pt x="224409" y="233934"/>
                  </a:lnTo>
                  <a:lnTo>
                    <a:pt x="219075" y="230410"/>
                  </a:lnTo>
                  <a:lnTo>
                    <a:pt x="209836" y="231172"/>
                  </a:lnTo>
                  <a:lnTo>
                    <a:pt x="204407" y="232886"/>
                  </a:lnTo>
                  <a:lnTo>
                    <a:pt x="178403" y="255556"/>
                  </a:lnTo>
                  <a:lnTo>
                    <a:pt x="183261" y="262604"/>
                  </a:lnTo>
                  <a:lnTo>
                    <a:pt x="183928" y="264509"/>
                  </a:lnTo>
                  <a:lnTo>
                    <a:pt x="183737" y="270891"/>
                  </a:lnTo>
                  <a:lnTo>
                    <a:pt x="174689" y="278416"/>
                  </a:lnTo>
                  <a:lnTo>
                    <a:pt x="171260" y="276797"/>
                  </a:lnTo>
                  <a:lnTo>
                    <a:pt x="166592" y="276225"/>
                  </a:lnTo>
                  <a:lnTo>
                    <a:pt x="162306" y="280035"/>
                  </a:lnTo>
                  <a:lnTo>
                    <a:pt x="160306" y="284512"/>
                  </a:lnTo>
                  <a:lnTo>
                    <a:pt x="155258" y="292036"/>
                  </a:lnTo>
                  <a:lnTo>
                    <a:pt x="147257" y="299752"/>
                  </a:lnTo>
                  <a:lnTo>
                    <a:pt x="142304" y="300704"/>
                  </a:lnTo>
                  <a:lnTo>
                    <a:pt x="138684" y="299180"/>
                  </a:lnTo>
                  <a:lnTo>
                    <a:pt x="134207" y="291656"/>
                  </a:lnTo>
                  <a:lnTo>
                    <a:pt x="129064" y="271462"/>
                  </a:lnTo>
                  <a:lnTo>
                    <a:pt x="118682" y="269939"/>
                  </a:lnTo>
                  <a:lnTo>
                    <a:pt x="115253" y="257461"/>
                  </a:lnTo>
                  <a:lnTo>
                    <a:pt x="115253" y="243459"/>
                  </a:lnTo>
                  <a:lnTo>
                    <a:pt x="104013" y="237268"/>
                  </a:lnTo>
                  <a:lnTo>
                    <a:pt x="87535" y="227933"/>
                  </a:lnTo>
                  <a:lnTo>
                    <a:pt x="84106" y="206121"/>
                  </a:lnTo>
                  <a:lnTo>
                    <a:pt x="76295" y="192119"/>
                  </a:lnTo>
                  <a:lnTo>
                    <a:pt x="61532" y="188976"/>
                  </a:lnTo>
                  <a:lnTo>
                    <a:pt x="46768" y="182690"/>
                  </a:lnTo>
                  <a:lnTo>
                    <a:pt x="29432" y="185833"/>
                  </a:lnTo>
                  <a:lnTo>
                    <a:pt x="5144" y="187357"/>
                  </a:lnTo>
                  <a:lnTo>
                    <a:pt x="0" y="142113"/>
                  </a:lnTo>
                  <a:lnTo>
                    <a:pt x="20765" y="137446"/>
                  </a:lnTo>
                  <a:lnTo>
                    <a:pt x="21622" y="117157"/>
                  </a:lnTo>
                  <a:lnTo>
                    <a:pt x="20765" y="101536"/>
                  </a:lnTo>
                  <a:lnTo>
                    <a:pt x="44196" y="95250"/>
                  </a:lnTo>
                  <a:lnTo>
                    <a:pt x="63246" y="57626"/>
                  </a:lnTo>
                  <a:lnTo>
                    <a:pt x="50197" y="35719"/>
                  </a:lnTo>
                  <a:lnTo>
                    <a:pt x="54483" y="5906"/>
                  </a:lnTo>
                  <a:lnTo>
                    <a:pt x="64008" y="12192"/>
                  </a:lnTo>
                  <a:lnTo>
                    <a:pt x="78772" y="13811"/>
                  </a:lnTo>
                  <a:lnTo>
                    <a:pt x="76200" y="0"/>
                  </a:lnTo>
                  <a:lnTo>
                    <a:pt x="95345" y="8192"/>
                  </a:lnTo>
                  <a:lnTo>
                    <a:pt x="141161" y="27623"/>
                  </a:lnTo>
                  <a:lnTo>
                    <a:pt x="145828" y="30956"/>
                  </a:lnTo>
                  <a:lnTo>
                    <a:pt x="149257" y="41148"/>
                  </a:lnTo>
                  <a:lnTo>
                    <a:pt x="155543" y="54483"/>
                  </a:lnTo>
                  <a:lnTo>
                    <a:pt x="158782" y="62579"/>
                  </a:lnTo>
                </a:path>
              </a:pathLst>
            </a:custGeom>
            <a:grpFill/>
            <a:ln w="2381" cap="sq">
              <a:noFill/>
              <a:prstDash val="solid"/>
              <a:bevel/>
            </a:ln>
          </p:spPr>
          <p:txBody>
            <a:bodyPr rtlCol="0" anchor="ctr"/>
            <a:lstStyle/>
            <a:p>
              <a:endParaRPr lang="cs-CZ"/>
            </a:p>
          </p:txBody>
        </p:sp>
        <p:sp>
          <p:nvSpPr>
            <p:cNvPr id="269" name="Freeform: Shape 268">
              <a:extLst>
                <a:ext uri="{FF2B5EF4-FFF2-40B4-BE49-F238E27FC236}">
                  <a16:creationId xmlns:a16="http://schemas.microsoft.com/office/drawing/2014/main" id="{728D3696-D2CF-CBE2-26F2-3609C97D5B51}"/>
                </a:ext>
              </a:extLst>
            </p:cNvPr>
            <p:cNvSpPr/>
            <p:nvPr/>
          </p:nvSpPr>
          <p:spPr>
            <a:xfrm>
              <a:off x="13436725" y="8221627"/>
              <a:ext cx="342423" cy="183070"/>
            </a:xfrm>
            <a:custGeom>
              <a:avLst/>
              <a:gdLst>
                <a:gd name="connsiteX0" fmla="*/ 239363 w 342423"/>
                <a:gd name="connsiteY0" fmla="*/ 151733 h 183070"/>
                <a:gd name="connsiteX1" fmla="*/ 235649 w 342423"/>
                <a:gd name="connsiteY1" fmla="*/ 135065 h 183070"/>
                <a:gd name="connsiteX2" fmla="*/ 224028 w 342423"/>
                <a:gd name="connsiteY2" fmla="*/ 118396 h 183070"/>
                <a:gd name="connsiteX3" fmla="*/ 223075 w 342423"/>
                <a:gd name="connsiteY3" fmla="*/ 112204 h 183070"/>
                <a:gd name="connsiteX4" fmla="*/ 221075 w 342423"/>
                <a:gd name="connsiteY4" fmla="*/ 108585 h 183070"/>
                <a:gd name="connsiteX5" fmla="*/ 218504 w 342423"/>
                <a:gd name="connsiteY5" fmla="*/ 106013 h 183070"/>
                <a:gd name="connsiteX6" fmla="*/ 211169 w 342423"/>
                <a:gd name="connsiteY6" fmla="*/ 104394 h 183070"/>
                <a:gd name="connsiteX7" fmla="*/ 198215 w 342423"/>
                <a:gd name="connsiteY7" fmla="*/ 108585 h 183070"/>
                <a:gd name="connsiteX8" fmla="*/ 188786 w 342423"/>
                <a:gd name="connsiteY8" fmla="*/ 117920 h 183070"/>
                <a:gd name="connsiteX9" fmla="*/ 175736 w 342423"/>
                <a:gd name="connsiteY9" fmla="*/ 136112 h 183070"/>
                <a:gd name="connsiteX10" fmla="*/ 172498 w 342423"/>
                <a:gd name="connsiteY10" fmla="*/ 146780 h 183070"/>
                <a:gd name="connsiteX11" fmla="*/ 157734 w 342423"/>
                <a:gd name="connsiteY11" fmla="*/ 166973 h 183070"/>
                <a:gd name="connsiteX12" fmla="*/ 132493 w 342423"/>
                <a:gd name="connsiteY12" fmla="*/ 183071 h 183070"/>
                <a:gd name="connsiteX13" fmla="*/ 129254 w 342423"/>
                <a:gd name="connsiteY13" fmla="*/ 174974 h 183070"/>
                <a:gd name="connsiteX14" fmla="*/ 122968 w 342423"/>
                <a:gd name="connsiteY14" fmla="*/ 161639 h 183070"/>
                <a:gd name="connsiteX15" fmla="*/ 119539 w 342423"/>
                <a:gd name="connsiteY15" fmla="*/ 151448 h 183070"/>
                <a:gd name="connsiteX16" fmla="*/ 114871 w 342423"/>
                <a:gd name="connsiteY16" fmla="*/ 148114 h 183070"/>
                <a:gd name="connsiteX17" fmla="*/ 69056 w 342423"/>
                <a:gd name="connsiteY17" fmla="*/ 128683 h 183070"/>
                <a:gd name="connsiteX18" fmla="*/ 49911 w 342423"/>
                <a:gd name="connsiteY18" fmla="*/ 120491 h 183070"/>
                <a:gd name="connsiteX19" fmla="*/ 68961 w 342423"/>
                <a:gd name="connsiteY19" fmla="*/ 107633 h 183070"/>
                <a:gd name="connsiteX20" fmla="*/ 66389 w 342423"/>
                <a:gd name="connsiteY20" fmla="*/ 96679 h 183070"/>
                <a:gd name="connsiteX21" fmla="*/ 55150 w 342423"/>
                <a:gd name="connsiteY21" fmla="*/ 101346 h 183070"/>
                <a:gd name="connsiteX22" fmla="*/ 50768 w 342423"/>
                <a:gd name="connsiteY22" fmla="*/ 91916 h 183070"/>
                <a:gd name="connsiteX23" fmla="*/ 41243 w 342423"/>
                <a:gd name="connsiteY23" fmla="*/ 91916 h 183070"/>
                <a:gd name="connsiteX24" fmla="*/ 30480 w 342423"/>
                <a:gd name="connsiteY24" fmla="*/ 98012 h 183070"/>
                <a:gd name="connsiteX25" fmla="*/ 20098 w 342423"/>
                <a:gd name="connsiteY25" fmla="*/ 97631 h 183070"/>
                <a:gd name="connsiteX26" fmla="*/ 15050 w 342423"/>
                <a:gd name="connsiteY26" fmla="*/ 95726 h 183070"/>
                <a:gd name="connsiteX27" fmla="*/ 8192 w 342423"/>
                <a:gd name="connsiteY27" fmla="*/ 78962 h 183070"/>
                <a:gd name="connsiteX28" fmla="*/ 0 w 342423"/>
                <a:gd name="connsiteY28" fmla="*/ 70295 h 183070"/>
                <a:gd name="connsiteX29" fmla="*/ 3143 w 342423"/>
                <a:gd name="connsiteY29" fmla="*/ 52102 h 183070"/>
                <a:gd name="connsiteX30" fmla="*/ 3429 w 342423"/>
                <a:gd name="connsiteY30" fmla="*/ 37814 h 183070"/>
                <a:gd name="connsiteX31" fmla="*/ 15621 w 342423"/>
                <a:gd name="connsiteY31" fmla="*/ 39910 h 183070"/>
                <a:gd name="connsiteX32" fmla="*/ 32195 w 342423"/>
                <a:gd name="connsiteY32" fmla="*/ 37148 h 183070"/>
                <a:gd name="connsiteX33" fmla="*/ 52578 w 342423"/>
                <a:gd name="connsiteY33" fmla="*/ 29813 h 183070"/>
                <a:gd name="connsiteX34" fmla="*/ 71628 w 342423"/>
                <a:gd name="connsiteY34" fmla="*/ 19717 h 183070"/>
                <a:gd name="connsiteX35" fmla="*/ 91726 w 342423"/>
                <a:gd name="connsiteY35" fmla="*/ 0 h 183070"/>
                <a:gd name="connsiteX36" fmla="*/ 98965 w 342423"/>
                <a:gd name="connsiteY36" fmla="*/ 18383 h 183070"/>
                <a:gd name="connsiteX37" fmla="*/ 107061 w 342423"/>
                <a:gd name="connsiteY37" fmla="*/ 25718 h 183070"/>
                <a:gd name="connsiteX38" fmla="*/ 113729 w 342423"/>
                <a:gd name="connsiteY38" fmla="*/ 27718 h 183070"/>
                <a:gd name="connsiteX39" fmla="*/ 120777 w 342423"/>
                <a:gd name="connsiteY39" fmla="*/ 25241 h 183070"/>
                <a:gd name="connsiteX40" fmla="*/ 134017 w 342423"/>
                <a:gd name="connsiteY40" fmla="*/ 15431 h 183070"/>
                <a:gd name="connsiteX41" fmla="*/ 149162 w 342423"/>
                <a:gd name="connsiteY41" fmla="*/ 8287 h 183070"/>
                <a:gd name="connsiteX42" fmla="*/ 159067 w 342423"/>
                <a:gd name="connsiteY42" fmla="*/ 10954 h 183070"/>
                <a:gd name="connsiteX43" fmla="*/ 164306 w 342423"/>
                <a:gd name="connsiteY43" fmla="*/ 14573 h 183070"/>
                <a:gd name="connsiteX44" fmla="*/ 172498 w 342423"/>
                <a:gd name="connsiteY44" fmla="*/ 16478 h 183070"/>
                <a:gd name="connsiteX45" fmla="*/ 177832 w 342423"/>
                <a:gd name="connsiteY45" fmla="*/ 21527 h 183070"/>
                <a:gd name="connsiteX46" fmla="*/ 175260 w 342423"/>
                <a:gd name="connsiteY46" fmla="*/ 27242 h 183070"/>
                <a:gd name="connsiteX47" fmla="*/ 185547 w 342423"/>
                <a:gd name="connsiteY47" fmla="*/ 39433 h 183070"/>
                <a:gd name="connsiteX48" fmla="*/ 200120 w 342423"/>
                <a:gd name="connsiteY48" fmla="*/ 34671 h 183070"/>
                <a:gd name="connsiteX49" fmla="*/ 207645 w 342423"/>
                <a:gd name="connsiteY49" fmla="*/ 38671 h 183070"/>
                <a:gd name="connsiteX50" fmla="*/ 208788 w 342423"/>
                <a:gd name="connsiteY50" fmla="*/ 42291 h 183070"/>
                <a:gd name="connsiteX51" fmla="*/ 211550 w 342423"/>
                <a:gd name="connsiteY51" fmla="*/ 55817 h 183070"/>
                <a:gd name="connsiteX52" fmla="*/ 231553 w 342423"/>
                <a:gd name="connsiteY52" fmla="*/ 43720 h 183070"/>
                <a:gd name="connsiteX53" fmla="*/ 234696 w 342423"/>
                <a:gd name="connsiteY53" fmla="*/ 39338 h 183070"/>
                <a:gd name="connsiteX54" fmla="*/ 244316 w 342423"/>
                <a:gd name="connsiteY54" fmla="*/ 20955 h 183070"/>
                <a:gd name="connsiteX55" fmla="*/ 254317 w 342423"/>
                <a:gd name="connsiteY55" fmla="*/ 22384 h 183070"/>
                <a:gd name="connsiteX56" fmla="*/ 286703 w 342423"/>
                <a:gd name="connsiteY56" fmla="*/ 42005 h 183070"/>
                <a:gd name="connsiteX57" fmla="*/ 301466 w 342423"/>
                <a:gd name="connsiteY57" fmla="*/ 46482 h 183070"/>
                <a:gd name="connsiteX58" fmla="*/ 329184 w 342423"/>
                <a:gd name="connsiteY58" fmla="*/ 49816 h 183070"/>
                <a:gd name="connsiteX59" fmla="*/ 325184 w 342423"/>
                <a:gd name="connsiteY59" fmla="*/ 72200 h 183070"/>
                <a:gd name="connsiteX60" fmla="*/ 326422 w 342423"/>
                <a:gd name="connsiteY60" fmla="*/ 80772 h 183070"/>
                <a:gd name="connsiteX61" fmla="*/ 330041 w 342423"/>
                <a:gd name="connsiteY61" fmla="*/ 83820 h 183070"/>
                <a:gd name="connsiteX62" fmla="*/ 334994 w 342423"/>
                <a:gd name="connsiteY62" fmla="*/ 85439 h 183070"/>
                <a:gd name="connsiteX63" fmla="*/ 342424 w 342423"/>
                <a:gd name="connsiteY63" fmla="*/ 86106 h 183070"/>
                <a:gd name="connsiteX64" fmla="*/ 329755 w 342423"/>
                <a:gd name="connsiteY64" fmla="*/ 112300 h 183070"/>
                <a:gd name="connsiteX65" fmla="*/ 329184 w 342423"/>
                <a:gd name="connsiteY65" fmla="*/ 115824 h 183070"/>
                <a:gd name="connsiteX66" fmla="*/ 328898 w 342423"/>
                <a:gd name="connsiteY66" fmla="*/ 119348 h 183070"/>
                <a:gd name="connsiteX67" fmla="*/ 330517 w 342423"/>
                <a:gd name="connsiteY67" fmla="*/ 120110 h 183070"/>
                <a:gd name="connsiteX68" fmla="*/ 330517 w 342423"/>
                <a:gd name="connsiteY68" fmla="*/ 120872 h 183070"/>
                <a:gd name="connsiteX69" fmla="*/ 330137 w 342423"/>
                <a:gd name="connsiteY69" fmla="*/ 124873 h 183070"/>
                <a:gd name="connsiteX70" fmla="*/ 315754 w 342423"/>
                <a:gd name="connsiteY70" fmla="*/ 126683 h 183070"/>
                <a:gd name="connsiteX71" fmla="*/ 308324 w 342423"/>
                <a:gd name="connsiteY71" fmla="*/ 124206 h 183070"/>
                <a:gd name="connsiteX72" fmla="*/ 303847 w 342423"/>
                <a:gd name="connsiteY72" fmla="*/ 121444 h 183070"/>
                <a:gd name="connsiteX73" fmla="*/ 292132 w 342423"/>
                <a:gd name="connsiteY73" fmla="*/ 119825 h 183070"/>
                <a:gd name="connsiteX74" fmla="*/ 282892 w 342423"/>
                <a:gd name="connsiteY74" fmla="*/ 121158 h 183070"/>
                <a:gd name="connsiteX75" fmla="*/ 276225 w 342423"/>
                <a:gd name="connsiteY75" fmla="*/ 124777 h 183070"/>
                <a:gd name="connsiteX76" fmla="*/ 271367 w 342423"/>
                <a:gd name="connsiteY76" fmla="*/ 129159 h 183070"/>
                <a:gd name="connsiteX77" fmla="*/ 267557 w 342423"/>
                <a:gd name="connsiteY77" fmla="*/ 133921 h 183070"/>
                <a:gd name="connsiteX78" fmla="*/ 258413 w 342423"/>
                <a:gd name="connsiteY78" fmla="*/ 141446 h 183070"/>
                <a:gd name="connsiteX79" fmla="*/ 239078 w 342423"/>
                <a:gd name="connsiteY79" fmla="*/ 151638 h 183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42423" h="183070">
                  <a:moveTo>
                    <a:pt x="239363" y="151733"/>
                  </a:moveTo>
                  <a:lnTo>
                    <a:pt x="235649" y="135065"/>
                  </a:lnTo>
                  <a:lnTo>
                    <a:pt x="224028" y="118396"/>
                  </a:lnTo>
                  <a:lnTo>
                    <a:pt x="223075" y="112204"/>
                  </a:lnTo>
                  <a:lnTo>
                    <a:pt x="221075" y="108585"/>
                  </a:lnTo>
                  <a:lnTo>
                    <a:pt x="218504" y="106013"/>
                  </a:lnTo>
                  <a:lnTo>
                    <a:pt x="211169" y="104394"/>
                  </a:lnTo>
                  <a:lnTo>
                    <a:pt x="198215" y="108585"/>
                  </a:lnTo>
                  <a:lnTo>
                    <a:pt x="188786" y="117920"/>
                  </a:lnTo>
                  <a:lnTo>
                    <a:pt x="175736" y="136112"/>
                  </a:lnTo>
                  <a:lnTo>
                    <a:pt x="172498" y="146780"/>
                  </a:lnTo>
                  <a:lnTo>
                    <a:pt x="157734" y="166973"/>
                  </a:lnTo>
                  <a:lnTo>
                    <a:pt x="132493" y="183071"/>
                  </a:lnTo>
                  <a:lnTo>
                    <a:pt x="129254" y="174974"/>
                  </a:lnTo>
                  <a:lnTo>
                    <a:pt x="122968" y="161639"/>
                  </a:lnTo>
                  <a:lnTo>
                    <a:pt x="119539" y="151448"/>
                  </a:lnTo>
                  <a:lnTo>
                    <a:pt x="114871" y="148114"/>
                  </a:lnTo>
                  <a:lnTo>
                    <a:pt x="69056" y="128683"/>
                  </a:lnTo>
                  <a:lnTo>
                    <a:pt x="49911" y="120491"/>
                  </a:lnTo>
                  <a:lnTo>
                    <a:pt x="68961" y="107633"/>
                  </a:lnTo>
                  <a:lnTo>
                    <a:pt x="66389" y="96679"/>
                  </a:lnTo>
                  <a:lnTo>
                    <a:pt x="55150" y="101346"/>
                  </a:lnTo>
                  <a:lnTo>
                    <a:pt x="50768" y="91916"/>
                  </a:lnTo>
                  <a:lnTo>
                    <a:pt x="41243" y="91916"/>
                  </a:lnTo>
                  <a:lnTo>
                    <a:pt x="30480" y="98012"/>
                  </a:lnTo>
                  <a:lnTo>
                    <a:pt x="20098" y="97631"/>
                  </a:lnTo>
                  <a:lnTo>
                    <a:pt x="15050" y="95726"/>
                  </a:lnTo>
                  <a:lnTo>
                    <a:pt x="8192" y="78962"/>
                  </a:lnTo>
                  <a:lnTo>
                    <a:pt x="0" y="70295"/>
                  </a:lnTo>
                  <a:lnTo>
                    <a:pt x="3143" y="52102"/>
                  </a:lnTo>
                  <a:lnTo>
                    <a:pt x="3429" y="37814"/>
                  </a:lnTo>
                  <a:lnTo>
                    <a:pt x="15621" y="39910"/>
                  </a:lnTo>
                  <a:lnTo>
                    <a:pt x="32195" y="37148"/>
                  </a:lnTo>
                  <a:lnTo>
                    <a:pt x="52578" y="29813"/>
                  </a:lnTo>
                  <a:lnTo>
                    <a:pt x="71628" y="19717"/>
                  </a:lnTo>
                  <a:lnTo>
                    <a:pt x="91726" y="0"/>
                  </a:lnTo>
                  <a:lnTo>
                    <a:pt x="98965" y="18383"/>
                  </a:lnTo>
                  <a:lnTo>
                    <a:pt x="107061" y="25718"/>
                  </a:lnTo>
                  <a:lnTo>
                    <a:pt x="113729" y="27718"/>
                  </a:lnTo>
                  <a:lnTo>
                    <a:pt x="120777" y="25241"/>
                  </a:lnTo>
                  <a:lnTo>
                    <a:pt x="134017" y="15431"/>
                  </a:lnTo>
                  <a:lnTo>
                    <a:pt x="149162" y="8287"/>
                  </a:lnTo>
                  <a:lnTo>
                    <a:pt x="159067" y="10954"/>
                  </a:lnTo>
                  <a:lnTo>
                    <a:pt x="164306" y="14573"/>
                  </a:lnTo>
                  <a:lnTo>
                    <a:pt x="172498" y="16478"/>
                  </a:lnTo>
                  <a:lnTo>
                    <a:pt x="177832" y="21527"/>
                  </a:lnTo>
                  <a:lnTo>
                    <a:pt x="175260" y="27242"/>
                  </a:lnTo>
                  <a:lnTo>
                    <a:pt x="185547" y="39433"/>
                  </a:lnTo>
                  <a:lnTo>
                    <a:pt x="200120" y="34671"/>
                  </a:lnTo>
                  <a:lnTo>
                    <a:pt x="207645" y="38671"/>
                  </a:lnTo>
                  <a:lnTo>
                    <a:pt x="208788" y="42291"/>
                  </a:lnTo>
                  <a:lnTo>
                    <a:pt x="211550" y="55817"/>
                  </a:lnTo>
                  <a:lnTo>
                    <a:pt x="231553" y="43720"/>
                  </a:lnTo>
                  <a:lnTo>
                    <a:pt x="234696" y="39338"/>
                  </a:lnTo>
                  <a:lnTo>
                    <a:pt x="244316" y="20955"/>
                  </a:lnTo>
                  <a:lnTo>
                    <a:pt x="254317" y="22384"/>
                  </a:lnTo>
                  <a:lnTo>
                    <a:pt x="286703" y="42005"/>
                  </a:lnTo>
                  <a:lnTo>
                    <a:pt x="301466" y="46482"/>
                  </a:lnTo>
                  <a:lnTo>
                    <a:pt x="329184" y="49816"/>
                  </a:lnTo>
                  <a:lnTo>
                    <a:pt x="325184" y="72200"/>
                  </a:lnTo>
                  <a:lnTo>
                    <a:pt x="326422" y="80772"/>
                  </a:lnTo>
                  <a:lnTo>
                    <a:pt x="330041" y="83820"/>
                  </a:lnTo>
                  <a:lnTo>
                    <a:pt x="334994" y="85439"/>
                  </a:lnTo>
                  <a:lnTo>
                    <a:pt x="342424" y="86106"/>
                  </a:lnTo>
                  <a:lnTo>
                    <a:pt x="329755" y="112300"/>
                  </a:lnTo>
                  <a:lnTo>
                    <a:pt x="329184" y="115824"/>
                  </a:lnTo>
                  <a:lnTo>
                    <a:pt x="328898" y="119348"/>
                  </a:lnTo>
                  <a:lnTo>
                    <a:pt x="330517" y="120110"/>
                  </a:lnTo>
                  <a:lnTo>
                    <a:pt x="330517" y="120872"/>
                  </a:lnTo>
                  <a:cubicBezTo>
                    <a:pt x="330517" y="120872"/>
                    <a:pt x="330137" y="124873"/>
                    <a:pt x="330137" y="124873"/>
                  </a:cubicBezTo>
                  <a:lnTo>
                    <a:pt x="315754" y="126683"/>
                  </a:lnTo>
                  <a:lnTo>
                    <a:pt x="308324" y="124206"/>
                  </a:lnTo>
                  <a:lnTo>
                    <a:pt x="303847" y="121444"/>
                  </a:lnTo>
                  <a:lnTo>
                    <a:pt x="292132" y="119825"/>
                  </a:lnTo>
                  <a:lnTo>
                    <a:pt x="282892" y="121158"/>
                  </a:lnTo>
                  <a:lnTo>
                    <a:pt x="276225" y="124777"/>
                  </a:lnTo>
                  <a:lnTo>
                    <a:pt x="271367" y="129159"/>
                  </a:lnTo>
                  <a:lnTo>
                    <a:pt x="267557" y="133921"/>
                  </a:lnTo>
                  <a:lnTo>
                    <a:pt x="258413" y="141446"/>
                  </a:lnTo>
                  <a:lnTo>
                    <a:pt x="239078" y="151638"/>
                  </a:lnTo>
                </a:path>
              </a:pathLst>
            </a:custGeom>
            <a:grpFill/>
            <a:ln w="2381" cap="sq">
              <a:noFill/>
              <a:prstDash val="solid"/>
              <a:bevel/>
            </a:ln>
          </p:spPr>
          <p:txBody>
            <a:bodyPr rtlCol="0" anchor="ctr"/>
            <a:lstStyle/>
            <a:p>
              <a:endParaRPr lang="cs-CZ"/>
            </a:p>
          </p:txBody>
        </p:sp>
        <p:sp>
          <p:nvSpPr>
            <p:cNvPr id="270" name="Freeform: Shape 269">
              <a:extLst>
                <a:ext uri="{FF2B5EF4-FFF2-40B4-BE49-F238E27FC236}">
                  <a16:creationId xmlns:a16="http://schemas.microsoft.com/office/drawing/2014/main" id="{0A06815E-8798-B4CE-8717-18BCCC039D47}"/>
                </a:ext>
              </a:extLst>
            </p:cNvPr>
            <p:cNvSpPr/>
            <p:nvPr/>
          </p:nvSpPr>
          <p:spPr>
            <a:xfrm>
              <a:off x="13363287" y="8255822"/>
              <a:ext cx="110680" cy="187832"/>
            </a:xfrm>
            <a:custGeom>
              <a:avLst/>
              <a:gdLst>
                <a:gd name="connsiteX0" fmla="*/ 72009 w 110680"/>
                <a:gd name="connsiteY0" fmla="*/ 0 h 187832"/>
                <a:gd name="connsiteX1" fmla="*/ 77057 w 110680"/>
                <a:gd name="connsiteY1" fmla="*/ 3524 h 187832"/>
                <a:gd name="connsiteX2" fmla="*/ 76772 w 110680"/>
                <a:gd name="connsiteY2" fmla="*/ 17812 h 187832"/>
                <a:gd name="connsiteX3" fmla="*/ 73628 w 110680"/>
                <a:gd name="connsiteY3" fmla="*/ 36004 h 187832"/>
                <a:gd name="connsiteX4" fmla="*/ 81820 w 110680"/>
                <a:gd name="connsiteY4" fmla="*/ 44672 h 187832"/>
                <a:gd name="connsiteX5" fmla="*/ 88678 w 110680"/>
                <a:gd name="connsiteY5" fmla="*/ 61436 h 187832"/>
                <a:gd name="connsiteX6" fmla="*/ 93726 w 110680"/>
                <a:gd name="connsiteY6" fmla="*/ 63341 h 187832"/>
                <a:gd name="connsiteX7" fmla="*/ 104108 w 110680"/>
                <a:gd name="connsiteY7" fmla="*/ 63722 h 187832"/>
                <a:gd name="connsiteX8" fmla="*/ 101918 w 110680"/>
                <a:gd name="connsiteY8" fmla="*/ 92202 h 187832"/>
                <a:gd name="connsiteX9" fmla="*/ 97631 w 110680"/>
                <a:gd name="connsiteY9" fmla="*/ 122015 h 187832"/>
                <a:gd name="connsiteX10" fmla="*/ 110681 w 110680"/>
                <a:gd name="connsiteY10" fmla="*/ 143923 h 187832"/>
                <a:gd name="connsiteX11" fmla="*/ 91631 w 110680"/>
                <a:gd name="connsiteY11" fmla="*/ 181546 h 187832"/>
                <a:gd name="connsiteX12" fmla="*/ 68199 w 110680"/>
                <a:gd name="connsiteY12" fmla="*/ 187833 h 187832"/>
                <a:gd name="connsiteX13" fmla="*/ 65627 w 110680"/>
                <a:gd name="connsiteY13" fmla="*/ 175355 h 187832"/>
                <a:gd name="connsiteX14" fmla="*/ 45720 w 110680"/>
                <a:gd name="connsiteY14" fmla="*/ 176879 h 187832"/>
                <a:gd name="connsiteX15" fmla="*/ 38767 w 110680"/>
                <a:gd name="connsiteY15" fmla="*/ 158115 h 187832"/>
                <a:gd name="connsiteX16" fmla="*/ 30099 w 110680"/>
                <a:gd name="connsiteY16" fmla="*/ 147161 h 187832"/>
                <a:gd name="connsiteX17" fmla="*/ 20574 w 110680"/>
                <a:gd name="connsiteY17" fmla="*/ 131445 h 187832"/>
                <a:gd name="connsiteX18" fmla="*/ 22289 w 110680"/>
                <a:gd name="connsiteY18" fmla="*/ 120491 h 187832"/>
                <a:gd name="connsiteX19" fmla="*/ 14002 w 110680"/>
                <a:gd name="connsiteY19" fmla="*/ 106108 h 187832"/>
                <a:gd name="connsiteX20" fmla="*/ 8287 w 110680"/>
                <a:gd name="connsiteY20" fmla="*/ 91154 h 187832"/>
                <a:gd name="connsiteX21" fmla="*/ 2858 w 110680"/>
                <a:gd name="connsiteY21" fmla="*/ 84201 h 187832"/>
                <a:gd name="connsiteX22" fmla="*/ 0 w 110680"/>
                <a:gd name="connsiteY22" fmla="*/ 75438 h 187832"/>
                <a:gd name="connsiteX23" fmla="*/ 6763 w 110680"/>
                <a:gd name="connsiteY23" fmla="*/ 54959 h 187832"/>
                <a:gd name="connsiteX24" fmla="*/ 15621 w 110680"/>
                <a:gd name="connsiteY24" fmla="*/ 46387 h 187832"/>
                <a:gd name="connsiteX25" fmla="*/ 18383 w 110680"/>
                <a:gd name="connsiteY25" fmla="*/ 39148 h 187832"/>
                <a:gd name="connsiteX26" fmla="*/ 18955 w 110680"/>
                <a:gd name="connsiteY26" fmla="*/ 35147 h 187832"/>
                <a:gd name="connsiteX27" fmla="*/ 15907 w 110680"/>
                <a:gd name="connsiteY27" fmla="*/ 33338 h 187832"/>
                <a:gd name="connsiteX28" fmla="*/ 8382 w 110680"/>
                <a:gd name="connsiteY28" fmla="*/ 34099 h 187832"/>
                <a:gd name="connsiteX29" fmla="*/ 667 w 110680"/>
                <a:gd name="connsiteY29" fmla="*/ 30766 h 187832"/>
                <a:gd name="connsiteX30" fmla="*/ 4382 w 110680"/>
                <a:gd name="connsiteY30" fmla="*/ 28765 h 187832"/>
                <a:gd name="connsiteX31" fmla="*/ 8096 w 110680"/>
                <a:gd name="connsiteY31" fmla="*/ 29051 h 187832"/>
                <a:gd name="connsiteX32" fmla="*/ 16669 w 110680"/>
                <a:gd name="connsiteY32" fmla="*/ 27242 h 187832"/>
                <a:gd name="connsiteX33" fmla="*/ 34290 w 110680"/>
                <a:gd name="connsiteY33" fmla="*/ 14859 h 187832"/>
                <a:gd name="connsiteX34" fmla="*/ 50483 w 110680"/>
                <a:gd name="connsiteY34" fmla="*/ 11716 h 187832"/>
                <a:gd name="connsiteX35" fmla="*/ 59436 w 110680"/>
                <a:gd name="connsiteY35" fmla="*/ 8096 h 187832"/>
                <a:gd name="connsiteX36" fmla="*/ 72200 w 110680"/>
                <a:gd name="connsiteY36" fmla="*/ 0 h 187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0680" h="187832">
                  <a:moveTo>
                    <a:pt x="72009" y="0"/>
                  </a:moveTo>
                  <a:lnTo>
                    <a:pt x="77057" y="3524"/>
                  </a:lnTo>
                  <a:lnTo>
                    <a:pt x="76772" y="17812"/>
                  </a:lnTo>
                  <a:lnTo>
                    <a:pt x="73628" y="36004"/>
                  </a:lnTo>
                  <a:lnTo>
                    <a:pt x="81820" y="44672"/>
                  </a:lnTo>
                  <a:lnTo>
                    <a:pt x="88678" y="61436"/>
                  </a:lnTo>
                  <a:lnTo>
                    <a:pt x="93726" y="63341"/>
                  </a:lnTo>
                  <a:lnTo>
                    <a:pt x="104108" y="63722"/>
                  </a:lnTo>
                  <a:lnTo>
                    <a:pt x="101918" y="92202"/>
                  </a:lnTo>
                  <a:lnTo>
                    <a:pt x="97631" y="122015"/>
                  </a:lnTo>
                  <a:lnTo>
                    <a:pt x="110681" y="143923"/>
                  </a:lnTo>
                  <a:lnTo>
                    <a:pt x="91631" y="181546"/>
                  </a:lnTo>
                  <a:lnTo>
                    <a:pt x="68199" y="187833"/>
                  </a:lnTo>
                  <a:lnTo>
                    <a:pt x="65627" y="175355"/>
                  </a:lnTo>
                  <a:lnTo>
                    <a:pt x="45720" y="176879"/>
                  </a:lnTo>
                  <a:lnTo>
                    <a:pt x="38767" y="158115"/>
                  </a:lnTo>
                  <a:lnTo>
                    <a:pt x="30099" y="147161"/>
                  </a:lnTo>
                  <a:lnTo>
                    <a:pt x="20574" y="131445"/>
                  </a:lnTo>
                  <a:lnTo>
                    <a:pt x="22289" y="120491"/>
                  </a:lnTo>
                  <a:lnTo>
                    <a:pt x="14002" y="106108"/>
                  </a:lnTo>
                  <a:lnTo>
                    <a:pt x="8287" y="91154"/>
                  </a:lnTo>
                  <a:lnTo>
                    <a:pt x="2858" y="84201"/>
                  </a:lnTo>
                  <a:lnTo>
                    <a:pt x="0" y="75438"/>
                  </a:lnTo>
                  <a:lnTo>
                    <a:pt x="6763" y="54959"/>
                  </a:lnTo>
                  <a:lnTo>
                    <a:pt x="15621" y="46387"/>
                  </a:lnTo>
                  <a:lnTo>
                    <a:pt x="18383" y="39148"/>
                  </a:lnTo>
                  <a:lnTo>
                    <a:pt x="18955" y="35147"/>
                  </a:lnTo>
                  <a:lnTo>
                    <a:pt x="15907" y="33338"/>
                  </a:lnTo>
                  <a:lnTo>
                    <a:pt x="8382" y="34099"/>
                  </a:lnTo>
                  <a:lnTo>
                    <a:pt x="667" y="30766"/>
                  </a:lnTo>
                  <a:lnTo>
                    <a:pt x="4382" y="28765"/>
                  </a:lnTo>
                  <a:lnTo>
                    <a:pt x="8096" y="29051"/>
                  </a:lnTo>
                  <a:lnTo>
                    <a:pt x="16669" y="27242"/>
                  </a:lnTo>
                  <a:lnTo>
                    <a:pt x="34290" y="14859"/>
                  </a:lnTo>
                  <a:lnTo>
                    <a:pt x="50483" y="11716"/>
                  </a:lnTo>
                  <a:lnTo>
                    <a:pt x="59436" y="8096"/>
                  </a:lnTo>
                  <a:lnTo>
                    <a:pt x="72200" y="0"/>
                  </a:lnTo>
                </a:path>
              </a:pathLst>
            </a:custGeom>
            <a:grpFill/>
            <a:ln w="2381" cap="sq">
              <a:noFill/>
              <a:prstDash val="solid"/>
              <a:bevel/>
            </a:ln>
          </p:spPr>
          <p:txBody>
            <a:bodyPr rtlCol="0" anchor="ctr"/>
            <a:lstStyle/>
            <a:p>
              <a:endParaRPr lang="cs-CZ"/>
            </a:p>
          </p:txBody>
        </p:sp>
        <p:sp>
          <p:nvSpPr>
            <p:cNvPr id="271" name="Freeform: Shape 270">
              <a:extLst>
                <a:ext uri="{FF2B5EF4-FFF2-40B4-BE49-F238E27FC236}">
                  <a16:creationId xmlns:a16="http://schemas.microsoft.com/office/drawing/2014/main" id="{57BBAAD7-CAB3-4703-C934-DE1E44256C1F}"/>
                </a:ext>
              </a:extLst>
            </p:cNvPr>
            <p:cNvSpPr/>
            <p:nvPr/>
          </p:nvSpPr>
          <p:spPr>
            <a:xfrm>
              <a:off x="11711271" y="8078085"/>
              <a:ext cx="197834" cy="225456"/>
            </a:xfrm>
            <a:custGeom>
              <a:avLst/>
              <a:gdLst>
                <a:gd name="connsiteX0" fmla="*/ 46672 w 197834"/>
                <a:gd name="connsiteY0" fmla="*/ 0 h 225456"/>
                <a:gd name="connsiteX1" fmla="*/ 68770 w 197834"/>
                <a:gd name="connsiteY1" fmla="*/ 2096 h 225456"/>
                <a:gd name="connsiteX2" fmla="*/ 77629 w 197834"/>
                <a:gd name="connsiteY2" fmla="*/ 16859 h 225456"/>
                <a:gd name="connsiteX3" fmla="*/ 81629 w 197834"/>
                <a:gd name="connsiteY3" fmla="*/ 18193 h 225456"/>
                <a:gd name="connsiteX4" fmla="*/ 97441 w 197834"/>
                <a:gd name="connsiteY4" fmla="*/ 18193 h 225456"/>
                <a:gd name="connsiteX5" fmla="*/ 107728 w 197834"/>
                <a:gd name="connsiteY5" fmla="*/ 16002 h 225456"/>
                <a:gd name="connsiteX6" fmla="*/ 113824 w 197834"/>
                <a:gd name="connsiteY6" fmla="*/ 24670 h 225456"/>
                <a:gd name="connsiteX7" fmla="*/ 114491 w 197834"/>
                <a:gd name="connsiteY7" fmla="*/ 31909 h 225456"/>
                <a:gd name="connsiteX8" fmla="*/ 119253 w 197834"/>
                <a:gd name="connsiteY8" fmla="*/ 40005 h 225456"/>
                <a:gd name="connsiteX9" fmla="*/ 122015 w 197834"/>
                <a:gd name="connsiteY9" fmla="*/ 48196 h 225456"/>
                <a:gd name="connsiteX10" fmla="*/ 127730 w 197834"/>
                <a:gd name="connsiteY10" fmla="*/ 54388 h 225456"/>
                <a:gd name="connsiteX11" fmla="*/ 130588 w 197834"/>
                <a:gd name="connsiteY11" fmla="*/ 55150 h 225456"/>
                <a:gd name="connsiteX12" fmla="*/ 139160 w 197834"/>
                <a:gd name="connsiteY12" fmla="*/ 54769 h 225456"/>
                <a:gd name="connsiteX13" fmla="*/ 141637 w 197834"/>
                <a:gd name="connsiteY13" fmla="*/ 54102 h 225456"/>
                <a:gd name="connsiteX14" fmla="*/ 164402 w 197834"/>
                <a:gd name="connsiteY14" fmla="*/ 73628 h 225456"/>
                <a:gd name="connsiteX15" fmla="*/ 173260 w 197834"/>
                <a:gd name="connsiteY15" fmla="*/ 89916 h 225456"/>
                <a:gd name="connsiteX16" fmla="*/ 173831 w 197834"/>
                <a:gd name="connsiteY16" fmla="*/ 96488 h 225456"/>
                <a:gd name="connsiteX17" fmla="*/ 176879 w 197834"/>
                <a:gd name="connsiteY17" fmla="*/ 102870 h 225456"/>
                <a:gd name="connsiteX18" fmla="*/ 177356 w 197834"/>
                <a:gd name="connsiteY18" fmla="*/ 109919 h 225456"/>
                <a:gd name="connsiteX19" fmla="*/ 175736 w 197834"/>
                <a:gd name="connsiteY19" fmla="*/ 115729 h 225456"/>
                <a:gd name="connsiteX20" fmla="*/ 179070 w 197834"/>
                <a:gd name="connsiteY20" fmla="*/ 120110 h 225456"/>
                <a:gd name="connsiteX21" fmla="*/ 188976 w 197834"/>
                <a:gd name="connsiteY21" fmla="*/ 125825 h 225456"/>
                <a:gd name="connsiteX22" fmla="*/ 197358 w 197834"/>
                <a:gd name="connsiteY22" fmla="*/ 127825 h 225456"/>
                <a:gd name="connsiteX23" fmla="*/ 192024 w 197834"/>
                <a:gd name="connsiteY23" fmla="*/ 140970 h 225456"/>
                <a:gd name="connsiteX24" fmla="*/ 194310 w 197834"/>
                <a:gd name="connsiteY24" fmla="*/ 146209 h 225456"/>
                <a:gd name="connsiteX25" fmla="*/ 197834 w 197834"/>
                <a:gd name="connsiteY25" fmla="*/ 156686 h 225456"/>
                <a:gd name="connsiteX26" fmla="*/ 196310 w 197834"/>
                <a:gd name="connsiteY26" fmla="*/ 162306 h 225456"/>
                <a:gd name="connsiteX27" fmla="*/ 193738 w 197834"/>
                <a:gd name="connsiteY27" fmla="*/ 169069 h 225456"/>
                <a:gd name="connsiteX28" fmla="*/ 189548 w 197834"/>
                <a:gd name="connsiteY28" fmla="*/ 173831 h 225456"/>
                <a:gd name="connsiteX29" fmla="*/ 179356 w 197834"/>
                <a:gd name="connsiteY29" fmla="*/ 180308 h 225456"/>
                <a:gd name="connsiteX30" fmla="*/ 179737 w 197834"/>
                <a:gd name="connsiteY30" fmla="*/ 182785 h 225456"/>
                <a:gd name="connsiteX31" fmla="*/ 184785 w 197834"/>
                <a:gd name="connsiteY31" fmla="*/ 192024 h 225456"/>
                <a:gd name="connsiteX32" fmla="*/ 186595 w 197834"/>
                <a:gd name="connsiteY32" fmla="*/ 198025 h 225456"/>
                <a:gd name="connsiteX33" fmla="*/ 186023 w 197834"/>
                <a:gd name="connsiteY33" fmla="*/ 201740 h 225456"/>
                <a:gd name="connsiteX34" fmla="*/ 186690 w 197834"/>
                <a:gd name="connsiteY34" fmla="*/ 208883 h 225456"/>
                <a:gd name="connsiteX35" fmla="*/ 170116 w 197834"/>
                <a:gd name="connsiteY35" fmla="*/ 216408 h 225456"/>
                <a:gd name="connsiteX36" fmla="*/ 154305 w 197834"/>
                <a:gd name="connsiteY36" fmla="*/ 225457 h 225456"/>
                <a:gd name="connsiteX37" fmla="*/ 134398 w 197834"/>
                <a:gd name="connsiteY37" fmla="*/ 217932 h 225456"/>
                <a:gd name="connsiteX38" fmla="*/ 104489 w 197834"/>
                <a:gd name="connsiteY38" fmla="*/ 225457 h 225456"/>
                <a:gd name="connsiteX39" fmla="*/ 99536 w 197834"/>
                <a:gd name="connsiteY39" fmla="*/ 217932 h 225456"/>
                <a:gd name="connsiteX40" fmla="*/ 117824 w 197834"/>
                <a:gd name="connsiteY40" fmla="*/ 198311 h 225456"/>
                <a:gd name="connsiteX41" fmla="*/ 117824 w 197834"/>
                <a:gd name="connsiteY41" fmla="*/ 180213 h 225456"/>
                <a:gd name="connsiteX42" fmla="*/ 113633 w 197834"/>
                <a:gd name="connsiteY42" fmla="*/ 159068 h 225456"/>
                <a:gd name="connsiteX43" fmla="*/ 99536 w 197834"/>
                <a:gd name="connsiteY43" fmla="*/ 148495 h 225456"/>
                <a:gd name="connsiteX44" fmla="*/ 78772 w 197834"/>
                <a:gd name="connsiteY44" fmla="*/ 153067 h 225456"/>
                <a:gd name="connsiteX45" fmla="*/ 68008 w 197834"/>
                <a:gd name="connsiteY45" fmla="*/ 153067 h 225456"/>
                <a:gd name="connsiteX46" fmla="*/ 53054 w 197834"/>
                <a:gd name="connsiteY46" fmla="*/ 157639 h 225456"/>
                <a:gd name="connsiteX47" fmla="*/ 44767 w 197834"/>
                <a:gd name="connsiteY47" fmla="*/ 138017 h 225456"/>
                <a:gd name="connsiteX48" fmla="*/ 34004 w 197834"/>
                <a:gd name="connsiteY48" fmla="*/ 139541 h 225456"/>
                <a:gd name="connsiteX49" fmla="*/ 32385 w 197834"/>
                <a:gd name="connsiteY49" fmla="*/ 124396 h 225456"/>
                <a:gd name="connsiteX50" fmla="*/ 8287 w 197834"/>
                <a:gd name="connsiteY50" fmla="*/ 106204 h 225456"/>
                <a:gd name="connsiteX51" fmla="*/ 0 w 197834"/>
                <a:gd name="connsiteY51" fmla="*/ 91059 h 225456"/>
                <a:gd name="connsiteX52" fmla="*/ 3334 w 197834"/>
                <a:gd name="connsiteY52" fmla="*/ 77438 h 225456"/>
                <a:gd name="connsiteX53" fmla="*/ 1714 w 197834"/>
                <a:gd name="connsiteY53" fmla="*/ 42577 h 225456"/>
                <a:gd name="connsiteX54" fmla="*/ 11716 w 197834"/>
                <a:gd name="connsiteY54" fmla="*/ 33528 h 225456"/>
                <a:gd name="connsiteX55" fmla="*/ 36576 w 197834"/>
                <a:gd name="connsiteY55" fmla="*/ 25908 h 225456"/>
                <a:gd name="connsiteX56" fmla="*/ 48196 w 197834"/>
                <a:gd name="connsiteY56" fmla="*/ 19812 h 225456"/>
                <a:gd name="connsiteX57" fmla="*/ 46958 w 197834"/>
                <a:gd name="connsiteY57" fmla="*/ 95 h 225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97834" h="225456">
                  <a:moveTo>
                    <a:pt x="46672" y="0"/>
                  </a:moveTo>
                  <a:lnTo>
                    <a:pt x="68770" y="2096"/>
                  </a:lnTo>
                  <a:lnTo>
                    <a:pt x="77629" y="16859"/>
                  </a:lnTo>
                  <a:lnTo>
                    <a:pt x="81629" y="18193"/>
                  </a:lnTo>
                  <a:lnTo>
                    <a:pt x="97441" y="18193"/>
                  </a:lnTo>
                  <a:cubicBezTo>
                    <a:pt x="97441" y="18193"/>
                    <a:pt x="107728" y="16002"/>
                    <a:pt x="107728" y="16002"/>
                  </a:cubicBezTo>
                  <a:lnTo>
                    <a:pt x="113824" y="24670"/>
                  </a:lnTo>
                  <a:lnTo>
                    <a:pt x="114491" y="31909"/>
                  </a:lnTo>
                  <a:lnTo>
                    <a:pt x="119253" y="40005"/>
                  </a:lnTo>
                  <a:lnTo>
                    <a:pt x="122015" y="48196"/>
                  </a:lnTo>
                  <a:lnTo>
                    <a:pt x="127730" y="54388"/>
                  </a:lnTo>
                  <a:lnTo>
                    <a:pt x="130588" y="55150"/>
                  </a:lnTo>
                  <a:lnTo>
                    <a:pt x="139160" y="54769"/>
                  </a:lnTo>
                  <a:lnTo>
                    <a:pt x="141637" y="54102"/>
                  </a:lnTo>
                  <a:lnTo>
                    <a:pt x="164402" y="73628"/>
                  </a:lnTo>
                  <a:lnTo>
                    <a:pt x="173260" y="89916"/>
                  </a:lnTo>
                  <a:lnTo>
                    <a:pt x="173831" y="96488"/>
                  </a:lnTo>
                  <a:lnTo>
                    <a:pt x="176879" y="102870"/>
                  </a:lnTo>
                  <a:lnTo>
                    <a:pt x="177356" y="109919"/>
                  </a:lnTo>
                  <a:lnTo>
                    <a:pt x="175736" y="115729"/>
                  </a:lnTo>
                  <a:lnTo>
                    <a:pt x="179070" y="120110"/>
                  </a:lnTo>
                  <a:lnTo>
                    <a:pt x="188976" y="125825"/>
                  </a:lnTo>
                  <a:lnTo>
                    <a:pt x="197358" y="127825"/>
                  </a:lnTo>
                  <a:lnTo>
                    <a:pt x="192024" y="140970"/>
                  </a:lnTo>
                  <a:lnTo>
                    <a:pt x="194310" y="146209"/>
                  </a:lnTo>
                  <a:lnTo>
                    <a:pt x="197834" y="156686"/>
                  </a:lnTo>
                  <a:lnTo>
                    <a:pt x="196310" y="162306"/>
                  </a:lnTo>
                  <a:lnTo>
                    <a:pt x="193738" y="169069"/>
                  </a:lnTo>
                  <a:lnTo>
                    <a:pt x="189548" y="173831"/>
                  </a:lnTo>
                  <a:lnTo>
                    <a:pt x="179356" y="180308"/>
                  </a:lnTo>
                  <a:lnTo>
                    <a:pt x="179737" y="182785"/>
                  </a:lnTo>
                  <a:lnTo>
                    <a:pt x="184785" y="192024"/>
                  </a:lnTo>
                  <a:lnTo>
                    <a:pt x="186595" y="198025"/>
                  </a:lnTo>
                  <a:lnTo>
                    <a:pt x="186023" y="201740"/>
                  </a:lnTo>
                  <a:lnTo>
                    <a:pt x="186690" y="208883"/>
                  </a:lnTo>
                  <a:lnTo>
                    <a:pt x="170116" y="216408"/>
                  </a:lnTo>
                  <a:lnTo>
                    <a:pt x="154305" y="225457"/>
                  </a:lnTo>
                  <a:lnTo>
                    <a:pt x="134398" y="217932"/>
                  </a:lnTo>
                  <a:lnTo>
                    <a:pt x="104489" y="225457"/>
                  </a:lnTo>
                  <a:lnTo>
                    <a:pt x="99536" y="217932"/>
                  </a:lnTo>
                  <a:lnTo>
                    <a:pt x="117824" y="198311"/>
                  </a:lnTo>
                  <a:lnTo>
                    <a:pt x="117824" y="180213"/>
                  </a:lnTo>
                  <a:lnTo>
                    <a:pt x="113633" y="159068"/>
                  </a:lnTo>
                  <a:lnTo>
                    <a:pt x="99536" y="148495"/>
                  </a:lnTo>
                  <a:lnTo>
                    <a:pt x="78772" y="153067"/>
                  </a:lnTo>
                  <a:lnTo>
                    <a:pt x="68008" y="153067"/>
                  </a:lnTo>
                  <a:lnTo>
                    <a:pt x="53054" y="157639"/>
                  </a:lnTo>
                  <a:lnTo>
                    <a:pt x="44767" y="138017"/>
                  </a:lnTo>
                  <a:lnTo>
                    <a:pt x="34004" y="139541"/>
                  </a:lnTo>
                  <a:lnTo>
                    <a:pt x="32385" y="124396"/>
                  </a:lnTo>
                  <a:lnTo>
                    <a:pt x="8287" y="106204"/>
                  </a:lnTo>
                  <a:lnTo>
                    <a:pt x="0" y="91059"/>
                  </a:lnTo>
                  <a:lnTo>
                    <a:pt x="3334" y="77438"/>
                  </a:lnTo>
                  <a:lnTo>
                    <a:pt x="1714" y="42577"/>
                  </a:lnTo>
                  <a:lnTo>
                    <a:pt x="11716" y="33528"/>
                  </a:lnTo>
                  <a:lnTo>
                    <a:pt x="36576" y="25908"/>
                  </a:lnTo>
                  <a:lnTo>
                    <a:pt x="48196" y="19812"/>
                  </a:lnTo>
                  <a:lnTo>
                    <a:pt x="46958" y="95"/>
                  </a:lnTo>
                </a:path>
              </a:pathLst>
            </a:custGeom>
            <a:grpFill/>
            <a:ln w="2381" cap="sq">
              <a:noFill/>
              <a:prstDash val="solid"/>
              <a:bevel/>
            </a:ln>
          </p:spPr>
          <p:txBody>
            <a:bodyPr rtlCol="0" anchor="ctr"/>
            <a:lstStyle/>
            <a:p>
              <a:endParaRPr lang="cs-CZ"/>
            </a:p>
          </p:txBody>
        </p:sp>
        <p:sp>
          <p:nvSpPr>
            <p:cNvPr id="272" name="Freeform: Shape 271">
              <a:extLst>
                <a:ext uri="{FF2B5EF4-FFF2-40B4-BE49-F238E27FC236}">
                  <a16:creationId xmlns:a16="http://schemas.microsoft.com/office/drawing/2014/main" id="{4D5F3191-F7FD-3FB5-155B-A190885C2100}"/>
                </a:ext>
              </a:extLst>
            </p:cNvPr>
            <p:cNvSpPr/>
            <p:nvPr/>
          </p:nvSpPr>
          <p:spPr>
            <a:xfrm>
              <a:off x="11757848" y="7856344"/>
              <a:ext cx="417766" cy="349758"/>
            </a:xfrm>
            <a:custGeom>
              <a:avLst/>
              <a:gdLst>
                <a:gd name="connsiteX0" fmla="*/ 34957 w 417766"/>
                <a:gd name="connsiteY0" fmla="*/ 239935 h 349758"/>
                <a:gd name="connsiteX1" fmla="*/ 30956 w 417766"/>
                <a:gd name="connsiteY1" fmla="*/ 238601 h 349758"/>
                <a:gd name="connsiteX2" fmla="*/ 22098 w 417766"/>
                <a:gd name="connsiteY2" fmla="*/ 223838 h 349758"/>
                <a:gd name="connsiteX3" fmla="*/ 0 w 417766"/>
                <a:gd name="connsiteY3" fmla="*/ 221742 h 349758"/>
                <a:gd name="connsiteX4" fmla="*/ 12287 w 417766"/>
                <a:gd name="connsiteY4" fmla="*/ 213646 h 349758"/>
                <a:gd name="connsiteX5" fmla="*/ 14478 w 417766"/>
                <a:gd name="connsiteY5" fmla="*/ 207454 h 349758"/>
                <a:gd name="connsiteX6" fmla="*/ 22098 w 417766"/>
                <a:gd name="connsiteY6" fmla="*/ 195929 h 349758"/>
                <a:gd name="connsiteX7" fmla="*/ 31909 w 417766"/>
                <a:gd name="connsiteY7" fmla="*/ 191071 h 349758"/>
                <a:gd name="connsiteX8" fmla="*/ 49720 w 417766"/>
                <a:gd name="connsiteY8" fmla="*/ 191071 h 349758"/>
                <a:gd name="connsiteX9" fmla="*/ 57721 w 417766"/>
                <a:gd name="connsiteY9" fmla="*/ 176403 h 349758"/>
                <a:gd name="connsiteX10" fmla="*/ 79058 w 417766"/>
                <a:gd name="connsiteY10" fmla="*/ 174784 h 349758"/>
                <a:gd name="connsiteX11" fmla="*/ 88868 w 417766"/>
                <a:gd name="connsiteY11" fmla="*/ 163354 h 349758"/>
                <a:gd name="connsiteX12" fmla="*/ 104870 w 417766"/>
                <a:gd name="connsiteY12" fmla="*/ 158496 h 349758"/>
                <a:gd name="connsiteX13" fmla="*/ 99536 w 417766"/>
                <a:gd name="connsiteY13" fmla="*/ 129064 h 349758"/>
                <a:gd name="connsiteX14" fmla="*/ 85249 w 417766"/>
                <a:gd name="connsiteY14" fmla="*/ 120872 h 349758"/>
                <a:gd name="connsiteX15" fmla="*/ 76391 w 417766"/>
                <a:gd name="connsiteY15" fmla="*/ 102870 h 349758"/>
                <a:gd name="connsiteX16" fmla="*/ 79058 w 417766"/>
                <a:gd name="connsiteY16" fmla="*/ 93059 h 349758"/>
                <a:gd name="connsiteX17" fmla="*/ 65723 w 417766"/>
                <a:gd name="connsiteY17" fmla="*/ 83248 h 349758"/>
                <a:gd name="connsiteX18" fmla="*/ 53435 w 417766"/>
                <a:gd name="connsiteY18" fmla="*/ 66008 h 349758"/>
                <a:gd name="connsiteX19" fmla="*/ 60960 w 417766"/>
                <a:gd name="connsiteY19" fmla="*/ 64865 h 349758"/>
                <a:gd name="connsiteX20" fmla="*/ 73914 w 417766"/>
                <a:gd name="connsiteY20" fmla="*/ 52864 h 349758"/>
                <a:gd name="connsiteX21" fmla="*/ 79820 w 417766"/>
                <a:gd name="connsiteY21" fmla="*/ 45625 h 349758"/>
                <a:gd name="connsiteX22" fmla="*/ 84677 w 417766"/>
                <a:gd name="connsiteY22" fmla="*/ 44196 h 349758"/>
                <a:gd name="connsiteX23" fmla="*/ 88678 w 417766"/>
                <a:gd name="connsiteY23" fmla="*/ 44196 h 349758"/>
                <a:gd name="connsiteX24" fmla="*/ 99727 w 417766"/>
                <a:gd name="connsiteY24" fmla="*/ 45625 h 349758"/>
                <a:gd name="connsiteX25" fmla="*/ 107252 w 417766"/>
                <a:gd name="connsiteY25" fmla="*/ 43720 h 349758"/>
                <a:gd name="connsiteX26" fmla="*/ 128778 w 417766"/>
                <a:gd name="connsiteY26" fmla="*/ 50768 h 349758"/>
                <a:gd name="connsiteX27" fmla="*/ 137446 w 417766"/>
                <a:gd name="connsiteY27" fmla="*/ 52864 h 349758"/>
                <a:gd name="connsiteX28" fmla="*/ 137732 w 417766"/>
                <a:gd name="connsiteY28" fmla="*/ 55912 h 349758"/>
                <a:gd name="connsiteX29" fmla="*/ 137732 w 417766"/>
                <a:gd name="connsiteY29" fmla="*/ 59150 h 349758"/>
                <a:gd name="connsiteX30" fmla="*/ 135160 w 417766"/>
                <a:gd name="connsiteY30" fmla="*/ 66389 h 349758"/>
                <a:gd name="connsiteX31" fmla="*/ 150305 w 417766"/>
                <a:gd name="connsiteY31" fmla="*/ 66389 h 349758"/>
                <a:gd name="connsiteX32" fmla="*/ 157353 w 417766"/>
                <a:gd name="connsiteY32" fmla="*/ 60769 h 349758"/>
                <a:gd name="connsiteX33" fmla="*/ 161258 w 417766"/>
                <a:gd name="connsiteY33" fmla="*/ 56864 h 349758"/>
                <a:gd name="connsiteX34" fmla="*/ 165259 w 417766"/>
                <a:gd name="connsiteY34" fmla="*/ 56198 h 349758"/>
                <a:gd name="connsiteX35" fmla="*/ 195072 w 417766"/>
                <a:gd name="connsiteY35" fmla="*/ 57721 h 349758"/>
                <a:gd name="connsiteX36" fmla="*/ 201073 w 417766"/>
                <a:gd name="connsiteY36" fmla="*/ 56864 h 349758"/>
                <a:gd name="connsiteX37" fmla="*/ 218408 w 417766"/>
                <a:gd name="connsiteY37" fmla="*/ 50483 h 349758"/>
                <a:gd name="connsiteX38" fmla="*/ 225742 w 417766"/>
                <a:gd name="connsiteY38" fmla="*/ 45910 h 349758"/>
                <a:gd name="connsiteX39" fmla="*/ 249079 w 417766"/>
                <a:gd name="connsiteY39" fmla="*/ 54292 h 349758"/>
                <a:gd name="connsiteX40" fmla="*/ 256794 w 417766"/>
                <a:gd name="connsiteY40" fmla="*/ 54578 h 349758"/>
                <a:gd name="connsiteX41" fmla="*/ 286988 w 417766"/>
                <a:gd name="connsiteY41" fmla="*/ 43910 h 349758"/>
                <a:gd name="connsiteX42" fmla="*/ 294704 w 417766"/>
                <a:gd name="connsiteY42" fmla="*/ 38195 h 349758"/>
                <a:gd name="connsiteX43" fmla="*/ 295466 w 417766"/>
                <a:gd name="connsiteY43" fmla="*/ 35719 h 349758"/>
                <a:gd name="connsiteX44" fmla="*/ 295847 w 417766"/>
                <a:gd name="connsiteY44" fmla="*/ 32861 h 349758"/>
                <a:gd name="connsiteX45" fmla="*/ 295847 w 417766"/>
                <a:gd name="connsiteY45" fmla="*/ 20669 h 349758"/>
                <a:gd name="connsiteX46" fmla="*/ 295942 w 417766"/>
                <a:gd name="connsiteY46" fmla="*/ 17621 h 349758"/>
                <a:gd name="connsiteX47" fmla="*/ 296228 w 417766"/>
                <a:gd name="connsiteY47" fmla="*/ 14669 h 349758"/>
                <a:gd name="connsiteX48" fmla="*/ 297466 w 417766"/>
                <a:gd name="connsiteY48" fmla="*/ 8477 h 349758"/>
                <a:gd name="connsiteX49" fmla="*/ 300133 w 417766"/>
                <a:gd name="connsiteY49" fmla="*/ 0 h 349758"/>
                <a:gd name="connsiteX50" fmla="*/ 311182 w 417766"/>
                <a:gd name="connsiteY50" fmla="*/ 5239 h 349758"/>
                <a:gd name="connsiteX51" fmla="*/ 313944 w 417766"/>
                <a:gd name="connsiteY51" fmla="*/ 8001 h 349758"/>
                <a:gd name="connsiteX52" fmla="*/ 317087 w 417766"/>
                <a:gd name="connsiteY52" fmla="*/ 16192 h 349758"/>
                <a:gd name="connsiteX53" fmla="*/ 322136 w 417766"/>
                <a:gd name="connsiteY53" fmla="*/ 23622 h 349758"/>
                <a:gd name="connsiteX54" fmla="*/ 335852 w 417766"/>
                <a:gd name="connsiteY54" fmla="*/ 35242 h 349758"/>
                <a:gd name="connsiteX55" fmla="*/ 347377 w 417766"/>
                <a:gd name="connsiteY55" fmla="*/ 41243 h 349758"/>
                <a:gd name="connsiteX56" fmla="*/ 355664 w 417766"/>
                <a:gd name="connsiteY56" fmla="*/ 48673 h 349758"/>
                <a:gd name="connsiteX57" fmla="*/ 357759 w 417766"/>
                <a:gd name="connsiteY57" fmla="*/ 54007 h 349758"/>
                <a:gd name="connsiteX58" fmla="*/ 361188 w 417766"/>
                <a:gd name="connsiteY58" fmla="*/ 71152 h 349758"/>
                <a:gd name="connsiteX59" fmla="*/ 359759 w 417766"/>
                <a:gd name="connsiteY59" fmla="*/ 87058 h 349758"/>
                <a:gd name="connsiteX60" fmla="*/ 359759 w 417766"/>
                <a:gd name="connsiteY60" fmla="*/ 90678 h 349758"/>
                <a:gd name="connsiteX61" fmla="*/ 361093 w 417766"/>
                <a:gd name="connsiteY61" fmla="*/ 97155 h 349758"/>
                <a:gd name="connsiteX62" fmla="*/ 364998 w 417766"/>
                <a:gd name="connsiteY62" fmla="*/ 101917 h 349758"/>
                <a:gd name="connsiteX63" fmla="*/ 368808 w 417766"/>
                <a:gd name="connsiteY63" fmla="*/ 113443 h 349758"/>
                <a:gd name="connsiteX64" fmla="*/ 380619 w 417766"/>
                <a:gd name="connsiteY64" fmla="*/ 116967 h 349758"/>
                <a:gd name="connsiteX65" fmla="*/ 406813 w 417766"/>
                <a:gd name="connsiteY65" fmla="*/ 114776 h 349758"/>
                <a:gd name="connsiteX66" fmla="*/ 417767 w 417766"/>
                <a:gd name="connsiteY66" fmla="*/ 117634 h 349758"/>
                <a:gd name="connsiteX67" fmla="*/ 403860 w 417766"/>
                <a:gd name="connsiteY67" fmla="*/ 140017 h 349758"/>
                <a:gd name="connsiteX68" fmla="*/ 397478 w 417766"/>
                <a:gd name="connsiteY68" fmla="*/ 170117 h 349758"/>
                <a:gd name="connsiteX69" fmla="*/ 393383 w 417766"/>
                <a:gd name="connsiteY69" fmla="*/ 171450 h 349758"/>
                <a:gd name="connsiteX70" fmla="*/ 397097 w 417766"/>
                <a:gd name="connsiteY70" fmla="*/ 186785 h 349758"/>
                <a:gd name="connsiteX71" fmla="*/ 392621 w 417766"/>
                <a:gd name="connsiteY71" fmla="*/ 196406 h 349758"/>
                <a:gd name="connsiteX72" fmla="*/ 388334 w 417766"/>
                <a:gd name="connsiteY72" fmla="*/ 200025 h 349758"/>
                <a:gd name="connsiteX73" fmla="*/ 382619 w 417766"/>
                <a:gd name="connsiteY73" fmla="*/ 206597 h 349758"/>
                <a:gd name="connsiteX74" fmla="*/ 372713 w 417766"/>
                <a:gd name="connsiteY74" fmla="*/ 209074 h 349758"/>
                <a:gd name="connsiteX75" fmla="*/ 355759 w 417766"/>
                <a:gd name="connsiteY75" fmla="*/ 201549 h 349758"/>
                <a:gd name="connsiteX76" fmla="*/ 351663 w 417766"/>
                <a:gd name="connsiteY76" fmla="*/ 196120 h 349758"/>
                <a:gd name="connsiteX77" fmla="*/ 351663 w 417766"/>
                <a:gd name="connsiteY77" fmla="*/ 193262 h 349758"/>
                <a:gd name="connsiteX78" fmla="*/ 350711 w 417766"/>
                <a:gd name="connsiteY78" fmla="*/ 189738 h 349758"/>
                <a:gd name="connsiteX79" fmla="*/ 347853 w 417766"/>
                <a:gd name="connsiteY79" fmla="*/ 186976 h 349758"/>
                <a:gd name="connsiteX80" fmla="*/ 338519 w 417766"/>
                <a:gd name="connsiteY80" fmla="*/ 184880 h 349758"/>
                <a:gd name="connsiteX81" fmla="*/ 332994 w 417766"/>
                <a:gd name="connsiteY81" fmla="*/ 191738 h 349758"/>
                <a:gd name="connsiteX82" fmla="*/ 332042 w 417766"/>
                <a:gd name="connsiteY82" fmla="*/ 194786 h 349758"/>
                <a:gd name="connsiteX83" fmla="*/ 324041 w 417766"/>
                <a:gd name="connsiteY83" fmla="*/ 199930 h 349758"/>
                <a:gd name="connsiteX84" fmla="*/ 322707 w 417766"/>
                <a:gd name="connsiteY84" fmla="*/ 203168 h 349758"/>
                <a:gd name="connsiteX85" fmla="*/ 324898 w 417766"/>
                <a:gd name="connsiteY85" fmla="*/ 207359 h 349758"/>
                <a:gd name="connsiteX86" fmla="*/ 331946 w 417766"/>
                <a:gd name="connsiteY86" fmla="*/ 210884 h 349758"/>
                <a:gd name="connsiteX87" fmla="*/ 334899 w 417766"/>
                <a:gd name="connsiteY87" fmla="*/ 210884 h 349758"/>
                <a:gd name="connsiteX88" fmla="*/ 338138 w 417766"/>
                <a:gd name="connsiteY88" fmla="*/ 209836 h 349758"/>
                <a:gd name="connsiteX89" fmla="*/ 340709 w 417766"/>
                <a:gd name="connsiteY89" fmla="*/ 210407 h 349758"/>
                <a:gd name="connsiteX90" fmla="*/ 344519 w 417766"/>
                <a:gd name="connsiteY90" fmla="*/ 212788 h 349758"/>
                <a:gd name="connsiteX91" fmla="*/ 348044 w 417766"/>
                <a:gd name="connsiteY91" fmla="*/ 216789 h 349758"/>
                <a:gd name="connsiteX92" fmla="*/ 352901 w 417766"/>
                <a:gd name="connsiteY92" fmla="*/ 224314 h 349758"/>
                <a:gd name="connsiteX93" fmla="*/ 352616 w 417766"/>
                <a:gd name="connsiteY93" fmla="*/ 236220 h 349758"/>
                <a:gd name="connsiteX94" fmla="*/ 342995 w 417766"/>
                <a:gd name="connsiteY94" fmla="*/ 238982 h 349758"/>
                <a:gd name="connsiteX95" fmla="*/ 338804 w 417766"/>
                <a:gd name="connsiteY95" fmla="*/ 242602 h 349758"/>
                <a:gd name="connsiteX96" fmla="*/ 324803 w 417766"/>
                <a:gd name="connsiteY96" fmla="*/ 248984 h 349758"/>
                <a:gd name="connsiteX97" fmla="*/ 317564 w 417766"/>
                <a:gd name="connsiteY97" fmla="*/ 253651 h 349758"/>
                <a:gd name="connsiteX98" fmla="*/ 309467 w 417766"/>
                <a:gd name="connsiteY98" fmla="*/ 263652 h 349758"/>
                <a:gd name="connsiteX99" fmla="*/ 299561 w 417766"/>
                <a:gd name="connsiteY99" fmla="*/ 273463 h 349758"/>
                <a:gd name="connsiteX100" fmla="*/ 283083 w 417766"/>
                <a:gd name="connsiteY100" fmla="*/ 273463 h 349758"/>
                <a:gd name="connsiteX101" fmla="*/ 263747 w 417766"/>
                <a:gd name="connsiteY101" fmla="*/ 264605 h 349758"/>
                <a:gd name="connsiteX102" fmla="*/ 255746 w 417766"/>
                <a:gd name="connsiteY102" fmla="*/ 253270 h 349758"/>
                <a:gd name="connsiteX103" fmla="*/ 231743 w 417766"/>
                <a:gd name="connsiteY103" fmla="*/ 253270 h 349758"/>
                <a:gd name="connsiteX104" fmla="*/ 213074 w 417766"/>
                <a:gd name="connsiteY104" fmla="*/ 254889 h 349758"/>
                <a:gd name="connsiteX105" fmla="*/ 194405 w 417766"/>
                <a:gd name="connsiteY105" fmla="*/ 271177 h 349758"/>
                <a:gd name="connsiteX106" fmla="*/ 204216 w 417766"/>
                <a:gd name="connsiteY106" fmla="*/ 318325 h 349758"/>
                <a:gd name="connsiteX107" fmla="*/ 192691 w 417766"/>
                <a:gd name="connsiteY107" fmla="*/ 328041 h 349758"/>
                <a:gd name="connsiteX108" fmla="*/ 175736 w 417766"/>
                <a:gd name="connsiteY108" fmla="*/ 326422 h 349758"/>
                <a:gd name="connsiteX109" fmla="*/ 157925 w 417766"/>
                <a:gd name="connsiteY109" fmla="*/ 337757 h 349758"/>
                <a:gd name="connsiteX110" fmla="*/ 150971 w 417766"/>
                <a:gd name="connsiteY110" fmla="*/ 349758 h 349758"/>
                <a:gd name="connsiteX111" fmla="*/ 142589 w 417766"/>
                <a:gd name="connsiteY111" fmla="*/ 347758 h 349758"/>
                <a:gd name="connsiteX112" fmla="*/ 132683 w 417766"/>
                <a:gd name="connsiteY112" fmla="*/ 342043 h 349758"/>
                <a:gd name="connsiteX113" fmla="*/ 129350 w 417766"/>
                <a:gd name="connsiteY113" fmla="*/ 337661 h 349758"/>
                <a:gd name="connsiteX114" fmla="*/ 130969 w 417766"/>
                <a:gd name="connsiteY114" fmla="*/ 331851 h 349758"/>
                <a:gd name="connsiteX115" fmla="*/ 130492 w 417766"/>
                <a:gd name="connsiteY115" fmla="*/ 324803 h 349758"/>
                <a:gd name="connsiteX116" fmla="*/ 127444 w 417766"/>
                <a:gd name="connsiteY116" fmla="*/ 318421 h 349758"/>
                <a:gd name="connsiteX117" fmla="*/ 126873 w 417766"/>
                <a:gd name="connsiteY117" fmla="*/ 311848 h 349758"/>
                <a:gd name="connsiteX118" fmla="*/ 118015 w 417766"/>
                <a:gd name="connsiteY118" fmla="*/ 295561 h 349758"/>
                <a:gd name="connsiteX119" fmla="*/ 95250 w 417766"/>
                <a:gd name="connsiteY119" fmla="*/ 276035 h 349758"/>
                <a:gd name="connsiteX120" fmla="*/ 92774 w 417766"/>
                <a:gd name="connsiteY120" fmla="*/ 276701 h 349758"/>
                <a:gd name="connsiteX121" fmla="*/ 84201 w 417766"/>
                <a:gd name="connsiteY121" fmla="*/ 277082 h 349758"/>
                <a:gd name="connsiteX122" fmla="*/ 81344 w 417766"/>
                <a:gd name="connsiteY122" fmla="*/ 276320 h 349758"/>
                <a:gd name="connsiteX123" fmla="*/ 75629 w 417766"/>
                <a:gd name="connsiteY123" fmla="*/ 270129 h 349758"/>
                <a:gd name="connsiteX124" fmla="*/ 72866 w 417766"/>
                <a:gd name="connsiteY124" fmla="*/ 261938 h 349758"/>
                <a:gd name="connsiteX125" fmla="*/ 68104 w 417766"/>
                <a:gd name="connsiteY125" fmla="*/ 253841 h 349758"/>
                <a:gd name="connsiteX126" fmla="*/ 67437 w 417766"/>
                <a:gd name="connsiteY126" fmla="*/ 246602 h 349758"/>
                <a:gd name="connsiteX127" fmla="*/ 61341 w 417766"/>
                <a:gd name="connsiteY127" fmla="*/ 237935 h 349758"/>
                <a:gd name="connsiteX128" fmla="*/ 51054 w 417766"/>
                <a:gd name="connsiteY128" fmla="*/ 240030 h 349758"/>
                <a:gd name="connsiteX129" fmla="*/ 35243 w 417766"/>
                <a:gd name="connsiteY129" fmla="*/ 240030 h 349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417766" h="349758">
                  <a:moveTo>
                    <a:pt x="34957" y="239935"/>
                  </a:moveTo>
                  <a:lnTo>
                    <a:pt x="30956" y="238601"/>
                  </a:lnTo>
                  <a:lnTo>
                    <a:pt x="22098" y="223838"/>
                  </a:lnTo>
                  <a:lnTo>
                    <a:pt x="0" y="221742"/>
                  </a:lnTo>
                  <a:lnTo>
                    <a:pt x="12287" y="213646"/>
                  </a:lnTo>
                  <a:lnTo>
                    <a:pt x="14478" y="207454"/>
                  </a:lnTo>
                  <a:lnTo>
                    <a:pt x="22098" y="195929"/>
                  </a:lnTo>
                  <a:lnTo>
                    <a:pt x="31909" y="191071"/>
                  </a:lnTo>
                  <a:lnTo>
                    <a:pt x="49720" y="191071"/>
                  </a:lnTo>
                  <a:lnTo>
                    <a:pt x="57721" y="176403"/>
                  </a:lnTo>
                  <a:lnTo>
                    <a:pt x="79058" y="174784"/>
                  </a:lnTo>
                  <a:lnTo>
                    <a:pt x="88868" y="163354"/>
                  </a:lnTo>
                  <a:lnTo>
                    <a:pt x="104870" y="158496"/>
                  </a:lnTo>
                  <a:lnTo>
                    <a:pt x="99536" y="129064"/>
                  </a:lnTo>
                  <a:lnTo>
                    <a:pt x="85249" y="120872"/>
                  </a:lnTo>
                  <a:lnTo>
                    <a:pt x="76391" y="102870"/>
                  </a:lnTo>
                  <a:lnTo>
                    <a:pt x="79058" y="93059"/>
                  </a:lnTo>
                  <a:lnTo>
                    <a:pt x="65723" y="83248"/>
                  </a:lnTo>
                  <a:lnTo>
                    <a:pt x="53435" y="66008"/>
                  </a:lnTo>
                  <a:lnTo>
                    <a:pt x="60960" y="64865"/>
                  </a:lnTo>
                  <a:lnTo>
                    <a:pt x="73914" y="52864"/>
                  </a:lnTo>
                  <a:lnTo>
                    <a:pt x="79820" y="45625"/>
                  </a:lnTo>
                  <a:lnTo>
                    <a:pt x="84677" y="44196"/>
                  </a:lnTo>
                  <a:lnTo>
                    <a:pt x="88678" y="44196"/>
                  </a:lnTo>
                  <a:cubicBezTo>
                    <a:pt x="88678" y="44196"/>
                    <a:pt x="99727" y="45625"/>
                    <a:pt x="99727" y="45625"/>
                  </a:cubicBezTo>
                  <a:lnTo>
                    <a:pt x="107252" y="43720"/>
                  </a:lnTo>
                  <a:lnTo>
                    <a:pt x="128778" y="50768"/>
                  </a:lnTo>
                  <a:lnTo>
                    <a:pt x="137446" y="52864"/>
                  </a:lnTo>
                  <a:lnTo>
                    <a:pt x="137732" y="55912"/>
                  </a:lnTo>
                  <a:lnTo>
                    <a:pt x="137732" y="59150"/>
                  </a:lnTo>
                  <a:cubicBezTo>
                    <a:pt x="137732" y="59150"/>
                    <a:pt x="135160" y="66389"/>
                    <a:pt x="135160" y="66389"/>
                  </a:cubicBezTo>
                  <a:lnTo>
                    <a:pt x="150305" y="66389"/>
                  </a:lnTo>
                  <a:cubicBezTo>
                    <a:pt x="150305" y="66389"/>
                    <a:pt x="157353" y="60769"/>
                    <a:pt x="157353" y="60769"/>
                  </a:cubicBezTo>
                  <a:lnTo>
                    <a:pt x="161258" y="56864"/>
                  </a:lnTo>
                  <a:lnTo>
                    <a:pt x="165259" y="56198"/>
                  </a:lnTo>
                  <a:lnTo>
                    <a:pt x="195072" y="57721"/>
                  </a:lnTo>
                  <a:lnTo>
                    <a:pt x="201073" y="56864"/>
                  </a:lnTo>
                  <a:lnTo>
                    <a:pt x="218408" y="50483"/>
                  </a:lnTo>
                  <a:lnTo>
                    <a:pt x="225742" y="45910"/>
                  </a:lnTo>
                  <a:lnTo>
                    <a:pt x="249079" y="54292"/>
                  </a:lnTo>
                  <a:lnTo>
                    <a:pt x="256794" y="54578"/>
                  </a:lnTo>
                  <a:lnTo>
                    <a:pt x="286988" y="43910"/>
                  </a:lnTo>
                  <a:lnTo>
                    <a:pt x="294704" y="38195"/>
                  </a:lnTo>
                  <a:lnTo>
                    <a:pt x="295466" y="35719"/>
                  </a:lnTo>
                  <a:lnTo>
                    <a:pt x="295847" y="32861"/>
                  </a:lnTo>
                  <a:lnTo>
                    <a:pt x="295847" y="20669"/>
                  </a:lnTo>
                  <a:cubicBezTo>
                    <a:pt x="295847" y="20669"/>
                    <a:pt x="295942" y="17621"/>
                    <a:pt x="295942" y="17621"/>
                  </a:cubicBezTo>
                  <a:lnTo>
                    <a:pt x="296228" y="14669"/>
                  </a:lnTo>
                  <a:lnTo>
                    <a:pt x="297466" y="8477"/>
                  </a:lnTo>
                  <a:lnTo>
                    <a:pt x="300133" y="0"/>
                  </a:lnTo>
                  <a:lnTo>
                    <a:pt x="311182" y="5239"/>
                  </a:lnTo>
                  <a:lnTo>
                    <a:pt x="313944" y="8001"/>
                  </a:lnTo>
                  <a:lnTo>
                    <a:pt x="317087" y="16192"/>
                  </a:lnTo>
                  <a:lnTo>
                    <a:pt x="322136" y="23622"/>
                  </a:lnTo>
                  <a:lnTo>
                    <a:pt x="335852" y="35242"/>
                  </a:lnTo>
                  <a:lnTo>
                    <a:pt x="347377" y="41243"/>
                  </a:lnTo>
                  <a:lnTo>
                    <a:pt x="355664" y="48673"/>
                  </a:lnTo>
                  <a:lnTo>
                    <a:pt x="357759" y="54007"/>
                  </a:lnTo>
                  <a:lnTo>
                    <a:pt x="361188" y="71152"/>
                  </a:lnTo>
                  <a:lnTo>
                    <a:pt x="359759" y="87058"/>
                  </a:lnTo>
                  <a:lnTo>
                    <a:pt x="359759" y="90678"/>
                  </a:lnTo>
                  <a:cubicBezTo>
                    <a:pt x="359759" y="90678"/>
                    <a:pt x="361093" y="97155"/>
                    <a:pt x="361093" y="97155"/>
                  </a:cubicBezTo>
                  <a:lnTo>
                    <a:pt x="364998" y="101917"/>
                  </a:lnTo>
                  <a:lnTo>
                    <a:pt x="368808" y="113443"/>
                  </a:lnTo>
                  <a:lnTo>
                    <a:pt x="380619" y="116967"/>
                  </a:lnTo>
                  <a:lnTo>
                    <a:pt x="406813" y="114776"/>
                  </a:lnTo>
                  <a:lnTo>
                    <a:pt x="417767" y="117634"/>
                  </a:lnTo>
                  <a:lnTo>
                    <a:pt x="403860" y="140017"/>
                  </a:lnTo>
                  <a:lnTo>
                    <a:pt x="397478" y="170117"/>
                  </a:lnTo>
                  <a:lnTo>
                    <a:pt x="393383" y="171450"/>
                  </a:lnTo>
                  <a:lnTo>
                    <a:pt x="397097" y="186785"/>
                  </a:lnTo>
                  <a:lnTo>
                    <a:pt x="392621" y="196406"/>
                  </a:lnTo>
                  <a:lnTo>
                    <a:pt x="388334" y="200025"/>
                  </a:lnTo>
                  <a:lnTo>
                    <a:pt x="382619" y="206597"/>
                  </a:lnTo>
                  <a:lnTo>
                    <a:pt x="372713" y="209074"/>
                  </a:lnTo>
                  <a:lnTo>
                    <a:pt x="355759" y="201549"/>
                  </a:lnTo>
                  <a:lnTo>
                    <a:pt x="351663" y="196120"/>
                  </a:lnTo>
                  <a:lnTo>
                    <a:pt x="351663" y="193262"/>
                  </a:lnTo>
                  <a:cubicBezTo>
                    <a:pt x="351663" y="193262"/>
                    <a:pt x="350711" y="189738"/>
                    <a:pt x="350711" y="189738"/>
                  </a:cubicBezTo>
                  <a:lnTo>
                    <a:pt x="347853" y="186976"/>
                  </a:lnTo>
                  <a:lnTo>
                    <a:pt x="338519" y="184880"/>
                  </a:lnTo>
                  <a:lnTo>
                    <a:pt x="332994" y="191738"/>
                  </a:lnTo>
                  <a:lnTo>
                    <a:pt x="332042" y="194786"/>
                  </a:lnTo>
                  <a:lnTo>
                    <a:pt x="324041" y="199930"/>
                  </a:lnTo>
                  <a:lnTo>
                    <a:pt x="322707" y="203168"/>
                  </a:lnTo>
                  <a:lnTo>
                    <a:pt x="324898" y="207359"/>
                  </a:lnTo>
                  <a:lnTo>
                    <a:pt x="331946" y="210884"/>
                  </a:lnTo>
                  <a:lnTo>
                    <a:pt x="334899" y="210884"/>
                  </a:lnTo>
                  <a:cubicBezTo>
                    <a:pt x="334899" y="210884"/>
                    <a:pt x="338138" y="209836"/>
                    <a:pt x="338138" y="209836"/>
                  </a:cubicBezTo>
                  <a:lnTo>
                    <a:pt x="340709" y="210407"/>
                  </a:lnTo>
                  <a:lnTo>
                    <a:pt x="344519" y="212788"/>
                  </a:lnTo>
                  <a:lnTo>
                    <a:pt x="348044" y="216789"/>
                  </a:lnTo>
                  <a:lnTo>
                    <a:pt x="352901" y="224314"/>
                  </a:lnTo>
                  <a:lnTo>
                    <a:pt x="352616" y="236220"/>
                  </a:lnTo>
                  <a:lnTo>
                    <a:pt x="342995" y="238982"/>
                  </a:lnTo>
                  <a:lnTo>
                    <a:pt x="338804" y="242602"/>
                  </a:lnTo>
                  <a:lnTo>
                    <a:pt x="324803" y="248984"/>
                  </a:lnTo>
                  <a:lnTo>
                    <a:pt x="317564" y="253651"/>
                  </a:lnTo>
                  <a:lnTo>
                    <a:pt x="309467" y="263652"/>
                  </a:lnTo>
                  <a:lnTo>
                    <a:pt x="299561" y="273463"/>
                  </a:lnTo>
                  <a:lnTo>
                    <a:pt x="283083" y="273463"/>
                  </a:lnTo>
                  <a:cubicBezTo>
                    <a:pt x="283083" y="273463"/>
                    <a:pt x="263747" y="264605"/>
                    <a:pt x="263747" y="264605"/>
                  </a:cubicBezTo>
                  <a:lnTo>
                    <a:pt x="255746" y="253270"/>
                  </a:lnTo>
                  <a:lnTo>
                    <a:pt x="231743" y="253270"/>
                  </a:lnTo>
                  <a:lnTo>
                    <a:pt x="213074" y="254889"/>
                  </a:lnTo>
                  <a:lnTo>
                    <a:pt x="194405" y="271177"/>
                  </a:lnTo>
                  <a:lnTo>
                    <a:pt x="204216" y="318325"/>
                  </a:lnTo>
                  <a:lnTo>
                    <a:pt x="192691" y="328041"/>
                  </a:lnTo>
                  <a:lnTo>
                    <a:pt x="175736" y="326422"/>
                  </a:lnTo>
                  <a:lnTo>
                    <a:pt x="157925" y="337757"/>
                  </a:lnTo>
                  <a:lnTo>
                    <a:pt x="150971" y="349758"/>
                  </a:lnTo>
                  <a:lnTo>
                    <a:pt x="142589" y="347758"/>
                  </a:lnTo>
                  <a:lnTo>
                    <a:pt x="132683" y="342043"/>
                  </a:lnTo>
                  <a:lnTo>
                    <a:pt x="129350" y="337661"/>
                  </a:lnTo>
                  <a:lnTo>
                    <a:pt x="130969" y="331851"/>
                  </a:lnTo>
                  <a:lnTo>
                    <a:pt x="130492" y="324803"/>
                  </a:lnTo>
                  <a:lnTo>
                    <a:pt x="127444" y="318421"/>
                  </a:lnTo>
                  <a:lnTo>
                    <a:pt x="126873" y="311848"/>
                  </a:lnTo>
                  <a:lnTo>
                    <a:pt x="118015" y="295561"/>
                  </a:lnTo>
                  <a:lnTo>
                    <a:pt x="95250" y="276035"/>
                  </a:lnTo>
                  <a:lnTo>
                    <a:pt x="92774" y="276701"/>
                  </a:lnTo>
                  <a:lnTo>
                    <a:pt x="84201" y="277082"/>
                  </a:lnTo>
                  <a:lnTo>
                    <a:pt x="81344" y="276320"/>
                  </a:lnTo>
                  <a:lnTo>
                    <a:pt x="75629" y="270129"/>
                  </a:lnTo>
                  <a:lnTo>
                    <a:pt x="72866" y="261938"/>
                  </a:lnTo>
                  <a:lnTo>
                    <a:pt x="68104" y="253841"/>
                  </a:lnTo>
                  <a:lnTo>
                    <a:pt x="67437" y="246602"/>
                  </a:lnTo>
                  <a:lnTo>
                    <a:pt x="61341" y="237935"/>
                  </a:lnTo>
                  <a:lnTo>
                    <a:pt x="51054" y="240030"/>
                  </a:lnTo>
                  <a:lnTo>
                    <a:pt x="35243" y="240030"/>
                  </a:lnTo>
                </a:path>
              </a:pathLst>
            </a:custGeom>
            <a:grpFill/>
            <a:ln w="2381" cap="sq">
              <a:noFill/>
              <a:prstDash val="solid"/>
              <a:bevel/>
            </a:ln>
          </p:spPr>
          <p:txBody>
            <a:bodyPr rtlCol="0" anchor="ctr"/>
            <a:lstStyle/>
            <a:p>
              <a:endParaRPr lang="cs-CZ"/>
            </a:p>
          </p:txBody>
        </p:sp>
        <p:sp>
          <p:nvSpPr>
            <p:cNvPr id="273" name="Freeform: Shape 272">
              <a:extLst>
                <a:ext uri="{FF2B5EF4-FFF2-40B4-BE49-F238E27FC236}">
                  <a16:creationId xmlns:a16="http://schemas.microsoft.com/office/drawing/2014/main" id="{7E7580D4-7A0B-650B-392F-1B185F0BD08B}"/>
                </a:ext>
              </a:extLst>
            </p:cNvPr>
            <p:cNvSpPr/>
            <p:nvPr/>
          </p:nvSpPr>
          <p:spPr>
            <a:xfrm>
              <a:off x="11740513" y="7922352"/>
              <a:ext cx="122301" cy="129920"/>
            </a:xfrm>
            <a:custGeom>
              <a:avLst/>
              <a:gdLst>
                <a:gd name="connsiteX0" fmla="*/ 39624 w 122301"/>
                <a:gd name="connsiteY0" fmla="*/ 129921 h 129920"/>
                <a:gd name="connsiteX1" fmla="*/ 21717 w 122301"/>
                <a:gd name="connsiteY1" fmla="*/ 124015 h 129920"/>
                <a:gd name="connsiteX2" fmla="*/ 5620 w 122301"/>
                <a:gd name="connsiteY2" fmla="*/ 115919 h 129920"/>
                <a:gd name="connsiteX3" fmla="*/ 2191 w 122301"/>
                <a:gd name="connsiteY3" fmla="*/ 111728 h 129920"/>
                <a:gd name="connsiteX4" fmla="*/ 0 w 122301"/>
                <a:gd name="connsiteY4" fmla="*/ 108109 h 129920"/>
                <a:gd name="connsiteX5" fmla="*/ 1715 w 122301"/>
                <a:gd name="connsiteY5" fmla="*/ 102394 h 129920"/>
                <a:gd name="connsiteX6" fmla="*/ 21527 w 122301"/>
                <a:gd name="connsiteY6" fmla="*/ 97250 h 129920"/>
                <a:gd name="connsiteX7" fmla="*/ 24479 w 122301"/>
                <a:gd name="connsiteY7" fmla="*/ 89630 h 129920"/>
                <a:gd name="connsiteX8" fmla="*/ 31337 w 122301"/>
                <a:gd name="connsiteY8" fmla="*/ 81725 h 129920"/>
                <a:gd name="connsiteX9" fmla="*/ 32480 w 122301"/>
                <a:gd name="connsiteY9" fmla="*/ 70961 h 129920"/>
                <a:gd name="connsiteX10" fmla="*/ 31909 w 122301"/>
                <a:gd name="connsiteY10" fmla="*/ 52006 h 129920"/>
                <a:gd name="connsiteX11" fmla="*/ 36290 w 122301"/>
                <a:gd name="connsiteY11" fmla="*/ 40862 h 129920"/>
                <a:gd name="connsiteX12" fmla="*/ 38005 w 122301"/>
                <a:gd name="connsiteY12" fmla="*/ 24765 h 129920"/>
                <a:gd name="connsiteX13" fmla="*/ 43339 w 122301"/>
                <a:gd name="connsiteY13" fmla="*/ 19621 h 129920"/>
                <a:gd name="connsiteX14" fmla="*/ 44577 w 122301"/>
                <a:gd name="connsiteY14" fmla="*/ 7144 h 129920"/>
                <a:gd name="connsiteX15" fmla="*/ 57341 w 122301"/>
                <a:gd name="connsiteY15" fmla="*/ 10763 h 129920"/>
                <a:gd name="connsiteX16" fmla="*/ 70866 w 122301"/>
                <a:gd name="connsiteY16" fmla="*/ 0 h 129920"/>
                <a:gd name="connsiteX17" fmla="*/ 83153 w 122301"/>
                <a:gd name="connsiteY17" fmla="*/ 17240 h 129920"/>
                <a:gd name="connsiteX18" fmla="*/ 96488 w 122301"/>
                <a:gd name="connsiteY18" fmla="*/ 27051 h 129920"/>
                <a:gd name="connsiteX19" fmla="*/ 93821 w 122301"/>
                <a:gd name="connsiteY19" fmla="*/ 36862 h 129920"/>
                <a:gd name="connsiteX20" fmla="*/ 102680 w 122301"/>
                <a:gd name="connsiteY20" fmla="*/ 54864 h 129920"/>
                <a:gd name="connsiteX21" fmla="*/ 116967 w 122301"/>
                <a:gd name="connsiteY21" fmla="*/ 63056 h 129920"/>
                <a:gd name="connsiteX22" fmla="*/ 122301 w 122301"/>
                <a:gd name="connsiteY22" fmla="*/ 92488 h 129920"/>
                <a:gd name="connsiteX23" fmla="*/ 106299 w 122301"/>
                <a:gd name="connsiteY23" fmla="*/ 97346 h 129920"/>
                <a:gd name="connsiteX24" fmla="*/ 96488 w 122301"/>
                <a:gd name="connsiteY24" fmla="*/ 108775 h 129920"/>
                <a:gd name="connsiteX25" fmla="*/ 75152 w 122301"/>
                <a:gd name="connsiteY25" fmla="*/ 110395 h 129920"/>
                <a:gd name="connsiteX26" fmla="*/ 67151 w 122301"/>
                <a:gd name="connsiteY26" fmla="*/ 125063 h 129920"/>
                <a:gd name="connsiteX27" fmla="*/ 49340 w 122301"/>
                <a:gd name="connsiteY27" fmla="*/ 125063 h 129920"/>
                <a:gd name="connsiteX28" fmla="*/ 39529 w 122301"/>
                <a:gd name="connsiteY28" fmla="*/ 129921 h 12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301" h="129920">
                  <a:moveTo>
                    <a:pt x="39624" y="129921"/>
                  </a:moveTo>
                  <a:lnTo>
                    <a:pt x="21717" y="124015"/>
                  </a:lnTo>
                  <a:lnTo>
                    <a:pt x="5620" y="115919"/>
                  </a:lnTo>
                  <a:lnTo>
                    <a:pt x="2191" y="111728"/>
                  </a:lnTo>
                  <a:lnTo>
                    <a:pt x="0" y="108109"/>
                  </a:lnTo>
                  <a:lnTo>
                    <a:pt x="1715" y="102394"/>
                  </a:lnTo>
                  <a:lnTo>
                    <a:pt x="21527" y="97250"/>
                  </a:lnTo>
                  <a:lnTo>
                    <a:pt x="24479" y="89630"/>
                  </a:lnTo>
                  <a:lnTo>
                    <a:pt x="31337" y="81725"/>
                  </a:lnTo>
                  <a:lnTo>
                    <a:pt x="32480" y="70961"/>
                  </a:lnTo>
                  <a:lnTo>
                    <a:pt x="31909" y="52006"/>
                  </a:lnTo>
                  <a:lnTo>
                    <a:pt x="36290" y="40862"/>
                  </a:lnTo>
                  <a:lnTo>
                    <a:pt x="38005" y="24765"/>
                  </a:lnTo>
                  <a:lnTo>
                    <a:pt x="43339" y="19621"/>
                  </a:lnTo>
                  <a:lnTo>
                    <a:pt x="44577" y="7144"/>
                  </a:lnTo>
                  <a:lnTo>
                    <a:pt x="57341" y="10763"/>
                  </a:lnTo>
                  <a:lnTo>
                    <a:pt x="70866" y="0"/>
                  </a:lnTo>
                  <a:lnTo>
                    <a:pt x="83153" y="17240"/>
                  </a:lnTo>
                  <a:lnTo>
                    <a:pt x="96488" y="27051"/>
                  </a:lnTo>
                  <a:lnTo>
                    <a:pt x="93821" y="36862"/>
                  </a:lnTo>
                  <a:lnTo>
                    <a:pt x="102680" y="54864"/>
                  </a:lnTo>
                  <a:lnTo>
                    <a:pt x="116967" y="63056"/>
                  </a:lnTo>
                  <a:lnTo>
                    <a:pt x="122301" y="92488"/>
                  </a:lnTo>
                  <a:lnTo>
                    <a:pt x="106299" y="97346"/>
                  </a:lnTo>
                  <a:lnTo>
                    <a:pt x="96488" y="108775"/>
                  </a:lnTo>
                  <a:lnTo>
                    <a:pt x="75152" y="110395"/>
                  </a:lnTo>
                  <a:lnTo>
                    <a:pt x="67151" y="125063"/>
                  </a:lnTo>
                  <a:lnTo>
                    <a:pt x="49340" y="125063"/>
                  </a:lnTo>
                  <a:lnTo>
                    <a:pt x="39529" y="129921"/>
                  </a:lnTo>
                </a:path>
              </a:pathLst>
            </a:custGeom>
            <a:grpFill/>
            <a:ln w="2381" cap="sq">
              <a:noFill/>
              <a:prstDash val="solid"/>
              <a:bevel/>
            </a:ln>
          </p:spPr>
          <p:txBody>
            <a:bodyPr rtlCol="0" anchor="ctr"/>
            <a:lstStyle/>
            <a:p>
              <a:endParaRPr lang="cs-CZ"/>
            </a:p>
          </p:txBody>
        </p:sp>
        <p:sp>
          <p:nvSpPr>
            <p:cNvPr id="274" name="Freeform: Shape 273">
              <a:extLst>
                <a:ext uri="{FF2B5EF4-FFF2-40B4-BE49-F238E27FC236}">
                  <a16:creationId xmlns:a16="http://schemas.microsoft.com/office/drawing/2014/main" id="{55E8F994-CC65-1EAE-6C21-BD8AC43BF86C}"/>
                </a:ext>
              </a:extLst>
            </p:cNvPr>
            <p:cNvSpPr/>
            <p:nvPr/>
          </p:nvSpPr>
          <p:spPr>
            <a:xfrm>
              <a:off x="11890532" y="8109327"/>
              <a:ext cx="160401" cy="226504"/>
            </a:xfrm>
            <a:custGeom>
              <a:avLst/>
              <a:gdLst>
                <a:gd name="connsiteX0" fmla="*/ 34766 w 160401"/>
                <a:gd name="connsiteY0" fmla="*/ 214979 h 226504"/>
                <a:gd name="connsiteX1" fmla="*/ 28766 w 160401"/>
                <a:gd name="connsiteY1" fmla="*/ 214408 h 226504"/>
                <a:gd name="connsiteX2" fmla="*/ 21908 w 160401"/>
                <a:gd name="connsiteY2" fmla="*/ 212408 h 226504"/>
                <a:gd name="connsiteX3" fmla="*/ 16097 w 160401"/>
                <a:gd name="connsiteY3" fmla="*/ 207550 h 226504"/>
                <a:gd name="connsiteX4" fmla="*/ 12002 w 160401"/>
                <a:gd name="connsiteY4" fmla="*/ 202216 h 226504"/>
                <a:gd name="connsiteX5" fmla="*/ 6477 w 160401"/>
                <a:gd name="connsiteY5" fmla="*/ 190976 h 226504"/>
                <a:gd name="connsiteX6" fmla="*/ 7334 w 160401"/>
                <a:gd name="connsiteY6" fmla="*/ 177546 h 226504"/>
                <a:gd name="connsiteX7" fmla="*/ 6668 w 160401"/>
                <a:gd name="connsiteY7" fmla="*/ 170402 h 226504"/>
                <a:gd name="connsiteX8" fmla="*/ 7239 w 160401"/>
                <a:gd name="connsiteY8" fmla="*/ 166688 h 226504"/>
                <a:gd name="connsiteX9" fmla="*/ 5429 w 160401"/>
                <a:gd name="connsiteY9" fmla="*/ 160687 h 226504"/>
                <a:gd name="connsiteX10" fmla="*/ 381 w 160401"/>
                <a:gd name="connsiteY10" fmla="*/ 151448 h 226504"/>
                <a:gd name="connsiteX11" fmla="*/ 0 w 160401"/>
                <a:gd name="connsiteY11" fmla="*/ 148971 h 226504"/>
                <a:gd name="connsiteX12" fmla="*/ 10192 w 160401"/>
                <a:gd name="connsiteY12" fmla="*/ 142494 h 226504"/>
                <a:gd name="connsiteX13" fmla="*/ 14383 w 160401"/>
                <a:gd name="connsiteY13" fmla="*/ 137731 h 226504"/>
                <a:gd name="connsiteX14" fmla="*/ 16955 w 160401"/>
                <a:gd name="connsiteY14" fmla="*/ 130969 h 226504"/>
                <a:gd name="connsiteX15" fmla="*/ 18479 w 160401"/>
                <a:gd name="connsiteY15" fmla="*/ 125349 h 226504"/>
                <a:gd name="connsiteX16" fmla="*/ 14954 w 160401"/>
                <a:gd name="connsiteY16" fmla="*/ 114872 h 226504"/>
                <a:gd name="connsiteX17" fmla="*/ 12668 w 160401"/>
                <a:gd name="connsiteY17" fmla="*/ 109633 h 226504"/>
                <a:gd name="connsiteX18" fmla="*/ 18002 w 160401"/>
                <a:gd name="connsiteY18" fmla="*/ 96488 h 226504"/>
                <a:gd name="connsiteX19" fmla="*/ 24956 w 160401"/>
                <a:gd name="connsiteY19" fmla="*/ 84487 h 226504"/>
                <a:gd name="connsiteX20" fmla="*/ 42767 w 160401"/>
                <a:gd name="connsiteY20" fmla="*/ 73152 h 226504"/>
                <a:gd name="connsiteX21" fmla="*/ 59722 w 160401"/>
                <a:gd name="connsiteY21" fmla="*/ 74771 h 226504"/>
                <a:gd name="connsiteX22" fmla="*/ 71247 w 160401"/>
                <a:gd name="connsiteY22" fmla="*/ 65056 h 226504"/>
                <a:gd name="connsiteX23" fmla="*/ 61436 w 160401"/>
                <a:gd name="connsiteY23" fmla="*/ 17907 h 226504"/>
                <a:gd name="connsiteX24" fmla="*/ 80105 w 160401"/>
                <a:gd name="connsiteY24" fmla="*/ 1619 h 226504"/>
                <a:gd name="connsiteX25" fmla="*/ 98774 w 160401"/>
                <a:gd name="connsiteY25" fmla="*/ 0 h 226504"/>
                <a:gd name="connsiteX26" fmla="*/ 122777 w 160401"/>
                <a:gd name="connsiteY26" fmla="*/ 0 h 226504"/>
                <a:gd name="connsiteX27" fmla="*/ 130778 w 160401"/>
                <a:gd name="connsiteY27" fmla="*/ 11335 h 226504"/>
                <a:gd name="connsiteX28" fmla="*/ 150114 w 160401"/>
                <a:gd name="connsiteY28" fmla="*/ 20383 h 226504"/>
                <a:gd name="connsiteX29" fmla="*/ 154686 w 160401"/>
                <a:gd name="connsiteY29" fmla="*/ 41148 h 226504"/>
                <a:gd name="connsiteX30" fmla="*/ 159163 w 160401"/>
                <a:gd name="connsiteY30" fmla="*/ 53721 h 226504"/>
                <a:gd name="connsiteX31" fmla="*/ 160401 w 160401"/>
                <a:gd name="connsiteY31" fmla="*/ 58293 h 226504"/>
                <a:gd name="connsiteX32" fmla="*/ 160401 w 160401"/>
                <a:gd name="connsiteY32" fmla="*/ 62579 h 226504"/>
                <a:gd name="connsiteX33" fmla="*/ 157163 w 160401"/>
                <a:gd name="connsiteY33" fmla="*/ 67627 h 226504"/>
                <a:gd name="connsiteX34" fmla="*/ 154400 w 160401"/>
                <a:gd name="connsiteY34" fmla="*/ 76581 h 226504"/>
                <a:gd name="connsiteX35" fmla="*/ 151638 w 160401"/>
                <a:gd name="connsiteY35" fmla="*/ 82106 h 226504"/>
                <a:gd name="connsiteX36" fmla="*/ 147352 w 160401"/>
                <a:gd name="connsiteY36" fmla="*/ 87725 h 226504"/>
                <a:gd name="connsiteX37" fmla="*/ 135446 w 160401"/>
                <a:gd name="connsiteY37" fmla="*/ 94964 h 226504"/>
                <a:gd name="connsiteX38" fmla="*/ 130302 w 160401"/>
                <a:gd name="connsiteY38" fmla="*/ 100108 h 226504"/>
                <a:gd name="connsiteX39" fmla="*/ 126968 w 160401"/>
                <a:gd name="connsiteY39" fmla="*/ 107252 h 226504"/>
                <a:gd name="connsiteX40" fmla="*/ 130016 w 160401"/>
                <a:gd name="connsiteY40" fmla="*/ 125825 h 226504"/>
                <a:gd name="connsiteX41" fmla="*/ 130207 w 160401"/>
                <a:gd name="connsiteY41" fmla="*/ 140684 h 226504"/>
                <a:gd name="connsiteX42" fmla="*/ 129159 w 160401"/>
                <a:gd name="connsiteY42" fmla="*/ 149257 h 226504"/>
                <a:gd name="connsiteX43" fmla="*/ 130397 w 160401"/>
                <a:gd name="connsiteY43" fmla="*/ 152114 h 226504"/>
                <a:gd name="connsiteX44" fmla="*/ 131540 w 160401"/>
                <a:gd name="connsiteY44" fmla="*/ 156115 h 226504"/>
                <a:gd name="connsiteX45" fmla="*/ 132779 w 160401"/>
                <a:gd name="connsiteY45" fmla="*/ 164211 h 226504"/>
                <a:gd name="connsiteX46" fmla="*/ 134684 w 160401"/>
                <a:gd name="connsiteY46" fmla="*/ 167545 h 226504"/>
                <a:gd name="connsiteX47" fmla="*/ 135731 w 160401"/>
                <a:gd name="connsiteY47" fmla="*/ 171355 h 226504"/>
                <a:gd name="connsiteX48" fmla="*/ 133826 w 160401"/>
                <a:gd name="connsiteY48" fmla="*/ 175546 h 226504"/>
                <a:gd name="connsiteX49" fmla="*/ 125540 w 160401"/>
                <a:gd name="connsiteY49" fmla="*/ 181070 h 226504"/>
                <a:gd name="connsiteX50" fmla="*/ 110204 w 160401"/>
                <a:gd name="connsiteY50" fmla="*/ 183928 h 226504"/>
                <a:gd name="connsiteX51" fmla="*/ 91059 w 160401"/>
                <a:gd name="connsiteY51" fmla="*/ 190595 h 226504"/>
                <a:gd name="connsiteX52" fmla="*/ 91059 w 160401"/>
                <a:gd name="connsiteY52" fmla="*/ 195929 h 226504"/>
                <a:gd name="connsiteX53" fmla="*/ 93726 w 160401"/>
                <a:gd name="connsiteY53" fmla="*/ 199358 h 226504"/>
                <a:gd name="connsiteX54" fmla="*/ 105728 w 160401"/>
                <a:gd name="connsiteY54" fmla="*/ 208883 h 226504"/>
                <a:gd name="connsiteX55" fmla="*/ 108966 w 160401"/>
                <a:gd name="connsiteY55" fmla="*/ 212979 h 226504"/>
                <a:gd name="connsiteX56" fmla="*/ 108395 w 160401"/>
                <a:gd name="connsiteY56" fmla="*/ 222980 h 226504"/>
                <a:gd name="connsiteX57" fmla="*/ 101156 w 160401"/>
                <a:gd name="connsiteY57" fmla="*/ 226504 h 226504"/>
                <a:gd name="connsiteX58" fmla="*/ 96012 w 160401"/>
                <a:gd name="connsiteY58" fmla="*/ 224123 h 226504"/>
                <a:gd name="connsiteX59" fmla="*/ 90297 w 160401"/>
                <a:gd name="connsiteY59" fmla="*/ 223742 h 226504"/>
                <a:gd name="connsiteX60" fmla="*/ 85725 w 160401"/>
                <a:gd name="connsiteY60" fmla="*/ 225171 h 226504"/>
                <a:gd name="connsiteX61" fmla="*/ 73628 w 160401"/>
                <a:gd name="connsiteY61" fmla="*/ 224695 h 226504"/>
                <a:gd name="connsiteX62" fmla="*/ 69818 w 160401"/>
                <a:gd name="connsiteY62" fmla="*/ 219361 h 226504"/>
                <a:gd name="connsiteX63" fmla="*/ 55721 w 160401"/>
                <a:gd name="connsiteY63" fmla="*/ 224504 h 226504"/>
                <a:gd name="connsiteX64" fmla="*/ 52483 w 160401"/>
                <a:gd name="connsiteY64" fmla="*/ 223838 h 226504"/>
                <a:gd name="connsiteX65" fmla="*/ 51530 w 160401"/>
                <a:gd name="connsiteY65" fmla="*/ 220885 h 226504"/>
                <a:gd name="connsiteX66" fmla="*/ 50864 w 160401"/>
                <a:gd name="connsiteY66" fmla="*/ 217075 h 226504"/>
                <a:gd name="connsiteX67" fmla="*/ 49244 w 160401"/>
                <a:gd name="connsiteY67" fmla="*/ 214217 h 226504"/>
                <a:gd name="connsiteX68" fmla="*/ 45053 w 160401"/>
                <a:gd name="connsiteY68" fmla="*/ 213170 h 226504"/>
                <a:gd name="connsiteX69" fmla="*/ 34385 w 160401"/>
                <a:gd name="connsiteY69" fmla="*/ 214979 h 226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60401" h="226504">
                  <a:moveTo>
                    <a:pt x="34766" y="214979"/>
                  </a:moveTo>
                  <a:lnTo>
                    <a:pt x="28766" y="214408"/>
                  </a:lnTo>
                  <a:lnTo>
                    <a:pt x="21908" y="212408"/>
                  </a:lnTo>
                  <a:lnTo>
                    <a:pt x="16097" y="207550"/>
                  </a:lnTo>
                  <a:lnTo>
                    <a:pt x="12002" y="202216"/>
                  </a:lnTo>
                  <a:lnTo>
                    <a:pt x="6477" y="190976"/>
                  </a:lnTo>
                  <a:lnTo>
                    <a:pt x="7334" y="177546"/>
                  </a:lnTo>
                  <a:lnTo>
                    <a:pt x="6668" y="170402"/>
                  </a:lnTo>
                  <a:lnTo>
                    <a:pt x="7239" y="166688"/>
                  </a:lnTo>
                  <a:lnTo>
                    <a:pt x="5429" y="160687"/>
                  </a:lnTo>
                  <a:lnTo>
                    <a:pt x="381" y="151448"/>
                  </a:lnTo>
                  <a:lnTo>
                    <a:pt x="0" y="148971"/>
                  </a:lnTo>
                  <a:lnTo>
                    <a:pt x="10192" y="142494"/>
                  </a:lnTo>
                  <a:lnTo>
                    <a:pt x="14383" y="137731"/>
                  </a:lnTo>
                  <a:lnTo>
                    <a:pt x="16955" y="130969"/>
                  </a:lnTo>
                  <a:lnTo>
                    <a:pt x="18479" y="125349"/>
                  </a:lnTo>
                  <a:lnTo>
                    <a:pt x="14954" y="114872"/>
                  </a:lnTo>
                  <a:lnTo>
                    <a:pt x="12668" y="109633"/>
                  </a:lnTo>
                  <a:lnTo>
                    <a:pt x="18002" y="96488"/>
                  </a:lnTo>
                  <a:lnTo>
                    <a:pt x="24956" y="84487"/>
                  </a:lnTo>
                  <a:lnTo>
                    <a:pt x="42767" y="73152"/>
                  </a:lnTo>
                  <a:lnTo>
                    <a:pt x="59722" y="74771"/>
                  </a:lnTo>
                  <a:lnTo>
                    <a:pt x="71247" y="65056"/>
                  </a:lnTo>
                  <a:lnTo>
                    <a:pt x="61436" y="17907"/>
                  </a:lnTo>
                  <a:lnTo>
                    <a:pt x="80105" y="1619"/>
                  </a:lnTo>
                  <a:lnTo>
                    <a:pt x="98774" y="0"/>
                  </a:lnTo>
                  <a:lnTo>
                    <a:pt x="122777" y="0"/>
                  </a:lnTo>
                  <a:lnTo>
                    <a:pt x="130778" y="11335"/>
                  </a:lnTo>
                  <a:lnTo>
                    <a:pt x="150114" y="20383"/>
                  </a:lnTo>
                  <a:lnTo>
                    <a:pt x="154686" y="41148"/>
                  </a:lnTo>
                  <a:lnTo>
                    <a:pt x="159163" y="53721"/>
                  </a:lnTo>
                  <a:lnTo>
                    <a:pt x="160401" y="58293"/>
                  </a:lnTo>
                  <a:lnTo>
                    <a:pt x="160401" y="62579"/>
                  </a:lnTo>
                  <a:cubicBezTo>
                    <a:pt x="160401" y="62579"/>
                    <a:pt x="157163" y="67627"/>
                    <a:pt x="157163" y="67627"/>
                  </a:cubicBezTo>
                  <a:lnTo>
                    <a:pt x="154400" y="76581"/>
                  </a:lnTo>
                  <a:lnTo>
                    <a:pt x="151638" y="82106"/>
                  </a:lnTo>
                  <a:lnTo>
                    <a:pt x="147352" y="87725"/>
                  </a:lnTo>
                  <a:lnTo>
                    <a:pt x="135446" y="94964"/>
                  </a:lnTo>
                  <a:lnTo>
                    <a:pt x="130302" y="100108"/>
                  </a:lnTo>
                  <a:lnTo>
                    <a:pt x="126968" y="107252"/>
                  </a:lnTo>
                  <a:lnTo>
                    <a:pt x="130016" y="125825"/>
                  </a:lnTo>
                  <a:lnTo>
                    <a:pt x="130207" y="140684"/>
                  </a:lnTo>
                  <a:lnTo>
                    <a:pt x="129159" y="149257"/>
                  </a:lnTo>
                  <a:lnTo>
                    <a:pt x="130397" y="152114"/>
                  </a:lnTo>
                  <a:lnTo>
                    <a:pt x="131540" y="156115"/>
                  </a:lnTo>
                  <a:lnTo>
                    <a:pt x="132779" y="164211"/>
                  </a:lnTo>
                  <a:lnTo>
                    <a:pt x="134684" y="167545"/>
                  </a:lnTo>
                  <a:lnTo>
                    <a:pt x="135731" y="171355"/>
                  </a:lnTo>
                  <a:lnTo>
                    <a:pt x="133826" y="175546"/>
                  </a:lnTo>
                  <a:lnTo>
                    <a:pt x="125540" y="181070"/>
                  </a:lnTo>
                  <a:lnTo>
                    <a:pt x="110204" y="183928"/>
                  </a:lnTo>
                  <a:lnTo>
                    <a:pt x="91059" y="190595"/>
                  </a:lnTo>
                  <a:lnTo>
                    <a:pt x="91059" y="195929"/>
                  </a:lnTo>
                  <a:cubicBezTo>
                    <a:pt x="91059" y="195929"/>
                    <a:pt x="93726" y="199358"/>
                    <a:pt x="93726" y="199358"/>
                  </a:cubicBezTo>
                  <a:lnTo>
                    <a:pt x="105728" y="208883"/>
                  </a:lnTo>
                  <a:lnTo>
                    <a:pt x="108966" y="212979"/>
                  </a:lnTo>
                  <a:lnTo>
                    <a:pt x="108395" y="222980"/>
                  </a:lnTo>
                  <a:lnTo>
                    <a:pt x="101156" y="226504"/>
                  </a:lnTo>
                  <a:lnTo>
                    <a:pt x="96012" y="224123"/>
                  </a:lnTo>
                  <a:lnTo>
                    <a:pt x="90297" y="223742"/>
                  </a:lnTo>
                  <a:lnTo>
                    <a:pt x="85725" y="225171"/>
                  </a:lnTo>
                  <a:lnTo>
                    <a:pt x="73628" y="224695"/>
                  </a:lnTo>
                  <a:lnTo>
                    <a:pt x="69818" y="219361"/>
                  </a:lnTo>
                  <a:lnTo>
                    <a:pt x="55721" y="224504"/>
                  </a:lnTo>
                  <a:lnTo>
                    <a:pt x="52483" y="223838"/>
                  </a:lnTo>
                  <a:lnTo>
                    <a:pt x="51530" y="220885"/>
                  </a:lnTo>
                  <a:lnTo>
                    <a:pt x="50864" y="217075"/>
                  </a:lnTo>
                  <a:lnTo>
                    <a:pt x="49244" y="214217"/>
                  </a:lnTo>
                  <a:lnTo>
                    <a:pt x="45053" y="213170"/>
                  </a:lnTo>
                  <a:lnTo>
                    <a:pt x="34385" y="214979"/>
                  </a:lnTo>
                </a:path>
              </a:pathLst>
            </a:custGeom>
            <a:grpFill/>
            <a:ln w="2381" cap="sq">
              <a:noFill/>
              <a:prstDash val="solid"/>
              <a:bevel/>
            </a:ln>
          </p:spPr>
          <p:txBody>
            <a:bodyPr rtlCol="0" anchor="ctr"/>
            <a:lstStyle/>
            <a:p>
              <a:endParaRPr lang="cs-CZ"/>
            </a:p>
          </p:txBody>
        </p:sp>
        <p:sp>
          <p:nvSpPr>
            <p:cNvPr id="275" name="Freeform: Shape 274">
              <a:extLst>
                <a:ext uri="{FF2B5EF4-FFF2-40B4-BE49-F238E27FC236}">
                  <a16:creationId xmlns:a16="http://schemas.microsoft.com/office/drawing/2014/main" id="{28D27BDB-47C8-B073-1506-F595D6ED09F1}"/>
                </a:ext>
              </a:extLst>
            </p:cNvPr>
            <p:cNvSpPr/>
            <p:nvPr/>
          </p:nvSpPr>
          <p:spPr>
            <a:xfrm>
              <a:off x="12150850" y="7880061"/>
              <a:ext cx="198596" cy="244792"/>
            </a:xfrm>
            <a:custGeom>
              <a:avLst/>
              <a:gdLst>
                <a:gd name="connsiteX0" fmla="*/ 3715 w 198596"/>
                <a:gd name="connsiteY0" fmla="*/ 162782 h 244792"/>
                <a:gd name="connsiteX1" fmla="*/ 0 w 198596"/>
                <a:gd name="connsiteY1" fmla="*/ 147447 h 244792"/>
                <a:gd name="connsiteX2" fmla="*/ 4096 w 198596"/>
                <a:gd name="connsiteY2" fmla="*/ 146114 h 244792"/>
                <a:gd name="connsiteX3" fmla="*/ 10477 w 198596"/>
                <a:gd name="connsiteY3" fmla="*/ 116015 h 244792"/>
                <a:gd name="connsiteX4" fmla="*/ 24384 w 198596"/>
                <a:gd name="connsiteY4" fmla="*/ 93631 h 244792"/>
                <a:gd name="connsiteX5" fmla="*/ 44387 w 198596"/>
                <a:gd name="connsiteY5" fmla="*/ 97536 h 244792"/>
                <a:gd name="connsiteX6" fmla="*/ 56769 w 198596"/>
                <a:gd name="connsiteY6" fmla="*/ 87535 h 244792"/>
                <a:gd name="connsiteX7" fmla="*/ 74009 w 198596"/>
                <a:gd name="connsiteY7" fmla="*/ 92202 h 244792"/>
                <a:gd name="connsiteX8" fmla="*/ 79343 w 198596"/>
                <a:gd name="connsiteY8" fmla="*/ 73724 h 244792"/>
                <a:gd name="connsiteX9" fmla="*/ 76295 w 198596"/>
                <a:gd name="connsiteY9" fmla="*/ 35719 h 244792"/>
                <a:gd name="connsiteX10" fmla="*/ 87249 w 198596"/>
                <a:gd name="connsiteY10" fmla="*/ 33623 h 244792"/>
                <a:gd name="connsiteX11" fmla="*/ 122777 w 198596"/>
                <a:gd name="connsiteY11" fmla="*/ 23146 h 244792"/>
                <a:gd name="connsiteX12" fmla="*/ 135350 w 198596"/>
                <a:gd name="connsiteY12" fmla="*/ 13335 h 244792"/>
                <a:gd name="connsiteX13" fmla="*/ 138779 w 198596"/>
                <a:gd name="connsiteY13" fmla="*/ 9525 h 244792"/>
                <a:gd name="connsiteX14" fmla="*/ 141161 w 198596"/>
                <a:gd name="connsiteY14" fmla="*/ 5715 h 244792"/>
                <a:gd name="connsiteX15" fmla="*/ 150209 w 198596"/>
                <a:gd name="connsiteY15" fmla="*/ 3239 h 244792"/>
                <a:gd name="connsiteX16" fmla="*/ 181356 w 198596"/>
                <a:gd name="connsiteY16" fmla="*/ 5334 h 244792"/>
                <a:gd name="connsiteX17" fmla="*/ 188976 w 198596"/>
                <a:gd name="connsiteY17" fmla="*/ 0 h 244792"/>
                <a:gd name="connsiteX18" fmla="*/ 198596 w 198596"/>
                <a:gd name="connsiteY18" fmla="*/ 12764 h 244792"/>
                <a:gd name="connsiteX19" fmla="*/ 193072 w 198596"/>
                <a:gd name="connsiteY19" fmla="*/ 21717 h 244792"/>
                <a:gd name="connsiteX20" fmla="*/ 181927 w 198596"/>
                <a:gd name="connsiteY20" fmla="*/ 29432 h 244792"/>
                <a:gd name="connsiteX21" fmla="*/ 175641 w 198596"/>
                <a:gd name="connsiteY21" fmla="*/ 39624 h 244792"/>
                <a:gd name="connsiteX22" fmla="*/ 154019 w 198596"/>
                <a:gd name="connsiteY22" fmla="*/ 47339 h 244792"/>
                <a:gd name="connsiteX23" fmla="*/ 159544 w 198596"/>
                <a:gd name="connsiteY23" fmla="*/ 62675 h 244792"/>
                <a:gd name="connsiteX24" fmla="*/ 163735 w 198596"/>
                <a:gd name="connsiteY24" fmla="*/ 76772 h 244792"/>
                <a:gd name="connsiteX25" fmla="*/ 168592 w 198596"/>
                <a:gd name="connsiteY25" fmla="*/ 89535 h 244792"/>
                <a:gd name="connsiteX26" fmla="*/ 162306 w 198596"/>
                <a:gd name="connsiteY26" fmla="*/ 95917 h 244792"/>
                <a:gd name="connsiteX27" fmla="*/ 149733 w 198596"/>
                <a:gd name="connsiteY27" fmla="*/ 98489 h 244792"/>
                <a:gd name="connsiteX28" fmla="*/ 144875 w 198596"/>
                <a:gd name="connsiteY28" fmla="*/ 121539 h 244792"/>
                <a:gd name="connsiteX29" fmla="*/ 149733 w 198596"/>
                <a:gd name="connsiteY29" fmla="*/ 139446 h 244792"/>
                <a:gd name="connsiteX30" fmla="*/ 166402 w 198596"/>
                <a:gd name="connsiteY30" fmla="*/ 157353 h 244792"/>
                <a:gd name="connsiteX31" fmla="*/ 183071 w 198596"/>
                <a:gd name="connsiteY31" fmla="*/ 163735 h 244792"/>
                <a:gd name="connsiteX32" fmla="*/ 183737 w 198596"/>
                <a:gd name="connsiteY32" fmla="*/ 182880 h 244792"/>
                <a:gd name="connsiteX33" fmla="*/ 185833 w 198596"/>
                <a:gd name="connsiteY33" fmla="*/ 193072 h 244792"/>
                <a:gd name="connsiteX34" fmla="*/ 193453 w 198596"/>
                <a:gd name="connsiteY34" fmla="*/ 207074 h 244792"/>
                <a:gd name="connsiteX35" fmla="*/ 179546 w 198596"/>
                <a:gd name="connsiteY35" fmla="*/ 208312 h 244792"/>
                <a:gd name="connsiteX36" fmla="*/ 166973 w 198596"/>
                <a:gd name="connsiteY36" fmla="*/ 204502 h 244792"/>
                <a:gd name="connsiteX37" fmla="*/ 151638 w 198596"/>
                <a:gd name="connsiteY37" fmla="*/ 210884 h 244792"/>
                <a:gd name="connsiteX38" fmla="*/ 155829 w 198596"/>
                <a:gd name="connsiteY38" fmla="*/ 226124 h 244792"/>
                <a:gd name="connsiteX39" fmla="*/ 144018 w 198596"/>
                <a:gd name="connsiteY39" fmla="*/ 236315 h 244792"/>
                <a:gd name="connsiteX40" fmla="*/ 133350 w 198596"/>
                <a:gd name="connsiteY40" fmla="*/ 243459 h 244792"/>
                <a:gd name="connsiteX41" fmla="*/ 106013 w 198596"/>
                <a:gd name="connsiteY41" fmla="*/ 244793 h 244792"/>
                <a:gd name="connsiteX42" fmla="*/ 90583 w 198596"/>
                <a:gd name="connsiteY42" fmla="*/ 239459 h 244792"/>
                <a:gd name="connsiteX43" fmla="*/ 76200 w 198596"/>
                <a:gd name="connsiteY43" fmla="*/ 240411 h 244792"/>
                <a:gd name="connsiteX44" fmla="*/ 77724 w 198596"/>
                <a:gd name="connsiteY44" fmla="*/ 234601 h 244792"/>
                <a:gd name="connsiteX45" fmla="*/ 73152 w 198596"/>
                <a:gd name="connsiteY45" fmla="*/ 229076 h 244792"/>
                <a:gd name="connsiteX46" fmla="*/ 54483 w 198596"/>
                <a:gd name="connsiteY46" fmla="*/ 219837 h 244792"/>
                <a:gd name="connsiteX47" fmla="*/ 31623 w 198596"/>
                <a:gd name="connsiteY47" fmla="*/ 216694 h 244792"/>
                <a:gd name="connsiteX48" fmla="*/ 17335 w 198596"/>
                <a:gd name="connsiteY48" fmla="*/ 209645 h 244792"/>
                <a:gd name="connsiteX49" fmla="*/ 21050 w 198596"/>
                <a:gd name="connsiteY49" fmla="*/ 201454 h 244792"/>
                <a:gd name="connsiteX50" fmla="*/ 23431 w 198596"/>
                <a:gd name="connsiteY50" fmla="*/ 198215 h 244792"/>
                <a:gd name="connsiteX51" fmla="*/ 26575 w 198596"/>
                <a:gd name="connsiteY51" fmla="*/ 194977 h 244792"/>
                <a:gd name="connsiteX52" fmla="*/ 28289 w 198596"/>
                <a:gd name="connsiteY52" fmla="*/ 191548 h 244792"/>
                <a:gd name="connsiteX53" fmla="*/ 29147 w 198596"/>
                <a:gd name="connsiteY53" fmla="*/ 186023 h 244792"/>
                <a:gd name="connsiteX54" fmla="*/ 29147 w 198596"/>
                <a:gd name="connsiteY54" fmla="*/ 174879 h 244792"/>
                <a:gd name="connsiteX55" fmla="*/ 30385 w 198596"/>
                <a:gd name="connsiteY55" fmla="*/ 171450 h 244792"/>
                <a:gd name="connsiteX56" fmla="*/ 32290 w 198596"/>
                <a:gd name="connsiteY56" fmla="*/ 168783 h 244792"/>
                <a:gd name="connsiteX57" fmla="*/ 31242 w 198596"/>
                <a:gd name="connsiteY57" fmla="*/ 165830 h 244792"/>
                <a:gd name="connsiteX58" fmla="*/ 25527 w 198596"/>
                <a:gd name="connsiteY58" fmla="*/ 162687 h 244792"/>
                <a:gd name="connsiteX59" fmla="*/ 17907 w 198596"/>
                <a:gd name="connsiteY59" fmla="*/ 160782 h 244792"/>
                <a:gd name="connsiteX60" fmla="*/ 3334 w 198596"/>
                <a:gd name="connsiteY60" fmla="*/ 162973 h 244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98596" h="244792">
                  <a:moveTo>
                    <a:pt x="3715" y="162782"/>
                  </a:moveTo>
                  <a:lnTo>
                    <a:pt x="0" y="147447"/>
                  </a:lnTo>
                  <a:lnTo>
                    <a:pt x="4096" y="146114"/>
                  </a:lnTo>
                  <a:lnTo>
                    <a:pt x="10477" y="116015"/>
                  </a:lnTo>
                  <a:lnTo>
                    <a:pt x="24384" y="93631"/>
                  </a:lnTo>
                  <a:lnTo>
                    <a:pt x="44387" y="97536"/>
                  </a:lnTo>
                  <a:lnTo>
                    <a:pt x="56769" y="87535"/>
                  </a:lnTo>
                  <a:lnTo>
                    <a:pt x="74009" y="92202"/>
                  </a:lnTo>
                  <a:lnTo>
                    <a:pt x="79343" y="73724"/>
                  </a:lnTo>
                  <a:lnTo>
                    <a:pt x="76295" y="35719"/>
                  </a:lnTo>
                  <a:lnTo>
                    <a:pt x="87249" y="33623"/>
                  </a:lnTo>
                  <a:lnTo>
                    <a:pt x="122777" y="23146"/>
                  </a:lnTo>
                  <a:lnTo>
                    <a:pt x="135350" y="13335"/>
                  </a:lnTo>
                  <a:lnTo>
                    <a:pt x="138779" y="9525"/>
                  </a:lnTo>
                  <a:lnTo>
                    <a:pt x="141161" y="5715"/>
                  </a:lnTo>
                  <a:lnTo>
                    <a:pt x="150209" y="3239"/>
                  </a:lnTo>
                  <a:lnTo>
                    <a:pt x="181356" y="5334"/>
                  </a:lnTo>
                  <a:lnTo>
                    <a:pt x="188976" y="0"/>
                  </a:lnTo>
                  <a:lnTo>
                    <a:pt x="198596" y="12764"/>
                  </a:lnTo>
                  <a:lnTo>
                    <a:pt x="193072" y="21717"/>
                  </a:lnTo>
                  <a:lnTo>
                    <a:pt x="181927" y="29432"/>
                  </a:lnTo>
                  <a:lnTo>
                    <a:pt x="175641" y="39624"/>
                  </a:lnTo>
                  <a:lnTo>
                    <a:pt x="154019" y="47339"/>
                  </a:lnTo>
                  <a:lnTo>
                    <a:pt x="159544" y="62675"/>
                  </a:lnTo>
                  <a:lnTo>
                    <a:pt x="163735" y="76772"/>
                  </a:lnTo>
                  <a:lnTo>
                    <a:pt x="168592" y="89535"/>
                  </a:lnTo>
                  <a:lnTo>
                    <a:pt x="162306" y="95917"/>
                  </a:lnTo>
                  <a:lnTo>
                    <a:pt x="149733" y="98489"/>
                  </a:lnTo>
                  <a:lnTo>
                    <a:pt x="144875" y="121539"/>
                  </a:lnTo>
                  <a:lnTo>
                    <a:pt x="149733" y="139446"/>
                  </a:lnTo>
                  <a:lnTo>
                    <a:pt x="166402" y="157353"/>
                  </a:lnTo>
                  <a:lnTo>
                    <a:pt x="183071" y="163735"/>
                  </a:lnTo>
                  <a:lnTo>
                    <a:pt x="183737" y="182880"/>
                  </a:lnTo>
                  <a:lnTo>
                    <a:pt x="185833" y="193072"/>
                  </a:lnTo>
                  <a:lnTo>
                    <a:pt x="193453" y="207074"/>
                  </a:lnTo>
                  <a:lnTo>
                    <a:pt x="179546" y="208312"/>
                  </a:lnTo>
                  <a:lnTo>
                    <a:pt x="166973" y="204502"/>
                  </a:lnTo>
                  <a:lnTo>
                    <a:pt x="151638" y="210884"/>
                  </a:lnTo>
                  <a:lnTo>
                    <a:pt x="155829" y="226124"/>
                  </a:lnTo>
                  <a:lnTo>
                    <a:pt x="144018" y="236315"/>
                  </a:lnTo>
                  <a:lnTo>
                    <a:pt x="133350" y="243459"/>
                  </a:lnTo>
                  <a:lnTo>
                    <a:pt x="106013" y="244793"/>
                  </a:lnTo>
                  <a:lnTo>
                    <a:pt x="90583" y="239459"/>
                  </a:lnTo>
                  <a:lnTo>
                    <a:pt x="76200" y="240411"/>
                  </a:lnTo>
                  <a:lnTo>
                    <a:pt x="77724" y="234601"/>
                  </a:lnTo>
                  <a:lnTo>
                    <a:pt x="73152" y="229076"/>
                  </a:lnTo>
                  <a:lnTo>
                    <a:pt x="54483" y="219837"/>
                  </a:lnTo>
                  <a:lnTo>
                    <a:pt x="31623" y="216694"/>
                  </a:lnTo>
                  <a:lnTo>
                    <a:pt x="17335" y="209645"/>
                  </a:lnTo>
                  <a:lnTo>
                    <a:pt x="21050" y="201454"/>
                  </a:lnTo>
                  <a:lnTo>
                    <a:pt x="23431" y="198215"/>
                  </a:lnTo>
                  <a:lnTo>
                    <a:pt x="26575" y="194977"/>
                  </a:lnTo>
                  <a:lnTo>
                    <a:pt x="28289" y="191548"/>
                  </a:lnTo>
                  <a:lnTo>
                    <a:pt x="29147" y="186023"/>
                  </a:lnTo>
                  <a:lnTo>
                    <a:pt x="29147" y="174879"/>
                  </a:lnTo>
                  <a:cubicBezTo>
                    <a:pt x="29147" y="174879"/>
                    <a:pt x="30385" y="171450"/>
                    <a:pt x="30385" y="171450"/>
                  </a:cubicBezTo>
                  <a:lnTo>
                    <a:pt x="32290" y="168783"/>
                  </a:lnTo>
                  <a:lnTo>
                    <a:pt x="31242" y="165830"/>
                  </a:lnTo>
                  <a:lnTo>
                    <a:pt x="25527" y="162687"/>
                  </a:lnTo>
                  <a:lnTo>
                    <a:pt x="17907" y="160782"/>
                  </a:lnTo>
                  <a:lnTo>
                    <a:pt x="3334" y="162973"/>
                  </a:lnTo>
                </a:path>
              </a:pathLst>
            </a:custGeom>
            <a:grpFill/>
            <a:ln w="2381" cap="sq">
              <a:noFill/>
              <a:prstDash val="solid"/>
              <a:bevel/>
            </a:ln>
          </p:spPr>
          <p:txBody>
            <a:bodyPr rtlCol="0" anchor="ctr"/>
            <a:lstStyle/>
            <a:p>
              <a:endParaRPr lang="cs-CZ"/>
            </a:p>
          </p:txBody>
        </p:sp>
        <p:sp>
          <p:nvSpPr>
            <p:cNvPr id="276" name="Freeform: Shape 275">
              <a:extLst>
                <a:ext uri="{FF2B5EF4-FFF2-40B4-BE49-F238E27FC236}">
                  <a16:creationId xmlns:a16="http://schemas.microsoft.com/office/drawing/2014/main" id="{E1113BF4-834F-02C8-589E-96404B12C472}"/>
                </a:ext>
              </a:extLst>
            </p:cNvPr>
            <p:cNvSpPr/>
            <p:nvPr/>
          </p:nvSpPr>
          <p:spPr>
            <a:xfrm>
              <a:off x="12295821" y="7793098"/>
              <a:ext cx="268223" cy="409479"/>
            </a:xfrm>
            <a:custGeom>
              <a:avLst/>
              <a:gdLst>
                <a:gd name="connsiteX0" fmla="*/ 262509 w 268223"/>
                <a:gd name="connsiteY0" fmla="*/ 237173 h 409479"/>
                <a:gd name="connsiteX1" fmla="*/ 268224 w 268223"/>
                <a:gd name="connsiteY1" fmla="*/ 265748 h 409479"/>
                <a:gd name="connsiteX2" fmla="*/ 250793 w 268223"/>
                <a:gd name="connsiteY2" fmla="*/ 273177 h 409479"/>
                <a:gd name="connsiteX3" fmla="*/ 260413 w 268223"/>
                <a:gd name="connsiteY3" fmla="*/ 321850 h 409479"/>
                <a:gd name="connsiteX4" fmla="*/ 246793 w 268223"/>
                <a:gd name="connsiteY4" fmla="*/ 333565 h 409479"/>
                <a:gd name="connsiteX5" fmla="*/ 230124 w 268223"/>
                <a:gd name="connsiteY5" fmla="*/ 338519 h 409479"/>
                <a:gd name="connsiteX6" fmla="*/ 225552 w 268223"/>
                <a:gd name="connsiteY6" fmla="*/ 338519 h 409479"/>
                <a:gd name="connsiteX7" fmla="*/ 222504 w 268223"/>
                <a:gd name="connsiteY7" fmla="*/ 337375 h 409479"/>
                <a:gd name="connsiteX8" fmla="*/ 216884 w 268223"/>
                <a:gd name="connsiteY8" fmla="*/ 332518 h 409479"/>
                <a:gd name="connsiteX9" fmla="*/ 196215 w 268223"/>
                <a:gd name="connsiteY9" fmla="*/ 345757 h 409479"/>
                <a:gd name="connsiteX10" fmla="*/ 193834 w 268223"/>
                <a:gd name="connsiteY10" fmla="*/ 351473 h 409479"/>
                <a:gd name="connsiteX11" fmla="*/ 193453 w 268223"/>
                <a:gd name="connsiteY11" fmla="*/ 357664 h 409479"/>
                <a:gd name="connsiteX12" fmla="*/ 197453 w 268223"/>
                <a:gd name="connsiteY12" fmla="*/ 368998 h 409479"/>
                <a:gd name="connsiteX13" fmla="*/ 187452 w 268223"/>
                <a:gd name="connsiteY13" fmla="*/ 393192 h 409479"/>
                <a:gd name="connsiteX14" fmla="*/ 176784 w 268223"/>
                <a:gd name="connsiteY14" fmla="*/ 396811 h 409479"/>
                <a:gd name="connsiteX15" fmla="*/ 154781 w 268223"/>
                <a:gd name="connsiteY15" fmla="*/ 396240 h 409479"/>
                <a:gd name="connsiteX16" fmla="*/ 146113 w 268223"/>
                <a:gd name="connsiteY16" fmla="*/ 400526 h 409479"/>
                <a:gd name="connsiteX17" fmla="*/ 137541 w 268223"/>
                <a:gd name="connsiteY17" fmla="*/ 409480 h 409479"/>
                <a:gd name="connsiteX18" fmla="*/ 118681 w 268223"/>
                <a:gd name="connsiteY18" fmla="*/ 404908 h 409479"/>
                <a:gd name="connsiteX19" fmla="*/ 107061 w 268223"/>
                <a:gd name="connsiteY19" fmla="*/ 389192 h 409479"/>
                <a:gd name="connsiteX20" fmla="*/ 98012 w 268223"/>
                <a:gd name="connsiteY20" fmla="*/ 361283 h 409479"/>
                <a:gd name="connsiteX21" fmla="*/ 92488 w 268223"/>
                <a:gd name="connsiteY21" fmla="*/ 337185 h 409479"/>
                <a:gd name="connsiteX22" fmla="*/ 84868 w 268223"/>
                <a:gd name="connsiteY22" fmla="*/ 328327 h 409479"/>
                <a:gd name="connsiteX23" fmla="*/ 61150 w 268223"/>
                <a:gd name="connsiteY23" fmla="*/ 332137 h 409479"/>
                <a:gd name="connsiteX24" fmla="*/ 44482 w 268223"/>
                <a:gd name="connsiteY24" fmla="*/ 325755 h 409479"/>
                <a:gd name="connsiteX25" fmla="*/ 40957 w 268223"/>
                <a:gd name="connsiteY25" fmla="*/ 309277 h 409479"/>
                <a:gd name="connsiteX26" fmla="*/ 48577 w 268223"/>
                <a:gd name="connsiteY26" fmla="*/ 293942 h 409479"/>
                <a:gd name="connsiteX27" fmla="*/ 40957 w 268223"/>
                <a:gd name="connsiteY27" fmla="*/ 279940 h 409479"/>
                <a:gd name="connsiteX28" fmla="*/ 38862 w 268223"/>
                <a:gd name="connsiteY28" fmla="*/ 269748 h 409479"/>
                <a:gd name="connsiteX29" fmla="*/ 38195 w 268223"/>
                <a:gd name="connsiteY29" fmla="*/ 250603 h 409479"/>
                <a:gd name="connsiteX30" fmla="*/ 21527 w 268223"/>
                <a:gd name="connsiteY30" fmla="*/ 244221 h 409479"/>
                <a:gd name="connsiteX31" fmla="*/ 4858 w 268223"/>
                <a:gd name="connsiteY31" fmla="*/ 226314 h 409479"/>
                <a:gd name="connsiteX32" fmla="*/ 0 w 268223"/>
                <a:gd name="connsiteY32" fmla="*/ 208407 h 409479"/>
                <a:gd name="connsiteX33" fmla="*/ 4858 w 268223"/>
                <a:gd name="connsiteY33" fmla="*/ 185356 h 409479"/>
                <a:gd name="connsiteX34" fmla="*/ 17431 w 268223"/>
                <a:gd name="connsiteY34" fmla="*/ 182785 h 409479"/>
                <a:gd name="connsiteX35" fmla="*/ 23717 w 268223"/>
                <a:gd name="connsiteY35" fmla="*/ 176403 h 409479"/>
                <a:gd name="connsiteX36" fmla="*/ 18859 w 268223"/>
                <a:gd name="connsiteY36" fmla="*/ 163640 h 409479"/>
                <a:gd name="connsiteX37" fmla="*/ 14669 w 268223"/>
                <a:gd name="connsiteY37" fmla="*/ 149542 h 409479"/>
                <a:gd name="connsiteX38" fmla="*/ 9144 w 268223"/>
                <a:gd name="connsiteY38" fmla="*/ 134207 h 409479"/>
                <a:gd name="connsiteX39" fmla="*/ 30766 w 268223"/>
                <a:gd name="connsiteY39" fmla="*/ 126492 h 409479"/>
                <a:gd name="connsiteX40" fmla="*/ 37052 w 268223"/>
                <a:gd name="connsiteY40" fmla="*/ 116300 h 409479"/>
                <a:gd name="connsiteX41" fmla="*/ 48196 w 268223"/>
                <a:gd name="connsiteY41" fmla="*/ 108585 h 409479"/>
                <a:gd name="connsiteX42" fmla="*/ 53721 w 268223"/>
                <a:gd name="connsiteY42" fmla="*/ 99631 h 409479"/>
                <a:gd name="connsiteX43" fmla="*/ 44101 w 268223"/>
                <a:gd name="connsiteY43" fmla="*/ 86868 h 409479"/>
                <a:gd name="connsiteX44" fmla="*/ 48196 w 268223"/>
                <a:gd name="connsiteY44" fmla="*/ 81248 h 409479"/>
                <a:gd name="connsiteX45" fmla="*/ 50292 w 268223"/>
                <a:gd name="connsiteY45" fmla="*/ 75533 h 409479"/>
                <a:gd name="connsiteX46" fmla="*/ 51149 w 268223"/>
                <a:gd name="connsiteY46" fmla="*/ 70104 h 409479"/>
                <a:gd name="connsiteX47" fmla="*/ 58293 w 268223"/>
                <a:gd name="connsiteY47" fmla="*/ 58865 h 409479"/>
                <a:gd name="connsiteX48" fmla="*/ 62294 w 268223"/>
                <a:gd name="connsiteY48" fmla="*/ 56388 h 409479"/>
                <a:gd name="connsiteX49" fmla="*/ 86582 w 268223"/>
                <a:gd name="connsiteY49" fmla="*/ 39719 h 409479"/>
                <a:gd name="connsiteX50" fmla="*/ 102394 w 268223"/>
                <a:gd name="connsiteY50" fmla="*/ 19336 h 409479"/>
                <a:gd name="connsiteX51" fmla="*/ 114967 w 268223"/>
                <a:gd name="connsiteY51" fmla="*/ 0 h 409479"/>
                <a:gd name="connsiteX52" fmla="*/ 121348 w 268223"/>
                <a:gd name="connsiteY52" fmla="*/ 16097 h 409479"/>
                <a:gd name="connsiteX53" fmla="*/ 122777 w 268223"/>
                <a:gd name="connsiteY53" fmla="*/ 40481 h 409479"/>
                <a:gd name="connsiteX54" fmla="*/ 117919 w 268223"/>
                <a:gd name="connsiteY54" fmla="*/ 67437 h 409479"/>
                <a:gd name="connsiteX55" fmla="*/ 110300 w 268223"/>
                <a:gd name="connsiteY55" fmla="*/ 78962 h 409479"/>
                <a:gd name="connsiteX56" fmla="*/ 115157 w 268223"/>
                <a:gd name="connsiteY56" fmla="*/ 91821 h 409479"/>
                <a:gd name="connsiteX57" fmla="*/ 129730 w 268223"/>
                <a:gd name="connsiteY57" fmla="*/ 102108 h 409479"/>
                <a:gd name="connsiteX58" fmla="*/ 150590 w 268223"/>
                <a:gd name="connsiteY58" fmla="*/ 114967 h 409479"/>
                <a:gd name="connsiteX59" fmla="*/ 161068 w 268223"/>
                <a:gd name="connsiteY59" fmla="*/ 143161 h 409479"/>
                <a:gd name="connsiteX60" fmla="*/ 154115 w 268223"/>
                <a:gd name="connsiteY60" fmla="*/ 162401 h 409479"/>
                <a:gd name="connsiteX61" fmla="*/ 140208 w 268223"/>
                <a:gd name="connsiteY61" fmla="*/ 181546 h 409479"/>
                <a:gd name="connsiteX62" fmla="*/ 136684 w 268223"/>
                <a:gd name="connsiteY62" fmla="*/ 200692 h 409479"/>
                <a:gd name="connsiteX63" fmla="*/ 147828 w 268223"/>
                <a:gd name="connsiteY63" fmla="*/ 213455 h 409479"/>
                <a:gd name="connsiteX64" fmla="*/ 140208 w 268223"/>
                <a:gd name="connsiteY64" fmla="*/ 222409 h 409479"/>
                <a:gd name="connsiteX65" fmla="*/ 126302 w 268223"/>
                <a:gd name="connsiteY65" fmla="*/ 236506 h 409479"/>
                <a:gd name="connsiteX66" fmla="*/ 129064 w 268223"/>
                <a:gd name="connsiteY66" fmla="*/ 246698 h 409479"/>
                <a:gd name="connsiteX67" fmla="*/ 149257 w 268223"/>
                <a:gd name="connsiteY67" fmla="*/ 240316 h 409479"/>
                <a:gd name="connsiteX68" fmla="*/ 179165 w 268223"/>
                <a:gd name="connsiteY68" fmla="*/ 250507 h 409479"/>
                <a:gd name="connsiteX69" fmla="*/ 216027 w 268223"/>
                <a:gd name="connsiteY69" fmla="*/ 254317 h 409479"/>
                <a:gd name="connsiteX70" fmla="*/ 243173 w 268223"/>
                <a:gd name="connsiteY70" fmla="*/ 242888 h 409479"/>
                <a:gd name="connsiteX71" fmla="*/ 256889 w 268223"/>
                <a:gd name="connsiteY71" fmla="*/ 235839 h 409479"/>
                <a:gd name="connsiteX72" fmla="*/ 262700 w 268223"/>
                <a:gd name="connsiteY72" fmla="*/ 237173 h 409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268223" h="409479">
                  <a:moveTo>
                    <a:pt x="262509" y="237173"/>
                  </a:moveTo>
                  <a:lnTo>
                    <a:pt x="268224" y="265748"/>
                  </a:lnTo>
                  <a:lnTo>
                    <a:pt x="250793" y="273177"/>
                  </a:lnTo>
                  <a:lnTo>
                    <a:pt x="260413" y="321850"/>
                  </a:lnTo>
                  <a:lnTo>
                    <a:pt x="246793" y="333565"/>
                  </a:lnTo>
                  <a:lnTo>
                    <a:pt x="230124" y="338519"/>
                  </a:lnTo>
                  <a:lnTo>
                    <a:pt x="225552" y="338519"/>
                  </a:lnTo>
                  <a:cubicBezTo>
                    <a:pt x="225552" y="338519"/>
                    <a:pt x="222504" y="337375"/>
                    <a:pt x="222504" y="337375"/>
                  </a:cubicBezTo>
                  <a:lnTo>
                    <a:pt x="216884" y="332518"/>
                  </a:lnTo>
                  <a:lnTo>
                    <a:pt x="196215" y="345757"/>
                  </a:lnTo>
                  <a:lnTo>
                    <a:pt x="193834" y="351473"/>
                  </a:lnTo>
                  <a:lnTo>
                    <a:pt x="193453" y="357664"/>
                  </a:lnTo>
                  <a:lnTo>
                    <a:pt x="197453" y="368998"/>
                  </a:lnTo>
                  <a:lnTo>
                    <a:pt x="187452" y="393192"/>
                  </a:lnTo>
                  <a:lnTo>
                    <a:pt x="176784" y="396811"/>
                  </a:lnTo>
                  <a:lnTo>
                    <a:pt x="154781" y="396240"/>
                  </a:lnTo>
                  <a:lnTo>
                    <a:pt x="146113" y="400526"/>
                  </a:lnTo>
                  <a:lnTo>
                    <a:pt x="137541" y="409480"/>
                  </a:lnTo>
                  <a:lnTo>
                    <a:pt x="118681" y="404908"/>
                  </a:lnTo>
                  <a:lnTo>
                    <a:pt x="107061" y="389192"/>
                  </a:lnTo>
                  <a:lnTo>
                    <a:pt x="98012" y="361283"/>
                  </a:lnTo>
                  <a:lnTo>
                    <a:pt x="92488" y="337185"/>
                  </a:lnTo>
                  <a:lnTo>
                    <a:pt x="84868" y="328327"/>
                  </a:lnTo>
                  <a:lnTo>
                    <a:pt x="61150" y="332137"/>
                  </a:lnTo>
                  <a:lnTo>
                    <a:pt x="44482" y="325755"/>
                  </a:lnTo>
                  <a:lnTo>
                    <a:pt x="40957" y="309277"/>
                  </a:lnTo>
                  <a:lnTo>
                    <a:pt x="48577" y="293942"/>
                  </a:lnTo>
                  <a:lnTo>
                    <a:pt x="40957" y="279940"/>
                  </a:lnTo>
                  <a:lnTo>
                    <a:pt x="38862" y="269748"/>
                  </a:lnTo>
                  <a:lnTo>
                    <a:pt x="38195" y="250603"/>
                  </a:lnTo>
                  <a:lnTo>
                    <a:pt x="21527" y="244221"/>
                  </a:lnTo>
                  <a:lnTo>
                    <a:pt x="4858" y="226314"/>
                  </a:lnTo>
                  <a:lnTo>
                    <a:pt x="0" y="208407"/>
                  </a:lnTo>
                  <a:lnTo>
                    <a:pt x="4858" y="185356"/>
                  </a:lnTo>
                  <a:lnTo>
                    <a:pt x="17431" y="182785"/>
                  </a:lnTo>
                  <a:lnTo>
                    <a:pt x="23717" y="176403"/>
                  </a:lnTo>
                  <a:lnTo>
                    <a:pt x="18859" y="163640"/>
                  </a:lnTo>
                  <a:lnTo>
                    <a:pt x="14669" y="149542"/>
                  </a:lnTo>
                  <a:lnTo>
                    <a:pt x="9144" y="134207"/>
                  </a:lnTo>
                  <a:lnTo>
                    <a:pt x="30766" y="126492"/>
                  </a:lnTo>
                  <a:lnTo>
                    <a:pt x="37052" y="116300"/>
                  </a:lnTo>
                  <a:lnTo>
                    <a:pt x="48196" y="108585"/>
                  </a:lnTo>
                  <a:lnTo>
                    <a:pt x="53721" y="99631"/>
                  </a:lnTo>
                  <a:lnTo>
                    <a:pt x="44101" y="86868"/>
                  </a:lnTo>
                  <a:lnTo>
                    <a:pt x="48196" y="81248"/>
                  </a:lnTo>
                  <a:lnTo>
                    <a:pt x="50292" y="75533"/>
                  </a:lnTo>
                  <a:lnTo>
                    <a:pt x="51149" y="70104"/>
                  </a:lnTo>
                  <a:lnTo>
                    <a:pt x="58293" y="58865"/>
                  </a:lnTo>
                  <a:lnTo>
                    <a:pt x="62294" y="56388"/>
                  </a:lnTo>
                  <a:lnTo>
                    <a:pt x="86582" y="39719"/>
                  </a:lnTo>
                  <a:lnTo>
                    <a:pt x="102394" y="19336"/>
                  </a:lnTo>
                  <a:lnTo>
                    <a:pt x="114967" y="0"/>
                  </a:lnTo>
                  <a:lnTo>
                    <a:pt x="121348" y="16097"/>
                  </a:lnTo>
                  <a:lnTo>
                    <a:pt x="122777" y="40481"/>
                  </a:lnTo>
                  <a:lnTo>
                    <a:pt x="117919" y="67437"/>
                  </a:lnTo>
                  <a:lnTo>
                    <a:pt x="110300" y="78962"/>
                  </a:lnTo>
                  <a:lnTo>
                    <a:pt x="115157" y="91821"/>
                  </a:lnTo>
                  <a:lnTo>
                    <a:pt x="129730" y="102108"/>
                  </a:lnTo>
                  <a:lnTo>
                    <a:pt x="150590" y="114967"/>
                  </a:lnTo>
                  <a:lnTo>
                    <a:pt x="161068" y="143161"/>
                  </a:lnTo>
                  <a:lnTo>
                    <a:pt x="154115" y="162401"/>
                  </a:lnTo>
                  <a:lnTo>
                    <a:pt x="140208" y="181546"/>
                  </a:lnTo>
                  <a:lnTo>
                    <a:pt x="136684" y="200692"/>
                  </a:lnTo>
                  <a:lnTo>
                    <a:pt x="147828" y="213455"/>
                  </a:lnTo>
                  <a:lnTo>
                    <a:pt x="140208" y="222409"/>
                  </a:lnTo>
                  <a:lnTo>
                    <a:pt x="126302" y="236506"/>
                  </a:lnTo>
                  <a:lnTo>
                    <a:pt x="129064" y="246698"/>
                  </a:lnTo>
                  <a:lnTo>
                    <a:pt x="149257" y="240316"/>
                  </a:lnTo>
                  <a:lnTo>
                    <a:pt x="179165" y="250507"/>
                  </a:lnTo>
                  <a:lnTo>
                    <a:pt x="216027" y="254317"/>
                  </a:lnTo>
                  <a:lnTo>
                    <a:pt x="243173" y="242888"/>
                  </a:lnTo>
                  <a:lnTo>
                    <a:pt x="256889" y="235839"/>
                  </a:lnTo>
                  <a:lnTo>
                    <a:pt x="262700" y="237173"/>
                  </a:lnTo>
                </a:path>
              </a:pathLst>
            </a:custGeom>
            <a:grpFill/>
            <a:ln w="2381" cap="sq">
              <a:noFill/>
              <a:prstDash val="solid"/>
              <a:bevel/>
            </a:ln>
          </p:spPr>
          <p:txBody>
            <a:bodyPr rtlCol="0" anchor="ctr"/>
            <a:lstStyle/>
            <a:p>
              <a:endParaRPr lang="cs-CZ"/>
            </a:p>
          </p:txBody>
        </p:sp>
        <p:sp>
          <p:nvSpPr>
            <p:cNvPr id="277" name="Freeform: Shape 276">
              <a:extLst>
                <a:ext uri="{FF2B5EF4-FFF2-40B4-BE49-F238E27FC236}">
                  <a16:creationId xmlns:a16="http://schemas.microsoft.com/office/drawing/2014/main" id="{3BA34DAB-1937-564C-F4D0-3EB0B1B8DFC2}"/>
                </a:ext>
              </a:extLst>
            </p:cNvPr>
            <p:cNvSpPr/>
            <p:nvPr/>
          </p:nvSpPr>
          <p:spPr>
            <a:xfrm>
              <a:off x="12280200" y="8114852"/>
              <a:ext cx="291179" cy="270700"/>
            </a:xfrm>
            <a:custGeom>
              <a:avLst/>
              <a:gdLst>
                <a:gd name="connsiteX0" fmla="*/ 241268 w 291179"/>
                <a:gd name="connsiteY0" fmla="*/ 16859 h 270700"/>
                <a:gd name="connsiteX1" fmla="*/ 245840 w 291179"/>
                <a:gd name="connsiteY1" fmla="*/ 16859 h 270700"/>
                <a:gd name="connsiteX2" fmla="*/ 262509 w 291179"/>
                <a:gd name="connsiteY2" fmla="*/ 11716 h 270700"/>
                <a:gd name="connsiteX3" fmla="*/ 276130 w 291179"/>
                <a:gd name="connsiteY3" fmla="*/ 0 h 270700"/>
                <a:gd name="connsiteX4" fmla="*/ 283464 w 291179"/>
                <a:gd name="connsiteY4" fmla="*/ 5429 h 270700"/>
                <a:gd name="connsiteX5" fmla="*/ 291179 w 291179"/>
                <a:gd name="connsiteY5" fmla="*/ 37148 h 270700"/>
                <a:gd name="connsiteX6" fmla="*/ 282511 w 291179"/>
                <a:gd name="connsiteY6" fmla="*/ 49054 h 270700"/>
                <a:gd name="connsiteX7" fmla="*/ 265557 w 291179"/>
                <a:gd name="connsiteY7" fmla="*/ 57817 h 270700"/>
                <a:gd name="connsiteX8" fmla="*/ 256699 w 291179"/>
                <a:gd name="connsiteY8" fmla="*/ 65437 h 270700"/>
                <a:gd name="connsiteX9" fmla="*/ 249269 w 291179"/>
                <a:gd name="connsiteY9" fmla="*/ 77533 h 270700"/>
                <a:gd name="connsiteX10" fmla="*/ 259080 w 291179"/>
                <a:gd name="connsiteY10" fmla="*/ 84677 h 270700"/>
                <a:gd name="connsiteX11" fmla="*/ 266986 w 291179"/>
                <a:gd name="connsiteY11" fmla="*/ 87725 h 270700"/>
                <a:gd name="connsiteX12" fmla="*/ 272891 w 291179"/>
                <a:gd name="connsiteY12" fmla="*/ 93250 h 270700"/>
                <a:gd name="connsiteX13" fmla="*/ 274130 w 291179"/>
                <a:gd name="connsiteY13" fmla="*/ 96393 h 270700"/>
                <a:gd name="connsiteX14" fmla="*/ 273463 w 291179"/>
                <a:gd name="connsiteY14" fmla="*/ 98965 h 270700"/>
                <a:gd name="connsiteX15" fmla="*/ 275177 w 291179"/>
                <a:gd name="connsiteY15" fmla="*/ 107347 h 270700"/>
                <a:gd name="connsiteX16" fmla="*/ 275558 w 291179"/>
                <a:gd name="connsiteY16" fmla="*/ 110585 h 270700"/>
                <a:gd name="connsiteX17" fmla="*/ 271939 w 291179"/>
                <a:gd name="connsiteY17" fmla="*/ 113443 h 270700"/>
                <a:gd name="connsiteX18" fmla="*/ 259651 w 291179"/>
                <a:gd name="connsiteY18" fmla="*/ 123825 h 270700"/>
                <a:gd name="connsiteX19" fmla="*/ 257175 w 291179"/>
                <a:gd name="connsiteY19" fmla="*/ 128873 h 270700"/>
                <a:gd name="connsiteX20" fmla="*/ 251936 w 291179"/>
                <a:gd name="connsiteY20" fmla="*/ 137541 h 270700"/>
                <a:gd name="connsiteX21" fmla="*/ 247364 w 291179"/>
                <a:gd name="connsiteY21" fmla="*/ 141827 h 270700"/>
                <a:gd name="connsiteX22" fmla="*/ 244602 w 291179"/>
                <a:gd name="connsiteY22" fmla="*/ 148590 h 270700"/>
                <a:gd name="connsiteX23" fmla="*/ 273558 w 291179"/>
                <a:gd name="connsiteY23" fmla="*/ 153448 h 270700"/>
                <a:gd name="connsiteX24" fmla="*/ 272320 w 291179"/>
                <a:gd name="connsiteY24" fmla="*/ 162401 h 270700"/>
                <a:gd name="connsiteX25" fmla="*/ 261175 w 291179"/>
                <a:gd name="connsiteY25" fmla="*/ 167926 h 270700"/>
                <a:gd name="connsiteX26" fmla="*/ 256603 w 291179"/>
                <a:gd name="connsiteY26" fmla="*/ 169354 h 270700"/>
                <a:gd name="connsiteX27" fmla="*/ 254794 w 291179"/>
                <a:gd name="connsiteY27" fmla="*/ 173736 h 270700"/>
                <a:gd name="connsiteX28" fmla="*/ 255746 w 291179"/>
                <a:gd name="connsiteY28" fmla="*/ 178498 h 270700"/>
                <a:gd name="connsiteX29" fmla="*/ 260223 w 291179"/>
                <a:gd name="connsiteY29" fmla="*/ 183928 h 270700"/>
                <a:gd name="connsiteX30" fmla="*/ 265176 w 291179"/>
                <a:gd name="connsiteY30" fmla="*/ 192119 h 270700"/>
                <a:gd name="connsiteX31" fmla="*/ 265462 w 291179"/>
                <a:gd name="connsiteY31" fmla="*/ 202692 h 270700"/>
                <a:gd name="connsiteX32" fmla="*/ 260890 w 291179"/>
                <a:gd name="connsiteY32" fmla="*/ 219742 h 270700"/>
                <a:gd name="connsiteX33" fmla="*/ 257175 w 291179"/>
                <a:gd name="connsiteY33" fmla="*/ 224219 h 270700"/>
                <a:gd name="connsiteX34" fmla="*/ 248317 w 291179"/>
                <a:gd name="connsiteY34" fmla="*/ 228410 h 270700"/>
                <a:gd name="connsiteX35" fmla="*/ 240030 w 291179"/>
                <a:gd name="connsiteY35" fmla="*/ 210312 h 270700"/>
                <a:gd name="connsiteX36" fmla="*/ 235839 w 291179"/>
                <a:gd name="connsiteY36" fmla="*/ 191357 h 270700"/>
                <a:gd name="connsiteX37" fmla="*/ 225361 w 291179"/>
                <a:gd name="connsiteY37" fmla="*/ 191357 h 270700"/>
                <a:gd name="connsiteX38" fmla="*/ 209359 w 291179"/>
                <a:gd name="connsiteY38" fmla="*/ 214027 h 270700"/>
                <a:gd name="connsiteX39" fmla="*/ 193357 w 291179"/>
                <a:gd name="connsiteY39" fmla="*/ 230410 h 270700"/>
                <a:gd name="connsiteX40" fmla="*/ 198882 w 291179"/>
                <a:gd name="connsiteY40" fmla="*/ 245554 h 270700"/>
                <a:gd name="connsiteX41" fmla="*/ 207264 w 291179"/>
                <a:gd name="connsiteY41" fmla="*/ 251841 h 270700"/>
                <a:gd name="connsiteX42" fmla="*/ 194024 w 291179"/>
                <a:gd name="connsiteY42" fmla="*/ 255651 h 270700"/>
                <a:gd name="connsiteX43" fmla="*/ 170307 w 291179"/>
                <a:gd name="connsiteY43" fmla="*/ 255651 h 270700"/>
                <a:gd name="connsiteX44" fmla="*/ 153638 w 291179"/>
                <a:gd name="connsiteY44" fmla="*/ 258127 h 270700"/>
                <a:gd name="connsiteX45" fmla="*/ 144590 w 291179"/>
                <a:gd name="connsiteY45" fmla="*/ 270700 h 270700"/>
                <a:gd name="connsiteX46" fmla="*/ 136969 w 291179"/>
                <a:gd name="connsiteY46" fmla="*/ 261842 h 270700"/>
                <a:gd name="connsiteX47" fmla="*/ 134207 w 291179"/>
                <a:gd name="connsiteY47" fmla="*/ 244221 h 270700"/>
                <a:gd name="connsiteX48" fmla="*/ 121634 w 291179"/>
                <a:gd name="connsiteY48" fmla="*/ 237935 h 270700"/>
                <a:gd name="connsiteX49" fmla="*/ 120205 w 291179"/>
                <a:gd name="connsiteY49" fmla="*/ 206407 h 270700"/>
                <a:gd name="connsiteX50" fmla="*/ 120872 w 291179"/>
                <a:gd name="connsiteY50" fmla="*/ 191262 h 270700"/>
                <a:gd name="connsiteX51" fmla="*/ 112490 w 291179"/>
                <a:gd name="connsiteY51" fmla="*/ 187452 h 270700"/>
                <a:gd name="connsiteX52" fmla="*/ 102775 w 291179"/>
                <a:gd name="connsiteY52" fmla="*/ 168497 h 270700"/>
                <a:gd name="connsiteX53" fmla="*/ 95155 w 291179"/>
                <a:gd name="connsiteY53" fmla="*/ 159639 h 270700"/>
                <a:gd name="connsiteX54" fmla="*/ 79153 w 291179"/>
                <a:gd name="connsiteY54" fmla="*/ 168497 h 270700"/>
                <a:gd name="connsiteX55" fmla="*/ 71533 w 291179"/>
                <a:gd name="connsiteY55" fmla="*/ 152019 h 270700"/>
                <a:gd name="connsiteX56" fmla="*/ 57626 w 291179"/>
                <a:gd name="connsiteY56" fmla="*/ 160877 h 270700"/>
                <a:gd name="connsiteX57" fmla="*/ 59722 w 291179"/>
                <a:gd name="connsiteY57" fmla="*/ 174784 h 270700"/>
                <a:gd name="connsiteX58" fmla="*/ 46482 w 291179"/>
                <a:gd name="connsiteY58" fmla="*/ 176022 h 270700"/>
                <a:gd name="connsiteX59" fmla="*/ 33242 w 291179"/>
                <a:gd name="connsiteY59" fmla="*/ 186119 h 270700"/>
                <a:gd name="connsiteX60" fmla="*/ 27718 w 291179"/>
                <a:gd name="connsiteY60" fmla="*/ 196215 h 270700"/>
                <a:gd name="connsiteX61" fmla="*/ 22193 w 291179"/>
                <a:gd name="connsiteY61" fmla="*/ 194977 h 270700"/>
                <a:gd name="connsiteX62" fmla="*/ 18002 w 291179"/>
                <a:gd name="connsiteY62" fmla="*/ 179832 h 270700"/>
                <a:gd name="connsiteX63" fmla="*/ 8192 w 291179"/>
                <a:gd name="connsiteY63" fmla="*/ 175260 h 270700"/>
                <a:gd name="connsiteX64" fmla="*/ 5810 w 291179"/>
                <a:gd name="connsiteY64" fmla="*/ 167735 h 270700"/>
                <a:gd name="connsiteX65" fmla="*/ 4477 w 291179"/>
                <a:gd name="connsiteY65" fmla="*/ 166021 h 270700"/>
                <a:gd name="connsiteX66" fmla="*/ 2857 w 291179"/>
                <a:gd name="connsiteY66" fmla="*/ 162877 h 270700"/>
                <a:gd name="connsiteX67" fmla="*/ 667 w 291179"/>
                <a:gd name="connsiteY67" fmla="*/ 161449 h 270700"/>
                <a:gd name="connsiteX68" fmla="*/ 0 w 291179"/>
                <a:gd name="connsiteY68" fmla="*/ 158591 h 270700"/>
                <a:gd name="connsiteX69" fmla="*/ 0 w 291179"/>
                <a:gd name="connsiteY69" fmla="*/ 155162 h 270700"/>
                <a:gd name="connsiteX70" fmla="*/ 0 w 291179"/>
                <a:gd name="connsiteY70" fmla="*/ 151829 h 270700"/>
                <a:gd name="connsiteX71" fmla="*/ 1524 w 291179"/>
                <a:gd name="connsiteY71" fmla="*/ 148400 h 270700"/>
                <a:gd name="connsiteX72" fmla="*/ 6286 w 291179"/>
                <a:gd name="connsiteY72" fmla="*/ 147542 h 270700"/>
                <a:gd name="connsiteX73" fmla="*/ 15621 w 291179"/>
                <a:gd name="connsiteY73" fmla="*/ 147542 h 270700"/>
                <a:gd name="connsiteX74" fmla="*/ 20288 w 291179"/>
                <a:gd name="connsiteY74" fmla="*/ 145256 h 270700"/>
                <a:gd name="connsiteX75" fmla="*/ 24765 w 291179"/>
                <a:gd name="connsiteY75" fmla="*/ 140494 h 270700"/>
                <a:gd name="connsiteX76" fmla="*/ 30004 w 291179"/>
                <a:gd name="connsiteY76" fmla="*/ 130873 h 270700"/>
                <a:gd name="connsiteX77" fmla="*/ 31909 w 291179"/>
                <a:gd name="connsiteY77" fmla="*/ 121348 h 270700"/>
                <a:gd name="connsiteX78" fmla="*/ 23527 w 291179"/>
                <a:gd name="connsiteY78" fmla="*/ 111252 h 270700"/>
                <a:gd name="connsiteX79" fmla="*/ 20002 w 291179"/>
                <a:gd name="connsiteY79" fmla="*/ 101917 h 270700"/>
                <a:gd name="connsiteX80" fmla="*/ 10858 w 291179"/>
                <a:gd name="connsiteY80" fmla="*/ 97060 h 270700"/>
                <a:gd name="connsiteX81" fmla="*/ 8858 w 291179"/>
                <a:gd name="connsiteY81" fmla="*/ 84582 h 270700"/>
                <a:gd name="connsiteX82" fmla="*/ 18955 w 291179"/>
                <a:gd name="connsiteY82" fmla="*/ 83153 h 270700"/>
                <a:gd name="connsiteX83" fmla="*/ 38100 w 291179"/>
                <a:gd name="connsiteY83" fmla="*/ 75343 h 270700"/>
                <a:gd name="connsiteX84" fmla="*/ 49054 w 291179"/>
                <a:gd name="connsiteY84" fmla="*/ 73533 h 270700"/>
                <a:gd name="connsiteX85" fmla="*/ 81248 w 291179"/>
                <a:gd name="connsiteY85" fmla="*/ 74200 h 270700"/>
                <a:gd name="connsiteX86" fmla="*/ 97822 w 291179"/>
                <a:gd name="connsiteY86" fmla="*/ 85439 h 270700"/>
                <a:gd name="connsiteX87" fmla="*/ 119348 w 291179"/>
                <a:gd name="connsiteY87" fmla="*/ 88487 h 270700"/>
                <a:gd name="connsiteX88" fmla="*/ 125349 w 291179"/>
                <a:gd name="connsiteY88" fmla="*/ 87821 h 270700"/>
                <a:gd name="connsiteX89" fmla="*/ 134684 w 291179"/>
                <a:gd name="connsiteY89" fmla="*/ 82677 h 270700"/>
                <a:gd name="connsiteX90" fmla="*/ 153543 w 291179"/>
                <a:gd name="connsiteY90" fmla="*/ 87249 h 270700"/>
                <a:gd name="connsiteX91" fmla="*/ 162115 w 291179"/>
                <a:gd name="connsiteY91" fmla="*/ 78296 h 270700"/>
                <a:gd name="connsiteX92" fmla="*/ 170783 w 291179"/>
                <a:gd name="connsiteY92" fmla="*/ 74009 h 270700"/>
                <a:gd name="connsiteX93" fmla="*/ 192786 w 291179"/>
                <a:gd name="connsiteY93" fmla="*/ 74581 h 270700"/>
                <a:gd name="connsiteX94" fmla="*/ 203454 w 291179"/>
                <a:gd name="connsiteY94" fmla="*/ 70961 h 270700"/>
                <a:gd name="connsiteX95" fmla="*/ 213455 w 291179"/>
                <a:gd name="connsiteY95" fmla="*/ 46768 h 270700"/>
                <a:gd name="connsiteX96" fmla="*/ 209455 w 291179"/>
                <a:gd name="connsiteY96" fmla="*/ 35433 h 270700"/>
                <a:gd name="connsiteX97" fmla="*/ 209836 w 291179"/>
                <a:gd name="connsiteY97" fmla="*/ 29242 h 270700"/>
                <a:gd name="connsiteX98" fmla="*/ 212217 w 291179"/>
                <a:gd name="connsiteY98" fmla="*/ 23527 h 270700"/>
                <a:gd name="connsiteX99" fmla="*/ 232886 w 291179"/>
                <a:gd name="connsiteY99" fmla="*/ 10287 h 270700"/>
                <a:gd name="connsiteX100" fmla="*/ 238506 w 291179"/>
                <a:gd name="connsiteY100" fmla="*/ 15145 h 270700"/>
                <a:gd name="connsiteX101" fmla="*/ 241554 w 291179"/>
                <a:gd name="connsiteY101" fmla="*/ 16383 h 2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291179" h="270700">
                  <a:moveTo>
                    <a:pt x="241268" y="16859"/>
                  </a:moveTo>
                  <a:lnTo>
                    <a:pt x="245840" y="16859"/>
                  </a:lnTo>
                  <a:cubicBezTo>
                    <a:pt x="245840" y="16859"/>
                    <a:pt x="262509" y="11716"/>
                    <a:pt x="262509" y="11716"/>
                  </a:cubicBezTo>
                  <a:lnTo>
                    <a:pt x="276130" y="0"/>
                  </a:lnTo>
                  <a:lnTo>
                    <a:pt x="283464" y="5429"/>
                  </a:lnTo>
                  <a:lnTo>
                    <a:pt x="291179" y="37148"/>
                  </a:lnTo>
                  <a:lnTo>
                    <a:pt x="282511" y="49054"/>
                  </a:lnTo>
                  <a:lnTo>
                    <a:pt x="265557" y="57817"/>
                  </a:lnTo>
                  <a:lnTo>
                    <a:pt x="256699" y="65437"/>
                  </a:lnTo>
                  <a:lnTo>
                    <a:pt x="249269" y="77533"/>
                  </a:lnTo>
                  <a:lnTo>
                    <a:pt x="259080" y="84677"/>
                  </a:lnTo>
                  <a:lnTo>
                    <a:pt x="266986" y="87725"/>
                  </a:lnTo>
                  <a:lnTo>
                    <a:pt x="272891" y="93250"/>
                  </a:lnTo>
                  <a:lnTo>
                    <a:pt x="274130" y="96393"/>
                  </a:lnTo>
                  <a:lnTo>
                    <a:pt x="273463" y="98965"/>
                  </a:lnTo>
                  <a:lnTo>
                    <a:pt x="275177" y="107347"/>
                  </a:lnTo>
                  <a:lnTo>
                    <a:pt x="275558" y="110585"/>
                  </a:lnTo>
                  <a:lnTo>
                    <a:pt x="271939" y="113443"/>
                  </a:lnTo>
                  <a:lnTo>
                    <a:pt x="259651" y="123825"/>
                  </a:lnTo>
                  <a:lnTo>
                    <a:pt x="257175" y="128873"/>
                  </a:lnTo>
                  <a:lnTo>
                    <a:pt x="251936" y="137541"/>
                  </a:lnTo>
                  <a:lnTo>
                    <a:pt x="247364" y="141827"/>
                  </a:lnTo>
                  <a:lnTo>
                    <a:pt x="244602" y="148590"/>
                  </a:lnTo>
                  <a:lnTo>
                    <a:pt x="273558" y="153448"/>
                  </a:lnTo>
                  <a:lnTo>
                    <a:pt x="272320" y="162401"/>
                  </a:lnTo>
                  <a:lnTo>
                    <a:pt x="261175" y="167926"/>
                  </a:lnTo>
                  <a:lnTo>
                    <a:pt x="256603" y="169354"/>
                  </a:lnTo>
                  <a:lnTo>
                    <a:pt x="254794" y="173736"/>
                  </a:lnTo>
                  <a:lnTo>
                    <a:pt x="255746" y="178498"/>
                  </a:lnTo>
                  <a:lnTo>
                    <a:pt x="260223" y="183928"/>
                  </a:lnTo>
                  <a:lnTo>
                    <a:pt x="265176" y="192119"/>
                  </a:lnTo>
                  <a:lnTo>
                    <a:pt x="265462" y="202692"/>
                  </a:lnTo>
                  <a:lnTo>
                    <a:pt x="260890" y="219742"/>
                  </a:lnTo>
                  <a:lnTo>
                    <a:pt x="257175" y="224219"/>
                  </a:lnTo>
                  <a:lnTo>
                    <a:pt x="248317" y="228410"/>
                  </a:lnTo>
                  <a:lnTo>
                    <a:pt x="240030" y="210312"/>
                  </a:lnTo>
                  <a:lnTo>
                    <a:pt x="235839" y="191357"/>
                  </a:lnTo>
                  <a:lnTo>
                    <a:pt x="225361" y="191357"/>
                  </a:lnTo>
                  <a:lnTo>
                    <a:pt x="209359" y="214027"/>
                  </a:lnTo>
                  <a:lnTo>
                    <a:pt x="193357" y="230410"/>
                  </a:lnTo>
                  <a:lnTo>
                    <a:pt x="198882" y="245554"/>
                  </a:lnTo>
                  <a:lnTo>
                    <a:pt x="207264" y="251841"/>
                  </a:lnTo>
                  <a:lnTo>
                    <a:pt x="194024" y="255651"/>
                  </a:lnTo>
                  <a:lnTo>
                    <a:pt x="170307" y="255651"/>
                  </a:lnTo>
                  <a:lnTo>
                    <a:pt x="153638" y="258127"/>
                  </a:lnTo>
                  <a:lnTo>
                    <a:pt x="144590" y="270700"/>
                  </a:lnTo>
                  <a:lnTo>
                    <a:pt x="136969" y="261842"/>
                  </a:lnTo>
                  <a:lnTo>
                    <a:pt x="134207" y="244221"/>
                  </a:lnTo>
                  <a:lnTo>
                    <a:pt x="121634" y="237935"/>
                  </a:lnTo>
                  <a:lnTo>
                    <a:pt x="120205" y="206407"/>
                  </a:lnTo>
                  <a:lnTo>
                    <a:pt x="120872" y="191262"/>
                  </a:lnTo>
                  <a:lnTo>
                    <a:pt x="112490" y="187452"/>
                  </a:lnTo>
                  <a:lnTo>
                    <a:pt x="102775" y="168497"/>
                  </a:lnTo>
                  <a:lnTo>
                    <a:pt x="95155" y="159639"/>
                  </a:lnTo>
                  <a:lnTo>
                    <a:pt x="79153" y="168497"/>
                  </a:lnTo>
                  <a:lnTo>
                    <a:pt x="71533" y="152019"/>
                  </a:lnTo>
                  <a:lnTo>
                    <a:pt x="57626" y="160877"/>
                  </a:lnTo>
                  <a:lnTo>
                    <a:pt x="59722" y="174784"/>
                  </a:lnTo>
                  <a:lnTo>
                    <a:pt x="46482" y="176022"/>
                  </a:lnTo>
                  <a:lnTo>
                    <a:pt x="33242" y="186119"/>
                  </a:lnTo>
                  <a:lnTo>
                    <a:pt x="27718" y="196215"/>
                  </a:lnTo>
                  <a:lnTo>
                    <a:pt x="22193" y="194977"/>
                  </a:lnTo>
                  <a:lnTo>
                    <a:pt x="18002" y="179832"/>
                  </a:lnTo>
                  <a:lnTo>
                    <a:pt x="8192" y="175260"/>
                  </a:lnTo>
                  <a:lnTo>
                    <a:pt x="5810" y="167735"/>
                  </a:lnTo>
                  <a:lnTo>
                    <a:pt x="4477" y="166021"/>
                  </a:lnTo>
                  <a:lnTo>
                    <a:pt x="2857" y="162877"/>
                  </a:lnTo>
                  <a:lnTo>
                    <a:pt x="667" y="161449"/>
                  </a:lnTo>
                  <a:lnTo>
                    <a:pt x="0" y="158591"/>
                  </a:lnTo>
                  <a:lnTo>
                    <a:pt x="0" y="155162"/>
                  </a:lnTo>
                  <a:cubicBezTo>
                    <a:pt x="0" y="155162"/>
                    <a:pt x="0" y="151829"/>
                    <a:pt x="0" y="151829"/>
                  </a:cubicBezTo>
                  <a:lnTo>
                    <a:pt x="1524" y="148400"/>
                  </a:lnTo>
                  <a:lnTo>
                    <a:pt x="6286" y="147542"/>
                  </a:lnTo>
                  <a:lnTo>
                    <a:pt x="15621" y="147542"/>
                  </a:lnTo>
                  <a:cubicBezTo>
                    <a:pt x="15621" y="147542"/>
                    <a:pt x="20288" y="145256"/>
                    <a:pt x="20288" y="145256"/>
                  </a:cubicBezTo>
                  <a:lnTo>
                    <a:pt x="24765" y="140494"/>
                  </a:lnTo>
                  <a:lnTo>
                    <a:pt x="30004" y="130873"/>
                  </a:lnTo>
                  <a:lnTo>
                    <a:pt x="31909" y="121348"/>
                  </a:lnTo>
                  <a:lnTo>
                    <a:pt x="23527" y="111252"/>
                  </a:lnTo>
                  <a:lnTo>
                    <a:pt x="20002" y="101917"/>
                  </a:lnTo>
                  <a:lnTo>
                    <a:pt x="10858" y="97060"/>
                  </a:lnTo>
                  <a:lnTo>
                    <a:pt x="8858" y="84582"/>
                  </a:lnTo>
                  <a:lnTo>
                    <a:pt x="18955" y="83153"/>
                  </a:lnTo>
                  <a:lnTo>
                    <a:pt x="38100" y="75343"/>
                  </a:lnTo>
                  <a:lnTo>
                    <a:pt x="49054" y="73533"/>
                  </a:lnTo>
                  <a:lnTo>
                    <a:pt x="81248" y="74200"/>
                  </a:lnTo>
                  <a:lnTo>
                    <a:pt x="97822" y="85439"/>
                  </a:lnTo>
                  <a:lnTo>
                    <a:pt x="119348" y="88487"/>
                  </a:lnTo>
                  <a:lnTo>
                    <a:pt x="125349" y="87821"/>
                  </a:lnTo>
                  <a:lnTo>
                    <a:pt x="134684" y="82677"/>
                  </a:lnTo>
                  <a:lnTo>
                    <a:pt x="153543" y="87249"/>
                  </a:lnTo>
                  <a:lnTo>
                    <a:pt x="162115" y="78296"/>
                  </a:lnTo>
                  <a:lnTo>
                    <a:pt x="170783" y="74009"/>
                  </a:lnTo>
                  <a:lnTo>
                    <a:pt x="192786" y="74581"/>
                  </a:lnTo>
                  <a:lnTo>
                    <a:pt x="203454" y="70961"/>
                  </a:lnTo>
                  <a:lnTo>
                    <a:pt x="213455" y="46768"/>
                  </a:lnTo>
                  <a:lnTo>
                    <a:pt x="209455" y="35433"/>
                  </a:lnTo>
                  <a:lnTo>
                    <a:pt x="209836" y="29242"/>
                  </a:lnTo>
                  <a:lnTo>
                    <a:pt x="212217" y="23527"/>
                  </a:lnTo>
                  <a:lnTo>
                    <a:pt x="232886" y="10287"/>
                  </a:lnTo>
                  <a:lnTo>
                    <a:pt x="238506" y="15145"/>
                  </a:lnTo>
                  <a:lnTo>
                    <a:pt x="241554" y="16383"/>
                  </a:lnTo>
                </a:path>
              </a:pathLst>
            </a:custGeom>
            <a:grpFill/>
            <a:ln w="2381" cap="sq">
              <a:noFill/>
              <a:prstDash val="solid"/>
              <a:bevel/>
            </a:ln>
          </p:spPr>
          <p:txBody>
            <a:bodyPr rtlCol="0" anchor="ctr"/>
            <a:lstStyle/>
            <a:p>
              <a:endParaRPr lang="cs-CZ"/>
            </a:p>
          </p:txBody>
        </p:sp>
        <p:sp>
          <p:nvSpPr>
            <p:cNvPr id="278" name="Freeform: Shape 277">
              <a:extLst>
                <a:ext uri="{FF2B5EF4-FFF2-40B4-BE49-F238E27FC236}">
                  <a16:creationId xmlns:a16="http://schemas.microsoft.com/office/drawing/2014/main" id="{52EFB790-B8F7-74D1-9C95-AEA20176E3B7}"/>
                </a:ext>
              </a:extLst>
            </p:cNvPr>
            <p:cNvSpPr/>
            <p:nvPr/>
          </p:nvSpPr>
          <p:spPr>
            <a:xfrm>
              <a:off x="12284010" y="8084372"/>
              <a:ext cx="130682" cy="119443"/>
            </a:xfrm>
            <a:custGeom>
              <a:avLst/>
              <a:gdLst>
                <a:gd name="connsiteX0" fmla="*/ 115443 w 130682"/>
                <a:gd name="connsiteY0" fmla="*/ 119444 h 119443"/>
                <a:gd name="connsiteX1" fmla="*/ 93916 w 130682"/>
                <a:gd name="connsiteY1" fmla="*/ 116395 h 119443"/>
                <a:gd name="connsiteX2" fmla="*/ 77343 w 130682"/>
                <a:gd name="connsiteY2" fmla="*/ 105156 h 119443"/>
                <a:gd name="connsiteX3" fmla="*/ 45148 w 130682"/>
                <a:gd name="connsiteY3" fmla="*/ 104489 h 119443"/>
                <a:gd name="connsiteX4" fmla="*/ 34195 w 130682"/>
                <a:gd name="connsiteY4" fmla="*/ 106299 h 119443"/>
                <a:gd name="connsiteX5" fmla="*/ 15049 w 130682"/>
                <a:gd name="connsiteY5" fmla="*/ 114109 h 119443"/>
                <a:gd name="connsiteX6" fmla="*/ 12097 w 130682"/>
                <a:gd name="connsiteY6" fmla="*/ 106870 h 119443"/>
                <a:gd name="connsiteX7" fmla="*/ 10668 w 130682"/>
                <a:gd name="connsiteY7" fmla="*/ 104870 h 119443"/>
                <a:gd name="connsiteX8" fmla="*/ 10477 w 130682"/>
                <a:gd name="connsiteY8" fmla="*/ 101917 h 119443"/>
                <a:gd name="connsiteX9" fmla="*/ 12192 w 130682"/>
                <a:gd name="connsiteY9" fmla="*/ 100108 h 119443"/>
                <a:gd name="connsiteX10" fmla="*/ 14478 w 130682"/>
                <a:gd name="connsiteY10" fmla="*/ 98679 h 119443"/>
                <a:gd name="connsiteX11" fmla="*/ 16002 w 130682"/>
                <a:gd name="connsiteY11" fmla="*/ 94297 h 119443"/>
                <a:gd name="connsiteX12" fmla="*/ 15240 w 130682"/>
                <a:gd name="connsiteY12" fmla="*/ 88773 h 119443"/>
                <a:gd name="connsiteX13" fmla="*/ 12859 w 130682"/>
                <a:gd name="connsiteY13" fmla="*/ 61913 h 119443"/>
                <a:gd name="connsiteX14" fmla="*/ 0 w 130682"/>
                <a:gd name="connsiteY14" fmla="*/ 44005 h 119443"/>
                <a:gd name="connsiteX15" fmla="*/ 476 w 130682"/>
                <a:gd name="connsiteY15" fmla="*/ 38957 h 119443"/>
                <a:gd name="connsiteX16" fmla="*/ 11144 w 130682"/>
                <a:gd name="connsiteY16" fmla="*/ 31813 h 119443"/>
                <a:gd name="connsiteX17" fmla="*/ 22955 w 130682"/>
                <a:gd name="connsiteY17" fmla="*/ 21622 h 119443"/>
                <a:gd name="connsiteX18" fmla="*/ 18764 w 130682"/>
                <a:gd name="connsiteY18" fmla="*/ 6382 h 119443"/>
                <a:gd name="connsiteX19" fmla="*/ 34099 w 130682"/>
                <a:gd name="connsiteY19" fmla="*/ 0 h 119443"/>
                <a:gd name="connsiteX20" fmla="*/ 46672 w 130682"/>
                <a:gd name="connsiteY20" fmla="*/ 3810 h 119443"/>
                <a:gd name="connsiteX21" fmla="*/ 60579 w 130682"/>
                <a:gd name="connsiteY21" fmla="*/ 2572 h 119443"/>
                <a:gd name="connsiteX22" fmla="*/ 52959 w 130682"/>
                <a:gd name="connsiteY22" fmla="*/ 17907 h 119443"/>
                <a:gd name="connsiteX23" fmla="*/ 56483 w 130682"/>
                <a:gd name="connsiteY23" fmla="*/ 34385 h 119443"/>
                <a:gd name="connsiteX24" fmla="*/ 73152 w 130682"/>
                <a:gd name="connsiteY24" fmla="*/ 40767 h 119443"/>
                <a:gd name="connsiteX25" fmla="*/ 96869 w 130682"/>
                <a:gd name="connsiteY25" fmla="*/ 36957 h 119443"/>
                <a:gd name="connsiteX26" fmla="*/ 104489 w 130682"/>
                <a:gd name="connsiteY26" fmla="*/ 45815 h 119443"/>
                <a:gd name="connsiteX27" fmla="*/ 110014 w 130682"/>
                <a:gd name="connsiteY27" fmla="*/ 69913 h 119443"/>
                <a:gd name="connsiteX28" fmla="*/ 119063 w 130682"/>
                <a:gd name="connsiteY28" fmla="*/ 97822 h 119443"/>
                <a:gd name="connsiteX29" fmla="*/ 130683 w 130682"/>
                <a:gd name="connsiteY29" fmla="*/ 113538 h 119443"/>
                <a:gd name="connsiteX30" fmla="*/ 121348 w 130682"/>
                <a:gd name="connsiteY30" fmla="*/ 118681 h 119443"/>
                <a:gd name="connsiteX31" fmla="*/ 115348 w 130682"/>
                <a:gd name="connsiteY31" fmla="*/ 119348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0682" h="119443">
                  <a:moveTo>
                    <a:pt x="115443" y="119444"/>
                  </a:moveTo>
                  <a:lnTo>
                    <a:pt x="93916" y="116395"/>
                  </a:lnTo>
                  <a:lnTo>
                    <a:pt x="77343" y="105156"/>
                  </a:lnTo>
                  <a:lnTo>
                    <a:pt x="45148" y="104489"/>
                  </a:lnTo>
                  <a:lnTo>
                    <a:pt x="34195" y="106299"/>
                  </a:lnTo>
                  <a:lnTo>
                    <a:pt x="15049" y="114109"/>
                  </a:lnTo>
                  <a:lnTo>
                    <a:pt x="12097" y="106870"/>
                  </a:lnTo>
                  <a:lnTo>
                    <a:pt x="10668" y="104870"/>
                  </a:lnTo>
                  <a:lnTo>
                    <a:pt x="10477" y="101917"/>
                  </a:lnTo>
                  <a:lnTo>
                    <a:pt x="12192" y="100108"/>
                  </a:lnTo>
                  <a:lnTo>
                    <a:pt x="14478" y="98679"/>
                  </a:lnTo>
                  <a:lnTo>
                    <a:pt x="16002" y="94297"/>
                  </a:lnTo>
                  <a:lnTo>
                    <a:pt x="15240" y="88773"/>
                  </a:lnTo>
                  <a:lnTo>
                    <a:pt x="12859" y="61913"/>
                  </a:lnTo>
                  <a:lnTo>
                    <a:pt x="0" y="44005"/>
                  </a:lnTo>
                  <a:lnTo>
                    <a:pt x="476" y="38957"/>
                  </a:lnTo>
                  <a:lnTo>
                    <a:pt x="11144" y="31813"/>
                  </a:lnTo>
                  <a:lnTo>
                    <a:pt x="22955" y="21622"/>
                  </a:lnTo>
                  <a:lnTo>
                    <a:pt x="18764" y="6382"/>
                  </a:lnTo>
                  <a:lnTo>
                    <a:pt x="34099" y="0"/>
                  </a:lnTo>
                  <a:lnTo>
                    <a:pt x="46672" y="3810"/>
                  </a:lnTo>
                  <a:lnTo>
                    <a:pt x="60579" y="2572"/>
                  </a:lnTo>
                  <a:lnTo>
                    <a:pt x="52959" y="17907"/>
                  </a:lnTo>
                  <a:lnTo>
                    <a:pt x="56483" y="34385"/>
                  </a:lnTo>
                  <a:lnTo>
                    <a:pt x="73152" y="40767"/>
                  </a:lnTo>
                  <a:lnTo>
                    <a:pt x="96869" y="36957"/>
                  </a:lnTo>
                  <a:lnTo>
                    <a:pt x="104489" y="45815"/>
                  </a:lnTo>
                  <a:lnTo>
                    <a:pt x="110014" y="69913"/>
                  </a:lnTo>
                  <a:lnTo>
                    <a:pt x="119063" y="97822"/>
                  </a:lnTo>
                  <a:lnTo>
                    <a:pt x="130683" y="113538"/>
                  </a:lnTo>
                  <a:lnTo>
                    <a:pt x="121348" y="118681"/>
                  </a:lnTo>
                  <a:lnTo>
                    <a:pt x="115348" y="119348"/>
                  </a:lnTo>
                </a:path>
              </a:pathLst>
            </a:custGeom>
            <a:grpFill/>
            <a:ln w="2381" cap="sq">
              <a:noFill/>
              <a:prstDash val="solid"/>
              <a:bevel/>
            </a:ln>
          </p:spPr>
          <p:txBody>
            <a:bodyPr rtlCol="0" anchor="ctr"/>
            <a:lstStyle/>
            <a:p>
              <a:endParaRPr lang="cs-CZ"/>
            </a:p>
          </p:txBody>
        </p:sp>
        <p:sp>
          <p:nvSpPr>
            <p:cNvPr id="279" name="Freeform: Shape 278">
              <a:extLst>
                <a:ext uri="{FF2B5EF4-FFF2-40B4-BE49-F238E27FC236}">
                  <a16:creationId xmlns:a16="http://schemas.microsoft.com/office/drawing/2014/main" id="{1F8CFA93-1223-8D81-D39B-603AC86AE945}"/>
                </a:ext>
              </a:extLst>
            </p:cNvPr>
            <p:cNvSpPr/>
            <p:nvPr/>
          </p:nvSpPr>
          <p:spPr>
            <a:xfrm>
              <a:off x="12149612" y="8089896"/>
              <a:ext cx="162496" cy="205263"/>
            </a:xfrm>
            <a:custGeom>
              <a:avLst/>
              <a:gdLst>
                <a:gd name="connsiteX0" fmla="*/ 134969 w 162496"/>
                <a:gd name="connsiteY0" fmla="*/ 33528 h 205263"/>
                <a:gd name="connsiteX1" fmla="*/ 134493 w 162496"/>
                <a:gd name="connsiteY1" fmla="*/ 38576 h 205263"/>
                <a:gd name="connsiteX2" fmla="*/ 147352 w 162496"/>
                <a:gd name="connsiteY2" fmla="*/ 56483 h 205263"/>
                <a:gd name="connsiteX3" fmla="*/ 149733 w 162496"/>
                <a:gd name="connsiteY3" fmla="*/ 83344 h 205263"/>
                <a:gd name="connsiteX4" fmla="*/ 150495 w 162496"/>
                <a:gd name="connsiteY4" fmla="*/ 88868 h 205263"/>
                <a:gd name="connsiteX5" fmla="*/ 148971 w 162496"/>
                <a:gd name="connsiteY5" fmla="*/ 93250 h 205263"/>
                <a:gd name="connsiteX6" fmla="*/ 146685 w 162496"/>
                <a:gd name="connsiteY6" fmla="*/ 94679 h 205263"/>
                <a:gd name="connsiteX7" fmla="*/ 144970 w 162496"/>
                <a:gd name="connsiteY7" fmla="*/ 96488 h 205263"/>
                <a:gd name="connsiteX8" fmla="*/ 145161 w 162496"/>
                <a:gd name="connsiteY8" fmla="*/ 99441 h 205263"/>
                <a:gd name="connsiteX9" fmla="*/ 146590 w 162496"/>
                <a:gd name="connsiteY9" fmla="*/ 101441 h 205263"/>
                <a:gd name="connsiteX10" fmla="*/ 149543 w 162496"/>
                <a:gd name="connsiteY10" fmla="*/ 108680 h 205263"/>
                <a:gd name="connsiteX11" fmla="*/ 139446 w 162496"/>
                <a:gd name="connsiteY11" fmla="*/ 110109 h 205263"/>
                <a:gd name="connsiteX12" fmla="*/ 141446 w 162496"/>
                <a:gd name="connsiteY12" fmla="*/ 122587 h 205263"/>
                <a:gd name="connsiteX13" fmla="*/ 150590 w 162496"/>
                <a:gd name="connsiteY13" fmla="*/ 127445 h 205263"/>
                <a:gd name="connsiteX14" fmla="*/ 154115 w 162496"/>
                <a:gd name="connsiteY14" fmla="*/ 136779 h 205263"/>
                <a:gd name="connsiteX15" fmla="*/ 162497 w 162496"/>
                <a:gd name="connsiteY15" fmla="*/ 146876 h 205263"/>
                <a:gd name="connsiteX16" fmla="*/ 160592 w 162496"/>
                <a:gd name="connsiteY16" fmla="*/ 156401 h 205263"/>
                <a:gd name="connsiteX17" fmla="*/ 155353 w 162496"/>
                <a:gd name="connsiteY17" fmla="*/ 166021 h 205263"/>
                <a:gd name="connsiteX18" fmla="*/ 150876 w 162496"/>
                <a:gd name="connsiteY18" fmla="*/ 170783 h 205263"/>
                <a:gd name="connsiteX19" fmla="*/ 146209 w 162496"/>
                <a:gd name="connsiteY19" fmla="*/ 173069 h 205263"/>
                <a:gd name="connsiteX20" fmla="*/ 136874 w 162496"/>
                <a:gd name="connsiteY20" fmla="*/ 173069 h 205263"/>
                <a:gd name="connsiteX21" fmla="*/ 132112 w 162496"/>
                <a:gd name="connsiteY21" fmla="*/ 173927 h 205263"/>
                <a:gd name="connsiteX22" fmla="*/ 130588 w 162496"/>
                <a:gd name="connsiteY22" fmla="*/ 177356 h 205263"/>
                <a:gd name="connsiteX23" fmla="*/ 130588 w 162496"/>
                <a:gd name="connsiteY23" fmla="*/ 180689 h 205263"/>
                <a:gd name="connsiteX24" fmla="*/ 130588 w 162496"/>
                <a:gd name="connsiteY24" fmla="*/ 184118 h 205263"/>
                <a:gd name="connsiteX25" fmla="*/ 131255 w 162496"/>
                <a:gd name="connsiteY25" fmla="*/ 186976 h 205263"/>
                <a:gd name="connsiteX26" fmla="*/ 133445 w 162496"/>
                <a:gd name="connsiteY26" fmla="*/ 188405 h 205263"/>
                <a:gd name="connsiteX27" fmla="*/ 135065 w 162496"/>
                <a:gd name="connsiteY27" fmla="*/ 191548 h 205263"/>
                <a:gd name="connsiteX28" fmla="*/ 136398 w 162496"/>
                <a:gd name="connsiteY28" fmla="*/ 193262 h 205263"/>
                <a:gd name="connsiteX29" fmla="*/ 138779 w 162496"/>
                <a:gd name="connsiteY29" fmla="*/ 200787 h 205263"/>
                <a:gd name="connsiteX30" fmla="*/ 129159 w 162496"/>
                <a:gd name="connsiteY30" fmla="*/ 201359 h 205263"/>
                <a:gd name="connsiteX31" fmla="*/ 122015 w 162496"/>
                <a:gd name="connsiteY31" fmla="*/ 205264 h 205263"/>
                <a:gd name="connsiteX32" fmla="*/ 114491 w 162496"/>
                <a:gd name="connsiteY32" fmla="*/ 202787 h 205263"/>
                <a:gd name="connsiteX33" fmla="*/ 113062 w 162496"/>
                <a:gd name="connsiteY33" fmla="*/ 202978 h 205263"/>
                <a:gd name="connsiteX34" fmla="*/ 105156 w 162496"/>
                <a:gd name="connsiteY34" fmla="*/ 202978 h 205263"/>
                <a:gd name="connsiteX35" fmla="*/ 98012 w 162496"/>
                <a:gd name="connsiteY35" fmla="*/ 186785 h 205263"/>
                <a:gd name="connsiteX36" fmla="*/ 82868 w 162496"/>
                <a:gd name="connsiteY36" fmla="*/ 175451 h 205263"/>
                <a:gd name="connsiteX37" fmla="*/ 63246 w 162496"/>
                <a:gd name="connsiteY37" fmla="*/ 178689 h 205263"/>
                <a:gd name="connsiteX38" fmla="*/ 51626 w 162496"/>
                <a:gd name="connsiteY38" fmla="*/ 201359 h 205263"/>
                <a:gd name="connsiteX39" fmla="*/ 41815 w 162496"/>
                <a:gd name="connsiteY39" fmla="*/ 193262 h 205263"/>
                <a:gd name="connsiteX40" fmla="*/ 36481 w 162496"/>
                <a:gd name="connsiteY40" fmla="*/ 164116 h 205263"/>
                <a:gd name="connsiteX41" fmla="*/ 23146 w 162496"/>
                <a:gd name="connsiteY41" fmla="*/ 151162 h 205263"/>
                <a:gd name="connsiteX42" fmla="*/ 21336 w 162496"/>
                <a:gd name="connsiteY42" fmla="*/ 118777 h 205263"/>
                <a:gd name="connsiteX43" fmla="*/ 17812 w 162496"/>
                <a:gd name="connsiteY43" fmla="*/ 91250 h 205263"/>
                <a:gd name="connsiteX44" fmla="*/ 7144 w 162496"/>
                <a:gd name="connsiteY44" fmla="*/ 81534 h 205263"/>
                <a:gd name="connsiteX45" fmla="*/ 0 w 162496"/>
                <a:gd name="connsiteY45" fmla="*/ 57150 h 205263"/>
                <a:gd name="connsiteX46" fmla="*/ 8001 w 162496"/>
                <a:gd name="connsiteY46" fmla="*/ 32766 h 205263"/>
                <a:gd name="connsiteX47" fmla="*/ 18955 w 162496"/>
                <a:gd name="connsiteY47" fmla="*/ 0 h 205263"/>
                <a:gd name="connsiteX48" fmla="*/ 33242 w 162496"/>
                <a:gd name="connsiteY48" fmla="*/ 7049 h 205263"/>
                <a:gd name="connsiteX49" fmla="*/ 56102 w 162496"/>
                <a:gd name="connsiteY49" fmla="*/ 10192 h 205263"/>
                <a:gd name="connsiteX50" fmla="*/ 74771 w 162496"/>
                <a:gd name="connsiteY50" fmla="*/ 19431 h 205263"/>
                <a:gd name="connsiteX51" fmla="*/ 79343 w 162496"/>
                <a:gd name="connsiteY51" fmla="*/ 24956 h 205263"/>
                <a:gd name="connsiteX52" fmla="*/ 77819 w 162496"/>
                <a:gd name="connsiteY52" fmla="*/ 30766 h 205263"/>
                <a:gd name="connsiteX53" fmla="*/ 92202 w 162496"/>
                <a:gd name="connsiteY53" fmla="*/ 29813 h 205263"/>
                <a:gd name="connsiteX54" fmla="*/ 107632 w 162496"/>
                <a:gd name="connsiteY54" fmla="*/ 35147 h 205263"/>
                <a:gd name="connsiteX55" fmla="*/ 134969 w 162496"/>
                <a:gd name="connsiteY55" fmla="*/ 33814 h 20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62496" h="205263">
                  <a:moveTo>
                    <a:pt x="134969" y="33528"/>
                  </a:moveTo>
                  <a:lnTo>
                    <a:pt x="134493" y="38576"/>
                  </a:lnTo>
                  <a:lnTo>
                    <a:pt x="147352" y="56483"/>
                  </a:lnTo>
                  <a:lnTo>
                    <a:pt x="149733" y="83344"/>
                  </a:lnTo>
                  <a:lnTo>
                    <a:pt x="150495" y="88868"/>
                  </a:lnTo>
                  <a:lnTo>
                    <a:pt x="148971" y="93250"/>
                  </a:lnTo>
                  <a:lnTo>
                    <a:pt x="146685" y="94679"/>
                  </a:lnTo>
                  <a:lnTo>
                    <a:pt x="144970" y="96488"/>
                  </a:lnTo>
                  <a:lnTo>
                    <a:pt x="145161" y="99441"/>
                  </a:lnTo>
                  <a:lnTo>
                    <a:pt x="146590" y="101441"/>
                  </a:lnTo>
                  <a:lnTo>
                    <a:pt x="149543" y="108680"/>
                  </a:lnTo>
                  <a:lnTo>
                    <a:pt x="139446" y="110109"/>
                  </a:lnTo>
                  <a:lnTo>
                    <a:pt x="141446" y="122587"/>
                  </a:lnTo>
                  <a:lnTo>
                    <a:pt x="150590" y="127445"/>
                  </a:lnTo>
                  <a:lnTo>
                    <a:pt x="154115" y="136779"/>
                  </a:lnTo>
                  <a:lnTo>
                    <a:pt x="162497" y="146876"/>
                  </a:lnTo>
                  <a:lnTo>
                    <a:pt x="160592" y="156401"/>
                  </a:lnTo>
                  <a:lnTo>
                    <a:pt x="155353" y="166021"/>
                  </a:lnTo>
                  <a:lnTo>
                    <a:pt x="150876" y="170783"/>
                  </a:lnTo>
                  <a:lnTo>
                    <a:pt x="146209" y="173069"/>
                  </a:lnTo>
                  <a:lnTo>
                    <a:pt x="136874" y="173069"/>
                  </a:lnTo>
                  <a:cubicBezTo>
                    <a:pt x="136874" y="173069"/>
                    <a:pt x="132112" y="173927"/>
                    <a:pt x="132112" y="173927"/>
                  </a:cubicBezTo>
                  <a:lnTo>
                    <a:pt x="130588" y="177356"/>
                  </a:lnTo>
                  <a:lnTo>
                    <a:pt x="130588" y="180689"/>
                  </a:lnTo>
                  <a:cubicBezTo>
                    <a:pt x="130588" y="180689"/>
                    <a:pt x="130588" y="184118"/>
                    <a:pt x="130588" y="184118"/>
                  </a:cubicBezTo>
                  <a:lnTo>
                    <a:pt x="131255" y="186976"/>
                  </a:lnTo>
                  <a:lnTo>
                    <a:pt x="133445" y="188405"/>
                  </a:lnTo>
                  <a:lnTo>
                    <a:pt x="135065" y="191548"/>
                  </a:lnTo>
                  <a:lnTo>
                    <a:pt x="136398" y="193262"/>
                  </a:lnTo>
                  <a:lnTo>
                    <a:pt x="138779" y="200787"/>
                  </a:lnTo>
                  <a:lnTo>
                    <a:pt x="129159" y="201359"/>
                  </a:lnTo>
                  <a:lnTo>
                    <a:pt x="122015" y="205264"/>
                  </a:lnTo>
                  <a:lnTo>
                    <a:pt x="114491" y="202787"/>
                  </a:lnTo>
                  <a:lnTo>
                    <a:pt x="113062" y="202978"/>
                  </a:lnTo>
                  <a:lnTo>
                    <a:pt x="105156" y="202978"/>
                  </a:lnTo>
                  <a:cubicBezTo>
                    <a:pt x="105156" y="202978"/>
                    <a:pt x="98012" y="186785"/>
                    <a:pt x="98012" y="186785"/>
                  </a:cubicBezTo>
                  <a:lnTo>
                    <a:pt x="82868" y="175451"/>
                  </a:lnTo>
                  <a:lnTo>
                    <a:pt x="63246" y="178689"/>
                  </a:lnTo>
                  <a:lnTo>
                    <a:pt x="51626" y="201359"/>
                  </a:lnTo>
                  <a:lnTo>
                    <a:pt x="41815" y="193262"/>
                  </a:lnTo>
                  <a:lnTo>
                    <a:pt x="36481" y="164116"/>
                  </a:lnTo>
                  <a:lnTo>
                    <a:pt x="23146" y="151162"/>
                  </a:lnTo>
                  <a:lnTo>
                    <a:pt x="21336" y="118777"/>
                  </a:lnTo>
                  <a:lnTo>
                    <a:pt x="17812" y="91250"/>
                  </a:lnTo>
                  <a:lnTo>
                    <a:pt x="7144" y="81534"/>
                  </a:lnTo>
                  <a:lnTo>
                    <a:pt x="0" y="57150"/>
                  </a:lnTo>
                  <a:lnTo>
                    <a:pt x="8001" y="32766"/>
                  </a:lnTo>
                  <a:lnTo>
                    <a:pt x="18955" y="0"/>
                  </a:lnTo>
                  <a:lnTo>
                    <a:pt x="33242" y="7049"/>
                  </a:lnTo>
                  <a:lnTo>
                    <a:pt x="56102" y="10192"/>
                  </a:lnTo>
                  <a:lnTo>
                    <a:pt x="74771" y="19431"/>
                  </a:lnTo>
                  <a:lnTo>
                    <a:pt x="79343" y="24956"/>
                  </a:lnTo>
                  <a:lnTo>
                    <a:pt x="77819" y="30766"/>
                  </a:lnTo>
                  <a:lnTo>
                    <a:pt x="92202" y="29813"/>
                  </a:lnTo>
                  <a:lnTo>
                    <a:pt x="107632" y="35147"/>
                  </a:lnTo>
                  <a:lnTo>
                    <a:pt x="134969" y="33814"/>
                  </a:lnTo>
                </a:path>
              </a:pathLst>
            </a:custGeom>
            <a:grpFill/>
            <a:ln w="2381" cap="sq">
              <a:noFill/>
              <a:prstDash val="solid"/>
              <a:bevel/>
            </a:ln>
          </p:spPr>
          <p:txBody>
            <a:bodyPr rtlCol="0" anchor="ctr"/>
            <a:lstStyle/>
            <a:p>
              <a:endParaRPr lang="cs-CZ"/>
            </a:p>
          </p:txBody>
        </p:sp>
        <p:sp>
          <p:nvSpPr>
            <p:cNvPr id="280" name="Freeform: Shape 279">
              <a:extLst>
                <a:ext uri="{FF2B5EF4-FFF2-40B4-BE49-F238E27FC236}">
                  <a16:creationId xmlns:a16="http://schemas.microsoft.com/office/drawing/2014/main" id="{1056F612-91F0-ADAF-1847-5F9914AB50B4}"/>
                </a:ext>
              </a:extLst>
            </p:cNvPr>
            <p:cNvSpPr/>
            <p:nvPr/>
          </p:nvSpPr>
          <p:spPr>
            <a:xfrm>
              <a:off x="12628243" y="8164763"/>
              <a:ext cx="171068" cy="172783"/>
            </a:xfrm>
            <a:custGeom>
              <a:avLst/>
              <a:gdLst>
                <a:gd name="connsiteX0" fmla="*/ 126492 w 171068"/>
                <a:gd name="connsiteY0" fmla="*/ 10858 h 172783"/>
                <a:gd name="connsiteX1" fmla="*/ 127254 w 171068"/>
                <a:gd name="connsiteY1" fmla="*/ 17145 h 172783"/>
                <a:gd name="connsiteX2" fmla="*/ 131159 w 171068"/>
                <a:gd name="connsiteY2" fmla="*/ 25432 h 172783"/>
                <a:gd name="connsiteX3" fmla="*/ 128302 w 171068"/>
                <a:gd name="connsiteY3" fmla="*/ 35624 h 172783"/>
                <a:gd name="connsiteX4" fmla="*/ 141256 w 171068"/>
                <a:gd name="connsiteY4" fmla="*/ 40862 h 172783"/>
                <a:gd name="connsiteX5" fmla="*/ 144494 w 171068"/>
                <a:gd name="connsiteY5" fmla="*/ 60008 h 172783"/>
                <a:gd name="connsiteX6" fmla="*/ 141542 w 171068"/>
                <a:gd name="connsiteY6" fmla="*/ 61246 h 172783"/>
                <a:gd name="connsiteX7" fmla="*/ 137255 w 171068"/>
                <a:gd name="connsiteY7" fmla="*/ 61913 h 172783"/>
                <a:gd name="connsiteX8" fmla="*/ 135065 w 171068"/>
                <a:gd name="connsiteY8" fmla="*/ 58960 h 172783"/>
                <a:gd name="connsiteX9" fmla="*/ 131636 w 171068"/>
                <a:gd name="connsiteY9" fmla="*/ 56483 h 172783"/>
                <a:gd name="connsiteX10" fmla="*/ 130778 w 171068"/>
                <a:gd name="connsiteY10" fmla="*/ 57531 h 172783"/>
                <a:gd name="connsiteX11" fmla="*/ 132017 w 171068"/>
                <a:gd name="connsiteY11" fmla="*/ 61722 h 172783"/>
                <a:gd name="connsiteX12" fmla="*/ 142303 w 171068"/>
                <a:gd name="connsiteY12" fmla="*/ 74009 h 172783"/>
                <a:gd name="connsiteX13" fmla="*/ 146113 w 171068"/>
                <a:gd name="connsiteY13" fmla="*/ 76676 h 172783"/>
                <a:gd name="connsiteX14" fmla="*/ 148019 w 171068"/>
                <a:gd name="connsiteY14" fmla="*/ 78486 h 172783"/>
                <a:gd name="connsiteX15" fmla="*/ 147733 w 171068"/>
                <a:gd name="connsiteY15" fmla="*/ 80867 h 172783"/>
                <a:gd name="connsiteX16" fmla="*/ 148304 w 171068"/>
                <a:gd name="connsiteY16" fmla="*/ 83629 h 172783"/>
                <a:gd name="connsiteX17" fmla="*/ 149542 w 171068"/>
                <a:gd name="connsiteY17" fmla="*/ 86582 h 172783"/>
                <a:gd name="connsiteX18" fmla="*/ 150495 w 171068"/>
                <a:gd name="connsiteY18" fmla="*/ 89916 h 172783"/>
                <a:gd name="connsiteX19" fmla="*/ 147256 w 171068"/>
                <a:gd name="connsiteY19" fmla="*/ 95631 h 172783"/>
                <a:gd name="connsiteX20" fmla="*/ 143446 w 171068"/>
                <a:gd name="connsiteY20" fmla="*/ 97155 h 172783"/>
                <a:gd name="connsiteX21" fmla="*/ 139827 w 171068"/>
                <a:gd name="connsiteY21" fmla="*/ 97155 h 172783"/>
                <a:gd name="connsiteX22" fmla="*/ 138398 w 171068"/>
                <a:gd name="connsiteY22" fmla="*/ 97822 h 172783"/>
                <a:gd name="connsiteX23" fmla="*/ 138398 w 171068"/>
                <a:gd name="connsiteY23" fmla="*/ 101441 h 172783"/>
                <a:gd name="connsiteX24" fmla="*/ 144018 w 171068"/>
                <a:gd name="connsiteY24" fmla="*/ 108776 h 172783"/>
                <a:gd name="connsiteX25" fmla="*/ 149733 w 171068"/>
                <a:gd name="connsiteY25" fmla="*/ 113538 h 172783"/>
                <a:gd name="connsiteX26" fmla="*/ 159829 w 171068"/>
                <a:gd name="connsiteY26" fmla="*/ 116300 h 172783"/>
                <a:gd name="connsiteX27" fmla="*/ 164782 w 171068"/>
                <a:gd name="connsiteY27" fmla="*/ 116300 h 172783"/>
                <a:gd name="connsiteX28" fmla="*/ 169640 w 171068"/>
                <a:gd name="connsiteY28" fmla="*/ 117348 h 172783"/>
                <a:gd name="connsiteX29" fmla="*/ 171069 w 171068"/>
                <a:gd name="connsiteY29" fmla="*/ 121158 h 172783"/>
                <a:gd name="connsiteX30" fmla="*/ 169164 w 171068"/>
                <a:gd name="connsiteY30" fmla="*/ 128873 h 172783"/>
                <a:gd name="connsiteX31" fmla="*/ 162592 w 171068"/>
                <a:gd name="connsiteY31" fmla="*/ 138208 h 172783"/>
                <a:gd name="connsiteX32" fmla="*/ 158877 w 171068"/>
                <a:gd name="connsiteY32" fmla="*/ 148971 h 172783"/>
                <a:gd name="connsiteX33" fmla="*/ 159639 w 171068"/>
                <a:gd name="connsiteY33" fmla="*/ 154686 h 172783"/>
                <a:gd name="connsiteX34" fmla="*/ 144875 w 171068"/>
                <a:gd name="connsiteY34" fmla="*/ 172022 h 172783"/>
                <a:gd name="connsiteX35" fmla="*/ 140494 w 171068"/>
                <a:gd name="connsiteY35" fmla="*/ 172784 h 172783"/>
                <a:gd name="connsiteX36" fmla="*/ 135065 w 171068"/>
                <a:gd name="connsiteY36" fmla="*/ 172593 h 172783"/>
                <a:gd name="connsiteX37" fmla="*/ 125158 w 171068"/>
                <a:gd name="connsiteY37" fmla="*/ 172212 h 172783"/>
                <a:gd name="connsiteX38" fmla="*/ 116205 w 171068"/>
                <a:gd name="connsiteY38" fmla="*/ 160687 h 172783"/>
                <a:gd name="connsiteX39" fmla="*/ 114109 w 171068"/>
                <a:gd name="connsiteY39" fmla="*/ 135446 h 172783"/>
                <a:gd name="connsiteX40" fmla="*/ 105061 w 171068"/>
                <a:gd name="connsiteY40" fmla="*/ 117729 h 172783"/>
                <a:gd name="connsiteX41" fmla="*/ 93917 w 171068"/>
                <a:gd name="connsiteY41" fmla="*/ 97441 h 172783"/>
                <a:gd name="connsiteX42" fmla="*/ 75819 w 171068"/>
                <a:gd name="connsiteY42" fmla="*/ 92393 h 172783"/>
                <a:gd name="connsiteX43" fmla="*/ 61246 w 171068"/>
                <a:gd name="connsiteY43" fmla="*/ 83534 h 172783"/>
                <a:gd name="connsiteX44" fmla="*/ 47149 w 171068"/>
                <a:gd name="connsiteY44" fmla="*/ 70199 h 172783"/>
                <a:gd name="connsiteX45" fmla="*/ 53340 w 171068"/>
                <a:gd name="connsiteY45" fmla="*/ 65056 h 172783"/>
                <a:gd name="connsiteX46" fmla="*/ 47815 w 171068"/>
                <a:gd name="connsiteY46" fmla="*/ 45720 h 172783"/>
                <a:gd name="connsiteX47" fmla="*/ 23527 w 171068"/>
                <a:gd name="connsiteY47" fmla="*/ 39338 h 172783"/>
                <a:gd name="connsiteX48" fmla="*/ 15335 w 171068"/>
                <a:gd name="connsiteY48" fmla="*/ 27908 h 172783"/>
                <a:gd name="connsiteX49" fmla="*/ 4858 w 171068"/>
                <a:gd name="connsiteY49" fmla="*/ 34290 h 172783"/>
                <a:gd name="connsiteX50" fmla="*/ 0 w 171068"/>
                <a:gd name="connsiteY50" fmla="*/ 21622 h 172783"/>
                <a:gd name="connsiteX51" fmla="*/ 11811 w 171068"/>
                <a:gd name="connsiteY51" fmla="*/ 17812 h 172783"/>
                <a:gd name="connsiteX52" fmla="*/ 11811 w 171068"/>
                <a:gd name="connsiteY52" fmla="*/ 6382 h 172783"/>
                <a:gd name="connsiteX53" fmla="*/ 33242 w 171068"/>
                <a:gd name="connsiteY53" fmla="*/ 1333 h 172783"/>
                <a:gd name="connsiteX54" fmla="*/ 37624 w 171068"/>
                <a:gd name="connsiteY54" fmla="*/ 5715 h 172783"/>
                <a:gd name="connsiteX55" fmla="*/ 44005 w 171068"/>
                <a:gd name="connsiteY55" fmla="*/ 9811 h 172783"/>
                <a:gd name="connsiteX56" fmla="*/ 50768 w 171068"/>
                <a:gd name="connsiteY56" fmla="*/ 11621 h 172783"/>
                <a:gd name="connsiteX57" fmla="*/ 54673 w 171068"/>
                <a:gd name="connsiteY57" fmla="*/ 9430 h 172783"/>
                <a:gd name="connsiteX58" fmla="*/ 57436 w 171068"/>
                <a:gd name="connsiteY58" fmla="*/ 7334 h 172783"/>
                <a:gd name="connsiteX59" fmla="*/ 61341 w 171068"/>
                <a:gd name="connsiteY59" fmla="*/ 5429 h 172783"/>
                <a:gd name="connsiteX60" fmla="*/ 89630 w 171068"/>
                <a:gd name="connsiteY60" fmla="*/ 0 h 172783"/>
                <a:gd name="connsiteX61" fmla="*/ 94297 w 171068"/>
                <a:gd name="connsiteY61" fmla="*/ 286 h 172783"/>
                <a:gd name="connsiteX62" fmla="*/ 96869 w 171068"/>
                <a:gd name="connsiteY62" fmla="*/ 2572 h 172783"/>
                <a:gd name="connsiteX63" fmla="*/ 98965 w 171068"/>
                <a:gd name="connsiteY63" fmla="*/ 8287 h 172783"/>
                <a:gd name="connsiteX64" fmla="*/ 102965 w 171068"/>
                <a:gd name="connsiteY64" fmla="*/ 10287 h 172783"/>
                <a:gd name="connsiteX65" fmla="*/ 105346 w 171068"/>
                <a:gd name="connsiteY65" fmla="*/ 12192 h 172783"/>
                <a:gd name="connsiteX66" fmla="*/ 126778 w 171068"/>
                <a:gd name="connsiteY66" fmla="*/ 10858 h 172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71068" h="172783">
                  <a:moveTo>
                    <a:pt x="126492" y="10858"/>
                  </a:moveTo>
                  <a:lnTo>
                    <a:pt x="127254" y="17145"/>
                  </a:lnTo>
                  <a:lnTo>
                    <a:pt x="131159" y="25432"/>
                  </a:lnTo>
                  <a:lnTo>
                    <a:pt x="128302" y="35624"/>
                  </a:lnTo>
                  <a:lnTo>
                    <a:pt x="141256" y="40862"/>
                  </a:lnTo>
                  <a:lnTo>
                    <a:pt x="144494" y="60008"/>
                  </a:lnTo>
                  <a:lnTo>
                    <a:pt x="141542" y="61246"/>
                  </a:lnTo>
                  <a:lnTo>
                    <a:pt x="137255" y="61913"/>
                  </a:lnTo>
                  <a:lnTo>
                    <a:pt x="135065" y="58960"/>
                  </a:lnTo>
                  <a:lnTo>
                    <a:pt x="131636" y="56483"/>
                  </a:lnTo>
                  <a:lnTo>
                    <a:pt x="130778" y="57531"/>
                  </a:lnTo>
                  <a:lnTo>
                    <a:pt x="132017" y="61722"/>
                  </a:lnTo>
                  <a:lnTo>
                    <a:pt x="142303" y="74009"/>
                  </a:lnTo>
                  <a:lnTo>
                    <a:pt x="146113" y="76676"/>
                  </a:lnTo>
                  <a:lnTo>
                    <a:pt x="148019" y="78486"/>
                  </a:lnTo>
                  <a:lnTo>
                    <a:pt x="147733" y="80867"/>
                  </a:lnTo>
                  <a:lnTo>
                    <a:pt x="148304" y="83629"/>
                  </a:lnTo>
                  <a:lnTo>
                    <a:pt x="149542" y="86582"/>
                  </a:lnTo>
                  <a:lnTo>
                    <a:pt x="150495" y="89916"/>
                  </a:lnTo>
                  <a:lnTo>
                    <a:pt x="147256" y="95631"/>
                  </a:lnTo>
                  <a:lnTo>
                    <a:pt x="143446" y="97155"/>
                  </a:lnTo>
                  <a:lnTo>
                    <a:pt x="139827" y="97155"/>
                  </a:lnTo>
                  <a:lnTo>
                    <a:pt x="138398" y="97822"/>
                  </a:lnTo>
                  <a:lnTo>
                    <a:pt x="138398" y="101441"/>
                  </a:lnTo>
                  <a:cubicBezTo>
                    <a:pt x="138398" y="101441"/>
                    <a:pt x="144018" y="108776"/>
                    <a:pt x="144018" y="108776"/>
                  </a:cubicBezTo>
                  <a:lnTo>
                    <a:pt x="149733" y="113538"/>
                  </a:lnTo>
                  <a:lnTo>
                    <a:pt x="159829" y="116300"/>
                  </a:lnTo>
                  <a:lnTo>
                    <a:pt x="164782" y="116300"/>
                  </a:lnTo>
                  <a:cubicBezTo>
                    <a:pt x="164782" y="116300"/>
                    <a:pt x="169640" y="117348"/>
                    <a:pt x="169640" y="117348"/>
                  </a:cubicBezTo>
                  <a:lnTo>
                    <a:pt x="171069" y="121158"/>
                  </a:lnTo>
                  <a:lnTo>
                    <a:pt x="169164" y="128873"/>
                  </a:lnTo>
                  <a:lnTo>
                    <a:pt x="162592" y="138208"/>
                  </a:lnTo>
                  <a:lnTo>
                    <a:pt x="158877" y="148971"/>
                  </a:lnTo>
                  <a:lnTo>
                    <a:pt x="159639" y="154686"/>
                  </a:lnTo>
                  <a:lnTo>
                    <a:pt x="144875" y="172022"/>
                  </a:lnTo>
                  <a:lnTo>
                    <a:pt x="140494" y="172784"/>
                  </a:lnTo>
                  <a:lnTo>
                    <a:pt x="135065" y="172593"/>
                  </a:lnTo>
                  <a:lnTo>
                    <a:pt x="125158" y="172212"/>
                  </a:lnTo>
                  <a:lnTo>
                    <a:pt x="116205" y="160687"/>
                  </a:lnTo>
                  <a:lnTo>
                    <a:pt x="114109" y="135446"/>
                  </a:lnTo>
                  <a:lnTo>
                    <a:pt x="105061" y="117729"/>
                  </a:lnTo>
                  <a:lnTo>
                    <a:pt x="93917" y="97441"/>
                  </a:lnTo>
                  <a:lnTo>
                    <a:pt x="75819" y="92393"/>
                  </a:lnTo>
                  <a:lnTo>
                    <a:pt x="61246" y="83534"/>
                  </a:lnTo>
                  <a:lnTo>
                    <a:pt x="47149" y="70199"/>
                  </a:lnTo>
                  <a:lnTo>
                    <a:pt x="53340" y="65056"/>
                  </a:lnTo>
                  <a:lnTo>
                    <a:pt x="47815" y="45720"/>
                  </a:lnTo>
                  <a:lnTo>
                    <a:pt x="23527" y="39338"/>
                  </a:lnTo>
                  <a:lnTo>
                    <a:pt x="15335" y="27908"/>
                  </a:lnTo>
                  <a:lnTo>
                    <a:pt x="4858" y="34290"/>
                  </a:lnTo>
                  <a:lnTo>
                    <a:pt x="0" y="21622"/>
                  </a:lnTo>
                  <a:lnTo>
                    <a:pt x="11811" y="17812"/>
                  </a:lnTo>
                  <a:lnTo>
                    <a:pt x="11811" y="6382"/>
                  </a:lnTo>
                  <a:lnTo>
                    <a:pt x="33242" y="1333"/>
                  </a:lnTo>
                  <a:lnTo>
                    <a:pt x="37624" y="5715"/>
                  </a:lnTo>
                  <a:lnTo>
                    <a:pt x="44005" y="9811"/>
                  </a:lnTo>
                  <a:lnTo>
                    <a:pt x="50768" y="11621"/>
                  </a:lnTo>
                  <a:lnTo>
                    <a:pt x="54673" y="9430"/>
                  </a:lnTo>
                  <a:lnTo>
                    <a:pt x="57436" y="7334"/>
                  </a:lnTo>
                  <a:lnTo>
                    <a:pt x="61341" y="5429"/>
                  </a:lnTo>
                  <a:lnTo>
                    <a:pt x="89630" y="0"/>
                  </a:lnTo>
                  <a:lnTo>
                    <a:pt x="94297" y="286"/>
                  </a:lnTo>
                  <a:lnTo>
                    <a:pt x="96869" y="2572"/>
                  </a:lnTo>
                  <a:lnTo>
                    <a:pt x="98965" y="8287"/>
                  </a:lnTo>
                  <a:lnTo>
                    <a:pt x="102965" y="10287"/>
                  </a:lnTo>
                  <a:lnTo>
                    <a:pt x="105346" y="12192"/>
                  </a:lnTo>
                  <a:lnTo>
                    <a:pt x="126778" y="10858"/>
                  </a:lnTo>
                </a:path>
              </a:pathLst>
            </a:custGeom>
            <a:grpFill/>
            <a:ln w="2381" cap="sq">
              <a:noFill/>
              <a:prstDash val="solid"/>
              <a:bevel/>
            </a:ln>
          </p:spPr>
          <p:txBody>
            <a:bodyPr rtlCol="0" anchor="ctr"/>
            <a:lstStyle/>
            <a:p>
              <a:endParaRPr lang="cs-CZ"/>
            </a:p>
          </p:txBody>
        </p:sp>
        <p:sp>
          <p:nvSpPr>
            <p:cNvPr id="281" name="Freeform: Shape 280">
              <a:extLst>
                <a:ext uri="{FF2B5EF4-FFF2-40B4-BE49-F238E27FC236}">
                  <a16:creationId xmlns:a16="http://schemas.microsoft.com/office/drawing/2014/main" id="{489F6BA6-A750-5406-A9F3-EB7244CA27B0}"/>
                </a:ext>
              </a:extLst>
            </p:cNvPr>
            <p:cNvSpPr/>
            <p:nvPr/>
          </p:nvSpPr>
          <p:spPr>
            <a:xfrm>
              <a:off x="12607479" y="8204006"/>
              <a:ext cx="73818" cy="69818"/>
            </a:xfrm>
            <a:custGeom>
              <a:avLst/>
              <a:gdLst>
                <a:gd name="connsiteX0" fmla="*/ 25527 w 73818"/>
                <a:gd name="connsiteY0" fmla="*/ 11621 h 69818"/>
                <a:gd name="connsiteX1" fmla="*/ 44005 w 73818"/>
                <a:gd name="connsiteY1" fmla="*/ 0 h 69818"/>
                <a:gd name="connsiteX2" fmla="*/ 68294 w 73818"/>
                <a:gd name="connsiteY2" fmla="*/ 6382 h 69818"/>
                <a:gd name="connsiteX3" fmla="*/ 73819 w 73818"/>
                <a:gd name="connsiteY3" fmla="*/ 25717 h 69818"/>
                <a:gd name="connsiteX4" fmla="*/ 67627 w 73818"/>
                <a:gd name="connsiteY4" fmla="*/ 30861 h 69818"/>
                <a:gd name="connsiteX5" fmla="*/ 59055 w 73818"/>
                <a:gd name="connsiteY5" fmla="*/ 38100 h 69818"/>
                <a:gd name="connsiteX6" fmla="*/ 62579 w 73818"/>
                <a:gd name="connsiteY6" fmla="*/ 51625 h 69818"/>
                <a:gd name="connsiteX7" fmla="*/ 47053 w 73818"/>
                <a:gd name="connsiteY7" fmla="*/ 58674 h 69818"/>
                <a:gd name="connsiteX8" fmla="*/ 34861 w 73818"/>
                <a:gd name="connsiteY8" fmla="*/ 69818 h 69818"/>
                <a:gd name="connsiteX9" fmla="*/ 20574 w 73818"/>
                <a:gd name="connsiteY9" fmla="*/ 62960 h 69818"/>
                <a:gd name="connsiteX10" fmla="*/ 22955 w 73818"/>
                <a:gd name="connsiteY10" fmla="*/ 42863 h 69818"/>
                <a:gd name="connsiteX11" fmla="*/ 5144 w 73818"/>
                <a:gd name="connsiteY11" fmla="*/ 28385 h 69818"/>
                <a:gd name="connsiteX12" fmla="*/ 0 w 73818"/>
                <a:gd name="connsiteY12" fmla="*/ 14764 h 69818"/>
                <a:gd name="connsiteX13" fmla="*/ 10287 w 73818"/>
                <a:gd name="connsiteY13" fmla="*/ 8763 h 69818"/>
                <a:gd name="connsiteX14" fmla="*/ 25622 w 73818"/>
                <a:gd name="connsiteY14" fmla="*/ 11525 h 69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3818" h="69818">
                  <a:moveTo>
                    <a:pt x="25527" y="11621"/>
                  </a:moveTo>
                  <a:lnTo>
                    <a:pt x="44005" y="0"/>
                  </a:lnTo>
                  <a:lnTo>
                    <a:pt x="68294" y="6382"/>
                  </a:lnTo>
                  <a:lnTo>
                    <a:pt x="73819" y="25717"/>
                  </a:lnTo>
                  <a:lnTo>
                    <a:pt x="67627" y="30861"/>
                  </a:lnTo>
                  <a:lnTo>
                    <a:pt x="59055" y="38100"/>
                  </a:lnTo>
                  <a:lnTo>
                    <a:pt x="62579" y="51625"/>
                  </a:lnTo>
                  <a:lnTo>
                    <a:pt x="47053" y="58674"/>
                  </a:lnTo>
                  <a:lnTo>
                    <a:pt x="34861" y="69818"/>
                  </a:lnTo>
                  <a:lnTo>
                    <a:pt x="20574" y="62960"/>
                  </a:lnTo>
                  <a:lnTo>
                    <a:pt x="22955" y="42863"/>
                  </a:lnTo>
                  <a:lnTo>
                    <a:pt x="5144" y="28385"/>
                  </a:lnTo>
                  <a:lnTo>
                    <a:pt x="0" y="14764"/>
                  </a:lnTo>
                  <a:lnTo>
                    <a:pt x="10287" y="8763"/>
                  </a:lnTo>
                  <a:lnTo>
                    <a:pt x="25622" y="11525"/>
                  </a:lnTo>
                </a:path>
              </a:pathLst>
            </a:custGeom>
            <a:grpFill/>
            <a:ln w="2381" cap="sq">
              <a:noFill/>
              <a:prstDash val="solid"/>
              <a:bevel/>
            </a:ln>
          </p:spPr>
          <p:txBody>
            <a:bodyPr rtlCol="0" anchor="ctr"/>
            <a:lstStyle/>
            <a:p>
              <a:endParaRPr lang="cs-CZ"/>
            </a:p>
          </p:txBody>
        </p:sp>
        <p:sp>
          <p:nvSpPr>
            <p:cNvPr id="282" name="Freeform: Shape 281">
              <a:extLst>
                <a:ext uri="{FF2B5EF4-FFF2-40B4-BE49-F238E27FC236}">
                  <a16:creationId xmlns:a16="http://schemas.microsoft.com/office/drawing/2014/main" id="{C2E03CDE-1DF4-B661-948A-63834A92DF3E}"/>
                </a:ext>
              </a:extLst>
            </p:cNvPr>
            <p:cNvSpPr/>
            <p:nvPr/>
          </p:nvSpPr>
          <p:spPr>
            <a:xfrm>
              <a:off x="13705330" y="8715308"/>
              <a:ext cx="75723" cy="94107"/>
            </a:xfrm>
            <a:custGeom>
              <a:avLst/>
              <a:gdLst>
                <a:gd name="connsiteX0" fmla="*/ 61246 w 75723"/>
                <a:gd name="connsiteY0" fmla="*/ 191 h 94107"/>
                <a:gd name="connsiteX1" fmla="*/ 67056 w 75723"/>
                <a:gd name="connsiteY1" fmla="*/ 2572 h 94107"/>
                <a:gd name="connsiteX2" fmla="*/ 68199 w 75723"/>
                <a:gd name="connsiteY2" fmla="*/ 11335 h 94107"/>
                <a:gd name="connsiteX3" fmla="*/ 69818 w 75723"/>
                <a:gd name="connsiteY3" fmla="*/ 26956 h 94107"/>
                <a:gd name="connsiteX4" fmla="*/ 67628 w 75723"/>
                <a:gd name="connsiteY4" fmla="*/ 40576 h 94107"/>
                <a:gd name="connsiteX5" fmla="*/ 75724 w 75723"/>
                <a:gd name="connsiteY5" fmla="*/ 45053 h 94107"/>
                <a:gd name="connsiteX6" fmla="*/ 72962 w 75723"/>
                <a:gd name="connsiteY6" fmla="*/ 50959 h 94107"/>
                <a:gd name="connsiteX7" fmla="*/ 69723 w 75723"/>
                <a:gd name="connsiteY7" fmla="*/ 56293 h 94107"/>
                <a:gd name="connsiteX8" fmla="*/ 63913 w 75723"/>
                <a:gd name="connsiteY8" fmla="*/ 61436 h 94107"/>
                <a:gd name="connsiteX9" fmla="*/ 62103 w 75723"/>
                <a:gd name="connsiteY9" fmla="*/ 75629 h 94107"/>
                <a:gd name="connsiteX10" fmla="*/ 56102 w 75723"/>
                <a:gd name="connsiteY10" fmla="*/ 84392 h 94107"/>
                <a:gd name="connsiteX11" fmla="*/ 46292 w 75723"/>
                <a:gd name="connsiteY11" fmla="*/ 86296 h 94107"/>
                <a:gd name="connsiteX12" fmla="*/ 36957 w 75723"/>
                <a:gd name="connsiteY12" fmla="*/ 90202 h 94107"/>
                <a:gd name="connsiteX13" fmla="*/ 31433 w 75723"/>
                <a:gd name="connsiteY13" fmla="*/ 94107 h 94107"/>
                <a:gd name="connsiteX14" fmla="*/ 26003 w 75723"/>
                <a:gd name="connsiteY14" fmla="*/ 84392 h 94107"/>
                <a:gd name="connsiteX15" fmla="*/ 20479 w 75723"/>
                <a:gd name="connsiteY15" fmla="*/ 75629 h 94107"/>
                <a:gd name="connsiteX16" fmla="*/ 19336 w 75723"/>
                <a:gd name="connsiteY16" fmla="*/ 64865 h 94107"/>
                <a:gd name="connsiteX17" fmla="*/ 18669 w 75723"/>
                <a:gd name="connsiteY17" fmla="*/ 48101 h 94107"/>
                <a:gd name="connsiteX18" fmla="*/ 4477 w 75723"/>
                <a:gd name="connsiteY18" fmla="*/ 39243 h 94107"/>
                <a:gd name="connsiteX19" fmla="*/ 0 w 75723"/>
                <a:gd name="connsiteY19" fmla="*/ 33052 h 94107"/>
                <a:gd name="connsiteX20" fmla="*/ 13240 w 75723"/>
                <a:gd name="connsiteY20" fmla="*/ 20098 h 94107"/>
                <a:gd name="connsiteX21" fmla="*/ 40196 w 75723"/>
                <a:gd name="connsiteY21" fmla="*/ 24384 h 94107"/>
                <a:gd name="connsiteX22" fmla="*/ 61150 w 75723"/>
                <a:gd name="connsiteY22" fmla="*/ 0 h 94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5723" h="94107">
                  <a:moveTo>
                    <a:pt x="61246" y="191"/>
                  </a:moveTo>
                  <a:lnTo>
                    <a:pt x="67056" y="2572"/>
                  </a:lnTo>
                  <a:lnTo>
                    <a:pt x="68199" y="11335"/>
                  </a:lnTo>
                  <a:lnTo>
                    <a:pt x="69818" y="26956"/>
                  </a:lnTo>
                  <a:lnTo>
                    <a:pt x="67628" y="40576"/>
                  </a:lnTo>
                  <a:lnTo>
                    <a:pt x="75724" y="45053"/>
                  </a:lnTo>
                  <a:lnTo>
                    <a:pt x="72962" y="50959"/>
                  </a:lnTo>
                  <a:lnTo>
                    <a:pt x="69723" y="56293"/>
                  </a:lnTo>
                  <a:lnTo>
                    <a:pt x="63913" y="61436"/>
                  </a:lnTo>
                  <a:lnTo>
                    <a:pt x="62103" y="75629"/>
                  </a:lnTo>
                  <a:lnTo>
                    <a:pt x="56102" y="84392"/>
                  </a:lnTo>
                  <a:lnTo>
                    <a:pt x="46292" y="86296"/>
                  </a:lnTo>
                  <a:lnTo>
                    <a:pt x="36957" y="90202"/>
                  </a:lnTo>
                  <a:lnTo>
                    <a:pt x="31433" y="94107"/>
                  </a:lnTo>
                  <a:lnTo>
                    <a:pt x="26003" y="84392"/>
                  </a:lnTo>
                  <a:lnTo>
                    <a:pt x="20479" y="75629"/>
                  </a:lnTo>
                  <a:lnTo>
                    <a:pt x="19336" y="64865"/>
                  </a:lnTo>
                  <a:lnTo>
                    <a:pt x="18669" y="48101"/>
                  </a:lnTo>
                  <a:lnTo>
                    <a:pt x="4477" y="39243"/>
                  </a:lnTo>
                  <a:lnTo>
                    <a:pt x="0" y="33052"/>
                  </a:lnTo>
                  <a:lnTo>
                    <a:pt x="13240" y="20098"/>
                  </a:lnTo>
                  <a:lnTo>
                    <a:pt x="40196" y="24384"/>
                  </a:lnTo>
                  <a:lnTo>
                    <a:pt x="61150" y="0"/>
                  </a:lnTo>
                </a:path>
              </a:pathLst>
            </a:custGeom>
            <a:grpFill/>
            <a:ln w="2381" cap="sq">
              <a:noFill/>
              <a:prstDash val="solid"/>
              <a:bevel/>
            </a:ln>
          </p:spPr>
          <p:txBody>
            <a:bodyPr rtlCol="0" anchor="ctr"/>
            <a:lstStyle/>
            <a:p>
              <a:endParaRPr lang="cs-CZ"/>
            </a:p>
          </p:txBody>
        </p:sp>
        <p:sp>
          <p:nvSpPr>
            <p:cNvPr id="283" name="Freeform: Shape 282">
              <a:extLst>
                <a:ext uri="{FF2B5EF4-FFF2-40B4-BE49-F238E27FC236}">
                  <a16:creationId xmlns:a16="http://schemas.microsoft.com/office/drawing/2014/main" id="{D7348255-0FD7-D340-06A2-4A82695F8E21}"/>
                </a:ext>
              </a:extLst>
            </p:cNvPr>
            <p:cNvSpPr/>
            <p:nvPr/>
          </p:nvSpPr>
          <p:spPr>
            <a:xfrm>
              <a:off x="14031180" y="8295732"/>
              <a:ext cx="35433" cy="60579"/>
            </a:xfrm>
            <a:custGeom>
              <a:avLst/>
              <a:gdLst>
                <a:gd name="connsiteX0" fmla="*/ 25622 w 35433"/>
                <a:gd name="connsiteY0" fmla="*/ 0 h 60579"/>
                <a:gd name="connsiteX1" fmla="*/ 34766 w 35433"/>
                <a:gd name="connsiteY1" fmla="*/ 3905 h 60579"/>
                <a:gd name="connsiteX2" fmla="*/ 35433 w 35433"/>
                <a:gd name="connsiteY2" fmla="*/ 15526 h 60579"/>
                <a:gd name="connsiteX3" fmla="*/ 33719 w 35433"/>
                <a:gd name="connsiteY3" fmla="*/ 28385 h 60579"/>
                <a:gd name="connsiteX4" fmla="*/ 31528 w 35433"/>
                <a:gd name="connsiteY4" fmla="*/ 46387 h 60579"/>
                <a:gd name="connsiteX5" fmla="*/ 25146 w 35433"/>
                <a:gd name="connsiteY5" fmla="*/ 60579 h 60579"/>
                <a:gd name="connsiteX6" fmla="*/ 4000 w 35433"/>
                <a:gd name="connsiteY6" fmla="*/ 50197 h 60579"/>
                <a:gd name="connsiteX7" fmla="*/ 0 w 35433"/>
                <a:gd name="connsiteY7" fmla="*/ 31909 h 60579"/>
                <a:gd name="connsiteX8" fmla="*/ 13906 w 35433"/>
                <a:gd name="connsiteY8" fmla="*/ 5239 h 60579"/>
                <a:gd name="connsiteX9" fmla="*/ 25622 w 35433"/>
                <a:gd name="connsiteY9" fmla="*/ 0 h 60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433" h="60579">
                  <a:moveTo>
                    <a:pt x="25622" y="0"/>
                  </a:moveTo>
                  <a:lnTo>
                    <a:pt x="34766" y="3905"/>
                  </a:lnTo>
                  <a:lnTo>
                    <a:pt x="35433" y="15526"/>
                  </a:lnTo>
                  <a:lnTo>
                    <a:pt x="33719" y="28385"/>
                  </a:lnTo>
                  <a:lnTo>
                    <a:pt x="31528" y="46387"/>
                  </a:lnTo>
                  <a:lnTo>
                    <a:pt x="25146" y="60579"/>
                  </a:lnTo>
                  <a:lnTo>
                    <a:pt x="4000" y="50197"/>
                  </a:lnTo>
                  <a:lnTo>
                    <a:pt x="0" y="31909"/>
                  </a:lnTo>
                  <a:lnTo>
                    <a:pt x="13906" y="5239"/>
                  </a:lnTo>
                  <a:lnTo>
                    <a:pt x="25622" y="0"/>
                  </a:lnTo>
                </a:path>
              </a:pathLst>
            </a:custGeom>
            <a:grpFill/>
            <a:ln w="2381" cap="sq">
              <a:noFill/>
              <a:prstDash val="solid"/>
              <a:bevel/>
            </a:ln>
          </p:spPr>
          <p:txBody>
            <a:bodyPr rtlCol="0" anchor="ctr"/>
            <a:lstStyle/>
            <a:p>
              <a:endParaRPr lang="cs-CZ"/>
            </a:p>
          </p:txBody>
        </p:sp>
        <p:sp>
          <p:nvSpPr>
            <p:cNvPr id="284" name="Freeform: Shape 283">
              <a:extLst>
                <a:ext uri="{FF2B5EF4-FFF2-40B4-BE49-F238E27FC236}">
                  <a16:creationId xmlns:a16="http://schemas.microsoft.com/office/drawing/2014/main" id="{4C8E5DB1-FB61-DCFE-DA4D-5C66A0EA5235}"/>
                </a:ext>
              </a:extLst>
            </p:cNvPr>
            <p:cNvSpPr/>
            <p:nvPr/>
          </p:nvSpPr>
          <p:spPr>
            <a:xfrm>
              <a:off x="11686792" y="8156952"/>
              <a:ext cx="142017" cy="179641"/>
            </a:xfrm>
            <a:custGeom>
              <a:avLst/>
              <a:gdLst>
                <a:gd name="connsiteX0" fmla="*/ 15049 w 142017"/>
                <a:gd name="connsiteY0" fmla="*/ 0 h 179641"/>
                <a:gd name="connsiteX1" fmla="*/ 24194 w 142017"/>
                <a:gd name="connsiteY1" fmla="*/ 12097 h 179641"/>
                <a:gd name="connsiteX2" fmla="*/ 32480 w 142017"/>
                <a:gd name="connsiteY2" fmla="*/ 27242 h 179641"/>
                <a:gd name="connsiteX3" fmla="*/ 56578 w 142017"/>
                <a:gd name="connsiteY3" fmla="*/ 45434 h 179641"/>
                <a:gd name="connsiteX4" fmla="*/ 58198 w 142017"/>
                <a:gd name="connsiteY4" fmla="*/ 60579 h 179641"/>
                <a:gd name="connsiteX5" fmla="*/ 68961 w 142017"/>
                <a:gd name="connsiteY5" fmla="*/ 59055 h 179641"/>
                <a:gd name="connsiteX6" fmla="*/ 77248 w 142017"/>
                <a:gd name="connsiteY6" fmla="*/ 78677 h 179641"/>
                <a:gd name="connsiteX7" fmla="*/ 92202 w 142017"/>
                <a:gd name="connsiteY7" fmla="*/ 74104 h 179641"/>
                <a:gd name="connsiteX8" fmla="*/ 102965 w 142017"/>
                <a:gd name="connsiteY8" fmla="*/ 74104 h 179641"/>
                <a:gd name="connsiteX9" fmla="*/ 123730 w 142017"/>
                <a:gd name="connsiteY9" fmla="*/ 69533 h 179641"/>
                <a:gd name="connsiteX10" fmla="*/ 137827 w 142017"/>
                <a:gd name="connsiteY10" fmla="*/ 80105 h 179641"/>
                <a:gd name="connsiteX11" fmla="*/ 142018 w 142017"/>
                <a:gd name="connsiteY11" fmla="*/ 101251 h 179641"/>
                <a:gd name="connsiteX12" fmla="*/ 142018 w 142017"/>
                <a:gd name="connsiteY12" fmla="*/ 119348 h 179641"/>
                <a:gd name="connsiteX13" fmla="*/ 123730 w 142017"/>
                <a:gd name="connsiteY13" fmla="*/ 138970 h 179641"/>
                <a:gd name="connsiteX14" fmla="*/ 107156 w 142017"/>
                <a:gd name="connsiteY14" fmla="*/ 131445 h 179641"/>
                <a:gd name="connsiteX15" fmla="*/ 95536 w 142017"/>
                <a:gd name="connsiteY15" fmla="*/ 145066 h 179641"/>
                <a:gd name="connsiteX16" fmla="*/ 107156 w 142017"/>
                <a:gd name="connsiteY16" fmla="*/ 172117 h 179641"/>
                <a:gd name="connsiteX17" fmla="*/ 88868 w 142017"/>
                <a:gd name="connsiteY17" fmla="*/ 173641 h 179641"/>
                <a:gd name="connsiteX18" fmla="*/ 85535 w 142017"/>
                <a:gd name="connsiteY18" fmla="*/ 167640 h 179641"/>
                <a:gd name="connsiteX19" fmla="*/ 69723 w 142017"/>
                <a:gd name="connsiteY19" fmla="*/ 149543 h 179641"/>
                <a:gd name="connsiteX20" fmla="*/ 56483 w 142017"/>
                <a:gd name="connsiteY20" fmla="*/ 140494 h 179641"/>
                <a:gd name="connsiteX21" fmla="*/ 59817 w 142017"/>
                <a:gd name="connsiteY21" fmla="*/ 167640 h 179641"/>
                <a:gd name="connsiteX22" fmla="*/ 39053 w 142017"/>
                <a:gd name="connsiteY22" fmla="*/ 179642 h 179641"/>
                <a:gd name="connsiteX23" fmla="*/ 36576 w 142017"/>
                <a:gd name="connsiteY23" fmla="*/ 151067 h 179641"/>
                <a:gd name="connsiteX24" fmla="*/ 857 w 142017"/>
                <a:gd name="connsiteY24" fmla="*/ 160115 h 179641"/>
                <a:gd name="connsiteX25" fmla="*/ 0 w 142017"/>
                <a:gd name="connsiteY25" fmla="*/ 119444 h 179641"/>
                <a:gd name="connsiteX26" fmla="*/ 10763 w 142017"/>
                <a:gd name="connsiteY26" fmla="*/ 102870 h 179641"/>
                <a:gd name="connsiteX27" fmla="*/ 1619 w 142017"/>
                <a:gd name="connsiteY27" fmla="*/ 71152 h 179641"/>
                <a:gd name="connsiteX28" fmla="*/ 13240 w 142017"/>
                <a:gd name="connsiteY28" fmla="*/ 52959 h 179641"/>
                <a:gd name="connsiteX29" fmla="*/ 7430 w 142017"/>
                <a:gd name="connsiteY29" fmla="*/ 34862 h 179641"/>
                <a:gd name="connsiteX30" fmla="*/ 2477 w 142017"/>
                <a:gd name="connsiteY30" fmla="*/ 12192 h 179641"/>
                <a:gd name="connsiteX31" fmla="*/ 14954 w 142017"/>
                <a:gd name="connsiteY31" fmla="*/ 95 h 179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2017" h="179641">
                  <a:moveTo>
                    <a:pt x="15049" y="0"/>
                  </a:moveTo>
                  <a:lnTo>
                    <a:pt x="24194" y="12097"/>
                  </a:lnTo>
                  <a:lnTo>
                    <a:pt x="32480" y="27242"/>
                  </a:lnTo>
                  <a:lnTo>
                    <a:pt x="56578" y="45434"/>
                  </a:lnTo>
                  <a:lnTo>
                    <a:pt x="58198" y="60579"/>
                  </a:lnTo>
                  <a:lnTo>
                    <a:pt x="68961" y="59055"/>
                  </a:lnTo>
                  <a:lnTo>
                    <a:pt x="77248" y="78677"/>
                  </a:lnTo>
                  <a:lnTo>
                    <a:pt x="92202" y="74104"/>
                  </a:lnTo>
                  <a:lnTo>
                    <a:pt x="102965" y="74104"/>
                  </a:lnTo>
                  <a:lnTo>
                    <a:pt x="123730" y="69533"/>
                  </a:lnTo>
                  <a:lnTo>
                    <a:pt x="137827" y="80105"/>
                  </a:lnTo>
                  <a:lnTo>
                    <a:pt x="142018" y="101251"/>
                  </a:lnTo>
                  <a:lnTo>
                    <a:pt x="142018" y="119348"/>
                  </a:lnTo>
                  <a:lnTo>
                    <a:pt x="123730" y="138970"/>
                  </a:lnTo>
                  <a:lnTo>
                    <a:pt x="107156" y="131445"/>
                  </a:lnTo>
                  <a:lnTo>
                    <a:pt x="95536" y="145066"/>
                  </a:lnTo>
                  <a:lnTo>
                    <a:pt x="107156" y="172117"/>
                  </a:lnTo>
                  <a:lnTo>
                    <a:pt x="88868" y="173641"/>
                  </a:lnTo>
                  <a:lnTo>
                    <a:pt x="85535" y="167640"/>
                  </a:lnTo>
                  <a:lnTo>
                    <a:pt x="69723" y="149543"/>
                  </a:lnTo>
                  <a:lnTo>
                    <a:pt x="56483" y="140494"/>
                  </a:lnTo>
                  <a:lnTo>
                    <a:pt x="59817" y="167640"/>
                  </a:lnTo>
                  <a:lnTo>
                    <a:pt x="39053" y="179642"/>
                  </a:lnTo>
                  <a:lnTo>
                    <a:pt x="36576" y="151067"/>
                  </a:lnTo>
                  <a:lnTo>
                    <a:pt x="857" y="160115"/>
                  </a:lnTo>
                  <a:lnTo>
                    <a:pt x="0" y="119444"/>
                  </a:lnTo>
                  <a:lnTo>
                    <a:pt x="10763" y="102870"/>
                  </a:lnTo>
                  <a:lnTo>
                    <a:pt x="1619" y="71152"/>
                  </a:lnTo>
                  <a:lnTo>
                    <a:pt x="13240" y="52959"/>
                  </a:lnTo>
                  <a:lnTo>
                    <a:pt x="7430" y="34862"/>
                  </a:lnTo>
                  <a:lnTo>
                    <a:pt x="2477" y="12192"/>
                  </a:lnTo>
                  <a:lnTo>
                    <a:pt x="14954" y="95"/>
                  </a:lnTo>
                </a:path>
              </a:pathLst>
            </a:custGeom>
            <a:grpFill/>
            <a:ln w="2381" cap="sq">
              <a:noFill/>
              <a:prstDash val="solid"/>
              <a:bevel/>
            </a:ln>
          </p:spPr>
          <p:txBody>
            <a:bodyPr rtlCol="0" anchor="ctr"/>
            <a:lstStyle/>
            <a:p>
              <a:endParaRPr lang="cs-CZ"/>
            </a:p>
          </p:txBody>
        </p:sp>
        <p:sp>
          <p:nvSpPr>
            <p:cNvPr id="285" name="Freeform: Shape 284">
              <a:extLst>
                <a:ext uri="{FF2B5EF4-FFF2-40B4-BE49-F238E27FC236}">
                  <a16:creationId xmlns:a16="http://schemas.microsoft.com/office/drawing/2014/main" id="{04F1B85A-30E9-E2EB-4B03-7BD9EF1BDDA1}"/>
                </a:ext>
              </a:extLst>
            </p:cNvPr>
            <p:cNvSpPr/>
            <p:nvPr/>
          </p:nvSpPr>
          <p:spPr>
            <a:xfrm>
              <a:off x="12954188" y="7877679"/>
              <a:ext cx="105632" cy="63436"/>
            </a:xfrm>
            <a:custGeom>
              <a:avLst/>
              <a:gdLst>
                <a:gd name="connsiteX0" fmla="*/ 47339 w 105632"/>
                <a:gd name="connsiteY0" fmla="*/ 62198 h 63436"/>
                <a:gd name="connsiteX1" fmla="*/ 27813 w 105632"/>
                <a:gd name="connsiteY1" fmla="*/ 63437 h 63436"/>
                <a:gd name="connsiteX2" fmla="*/ 22193 w 105632"/>
                <a:gd name="connsiteY2" fmla="*/ 62865 h 63436"/>
                <a:gd name="connsiteX3" fmla="*/ 16288 w 105632"/>
                <a:gd name="connsiteY3" fmla="*/ 45910 h 63436"/>
                <a:gd name="connsiteX4" fmla="*/ 2191 w 105632"/>
                <a:gd name="connsiteY4" fmla="*/ 48863 h 63436"/>
                <a:gd name="connsiteX5" fmla="*/ 0 w 105632"/>
                <a:gd name="connsiteY5" fmla="*/ 29908 h 63436"/>
                <a:gd name="connsiteX6" fmla="*/ 17336 w 105632"/>
                <a:gd name="connsiteY6" fmla="*/ 16954 h 63436"/>
                <a:gd name="connsiteX7" fmla="*/ 23336 w 105632"/>
                <a:gd name="connsiteY7" fmla="*/ 6953 h 63436"/>
                <a:gd name="connsiteX8" fmla="*/ 42863 w 105632"/>
                <a:gd name="connsiteY8" fmla="*/ 10954 h 63436"/>
                <a:gd name="connsiteX9" fmla="*/ 61246 w 105632"/>
                <a:gd name="connsiteY9" fmla="*/ 15907 h 63436"/>
                <a:gd name="connsiteX10" fmla="*/ 74771 w 105632"/>
                <a:gd name="connsiteY10" fmla="*/ 6953 h 63436"/>
                <a:gd name="connsiteX11" fmla="*/ 88868 w 105632"/>
                <a:gd name="connsiteY11" fmla="*/ 0 h 63436"/>
                <a:gd name="connsiteX12" fmla="*/ 102965 w 105632"/>
                <a:gd name="connsiteY12" fmla="*/ 0 h 63436"/>
                <a:gd name="connsiteX13" fmla="*/ 105632 w 105632"/>
                <a:gd name="connsiteY13" fmla="*/ 8954 h 63436"/>
                <a:gd name="connsiteX14" fmla="*/ 100203 w 105632"/>
                <a:gd name="connsiteY14" fmla="*/ 22955 h 63436"/>
                <a:gd name="connsiteX15" fmla="*/ 93726 w 105632"/>
                <a:gd name="connsiteY15" fmla="*/ 34957 h 63436"/>
                <a:gd name="connsiteX16" fmla="*/ 97536 w 105632"/>
                <a:gd name="connsiteY16" fmla="*/ 49911 h 63436"/>
                <a:gd name="connsiteX17" fmla="*/ 77533 w 105632"/>
                <a:gd name="connsiteY17" fmla="*/ 60865 h 63436"/>
                <a:gd name="connsiteX18" fmla="*/ 66199 w 105632"/>
                <a:gd name="connsiteY18" fmla="*/ 62865 h 63436"/>
                <a:gd name="connsiteX19" fmla="*/ 55340 w 105632"/>
                <a:gd name="connsiteY19" fmla="*/ 52864 h 63436"/>
                <a:gd name="connsiteX20" fmla="*/ 47339 w 105632"/>
                <a:gd name="connsiteY20" fmla="*/ 62103 h 63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5632" h="63436">
                  <a:moveTo>
                    <a:pt x="47339" y="62198"/>
                  </a:moveTo>
                  <a:lnTo>
                    <a:pt x="27813" y="63437"/>
                  </a:lnTo>
                  <a:lnTo>
                    <a:pt x="22193" y="62865"/>
                  </a:lnTo>
                  <a:lnTo>
                    <a:pt x="16288" y="45910"/>
                  </a:lnTo>
                  <a:lnTo>
                    <a:pt x="2191" y="48863"/>
                  </a:lnTo>
                  <a:lnTo>
                    <a:pt x="0" y="29908"/>
                  </a:lnTo>
                  <a:lnTo>
                    <a:pt x="17336" y="16954"/>
                  </a:lnTo>
                  <a:lnTo>
                    <a:pt x="23336" y="6953"/>
                  </a:lnTo>
                  <a:lnTo>
                    <a:pt x="42863" y="10954"/>
                  </a:lnTo>
                  <a:lnTo>
                    <a:pt x="61246" y="15907"/>
                  </a:lnTo>
                  <a:lnTo>
                    <a:pt x="74771" y="6953"/>
                  </a:lnTo>
                  <a:lnTo>
                    <a:pt x="88868" y="0"/>
                  </a:lnTo>
                  <a:lnTo>
                    <a:pt x="102965" y="0"/>
                  </a:lnTo>
                  <a:lnTo>
                    <a:pt x="105632" y="8954"/>
                  </a:lnTo>
                  <a:lnTo>
                    <a:pt x="100203" y="22955"/>
                  </a:lnTo>
                  <a:lnTo>
                    <a:pt x="93726" y="34957"/>
                  </a:lnTo>
                  <a:lnTo>
                    <a:pt x="97536" y="49911"/>
                  </a:lnTo>
                  <a:lnTo>
                    <a:pt x="77533" y="60865"/>
                  </a:lnTo>
                  <a:lnTo>
                    <a:pt x="66199" y="62865"/>
                  </a:lnTo>
                  <a:lnTo>
                    <a:pt x="55340" y="52864"/>
                  </a:lnTo>
                  <a:lnTo>
                    <a:pt x="47339" y="62103"/>
                  </a:lnTo>
                </a:path>
              </a:pathLst>
            </a:custGeom>
            <a:grpFill/>
            <a:ln w="2381" cap="sq">
              <a:noFill/>
              <a:prstDash val="solid"/>
              <a:bevel/>
            </a:ln>
          </p:spPr>
          <p:txBody>
            <a:bodyPr rtlCol="0" anchor="ctr"/>
            <a:lstStyle/>
            <a:p>
              <a:endParaRPr lang="cs-CZ"/>
            </a:p>
          </p:txBody>
        </p:sp>
        <p:sp>
          <p:nvSpPr>
            <p:cNvPr id="286" name="Freeform: Shape 285">
              <a:extLst>
                <a:ext uri="{FF2B5EF4-FFF2-40B4-BE49-F238E27FC236}">
                  <a16:creationId xmlns:a16="http://schemas.microsoft.com/office/drawing/2014/main" id="{118DE6A7-1465-74A2-FEDD-4C24E8BA8845}"/>
                </a:ext>
              </a:extLst>
            </p:cNvPr>
            <p:cNvSpPr/>
            <p:nvPr/>
          </p:nvSpPr>
          <p:spPr>
            <a:xfrm>
              <a:off x="12852652" y="7851867"/>
              <a:ext cx="101727" cy="111633"/>
            </a:xfrm>
            <a:custGeom>
              <a:avLst/>
              <a:gdLst>
                <a:gd name="connsiteX0" fmla="*/ 39338 w 101727"/>
                <a:gd name="connsiteY0" fmla="*/ 0 h 111633"/>
                <a:gd name="connsiteX1" fmla="*/ 48578 w 101727"/>
                <a:gd name="connsiteY1" fmla="*/ 1048 h 111633"/>
                <a:gd name="connsiteX2" fmla="*/ 57245 w 101727"/>
                <a:gd name="connsiteY2" fmla="*/ 4000 h 111633"/>
                <a:gd name="connsiteX3" fmla="*/ 69152 w 101727"/>
                <a:gd name="connsiteY3" fmla="*/ 2000 h 111633"/>
                <a:gd name="connsiteX4" fmla="*/ 85439 w 101727"/>
                <a:gd name="connsiteY4" fmla="*/ 1048 h 111633"/>
                <a:gd name="connsiteX5" fmla="*/ 101727 w 101727"/>
                <a:gd name="connsiteY5" fmla="*/ 55912 h 111633"/>
                <a:gd name="connsiteX6" fmla="*/ 99060 w 101727"/>
                <a:gd name="connsiteY6" fmla="*/ 63913 h 111633"/>
                <a:gd name="connsiteX7" fmla="*/ 82296 w 101727"/>
                <a:gd name="connsiteY7" fmla="*/ 79819 h 111633"/>
                <a:gd name="connsiteX8" fmla="*/ 62294 w 101727"/>
                <a:gd name="connsiteY8" fmla="*/ 87821 h 111633"/>
                <a:gd name="connsiteX9" fmla="*/ 44958 w 101727"/>
                <a:gd name="connsiteY9" fmla="*/ 90773 h 111633"/>
                <a:gd name="connsiteX10" fmla="*/ 28670 w 101727"/>
                <a:gd name="connsiteY10" fmla="*/ 111633 h 111633"/>
                <a:gd name="connsiteX11" fmla="*/ 16764 w 101727"/>
                <a:gd name="connsiteY11" fmla="*/ 109633 h 111633"/>
                <a:gd name="connsiteX12" fmla="*/ 5429 w 101727"/>
                <a:gd name="connsiteY12" fmla="*/ 101727 h 111633"/>
                <a:gd name="connsiteX13" fmla="*/ 0 w 101727"/>
                <a:gd name="connsiteY13" fmla="*/ 88773 h 111633"/>
                <a:gd name="connsiteX14" fmla="*/ 4286 w 101727"/>
                <a:gd name="connsiteY14" fmla="*/ 77819 h 111633"/>
                <a:gd name="connsiteX15" fmla="*/ 6953 w 101727"/>
                <a:gd name="connsiteY15" fmla="*/ 60865 h 111633"/>
                <a:gd name="connsiteX16" fmla="*/ 28575 w 101727"/>
                <a:gd name="connsiteY16" fmla="*/ 50864 h 111633"/>
                <a:gd name="connsiteX17" fmla="*/ 35052 w 101727"/>
                <a:gd name="connsiteY17" fmla="*/ 39910 h 111633"/>
                <a:gd name="connsiteX18" fmla="*/ 36671 w 101727"/>
                <a:gd name="connsiteY18" fmla="*/ 14954 h 111633"/>
                <a:gd name="connsiteX19" fmla="*/ 39338 w 101727"/>
                <a:gd name="connsiteY19" fmla="*/ 0 h 111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1727" h="111633">
                  <a:moveTo>
                    <a:pt x="39338" y="0"/>
                  </a:moveTo>
                  <a:lnTo>
                    <a:pt x="48578" y="1048"/>
                  </a:lnTo>
                  <a:lnTo>
                    <a:pt x="57245" y="4000"/>
                  </a:lnTo>
                  <a:lnTo>
                    <a:pt x="69152" y="2000"/>
                  </a:lnTo>
                  <a:lnTo>
                    <a:pt x="85439" y="1048"/>
                  </a:lnTo>
                  <a:lnTo>
                    <a:pt x="101727" y="55912"/>
                  </a:lnTo>
                  <a:lnTo>
                    <a:pt x="99060" y="63913"/>
                  </a:lnTo>
                  <a:lnTo>
                    <a:pt x="82296" y="79819"/>
                  </a:lnTo>
                  <a:lnTo>
                    <a:pt x="62294" y="87821"/>
                  </a:lnTo>
                  <a:lnTo>
                    <a:pt x="44958" y="90773"/>
                  </a:lnTo>
                  <a:lnTo>
                    <a:pt x="28670" y="111633"/>
                  </a:lnTo>
                  <a:lnTo>
                    <a:pt x="16764" y="109633"/>
                  </a:lnTo>
                  <a:lnTo>
                    <a:pt x="5429" y="101727"/>
                  </a:lnTo>
                  <a:lnTo>
                    <a:pt x="0" y="88773"/>
                  </a:lnTo>
                  <a:lnTo>
                    <a:pt x="4286" y="77819"/>
                  </a:lnTo>
                  <a:lnTo>
                    <a:pt x="6953" y="60865"/>
                  </a:lnTo>
                  <a:lnTo>
                    <a:pt x="28575" y="50864"/>
                  </a:lnTo>
                  <a:lnTo>
                    <a:pt x="35052" y="39910"/>
                  </a:lnTo>
                  <a:lnTo>
                    <a:pt x="36671" y="14954"/>
                  </a:lnTo>
                  <a:lnTo>
                    <a:pt x="39338" y="0"/>
                  </a:lnTo>
                </a:path>
              </a:pathLst>
            </a:custGeom>
            <a:grpFill/>
            <a:ln w="2381" cap="sq">
              <a:noFill/>
              <a:prstDash val="solid"/>
              <a:bevel/>
            </a:ln>
          </p:spPr>
          <p:txBody>
            <a:bodyPr rtlCol="0" anchor="ctr"/>
            <a:lstStyle/>
            <a:p>
              <a:endParaRPr lang="cs-CZ"/>
            </a:p>
          </p:txBody>
        </p:sp>
        <p:sp>
          <p:nvSpPr>
            <p:cNvPr id="287" name="Freeform: Shape 286">
              <a:extLst>
                <a:ext uri="{FF2B5EF4-FFF2-40B4-BE49-F238E27FC236}">
                  <a16:creationId xmlns:a16="http://schemas.microsoft.com/office/drawing/2014/main" id="{02F5CCAF-310F-40A8-BD9D-334F26362345}"/>
                </a:ext>
              </a:extLst>
            </p:cNvPr>
            <p:cNvSpPr/>
            <p:nvPr/>
          </p:nvSpPr>
          <p:spPr>
            <a:xfrm>
              <a:off x="13290612" y="7583071"/>
              <a:ext cx="32956" cy="36385"/>
            </a:xfrm>
            <a:custGeom>
              <a:avLst/>
              <a:gdLst>
                <a:gd name="connsiteX0" fmla="*/ 32861 w 32956"/>
                <a:gd name="connsiteY0" fmla="*/ 13621 h 36385"/>
                <a:gd name="connsiteX1" fmla="*/ 31051 w 32956"/>
                <a:gd name="connsiteY1" fmla="*/ 29527 h 36385"/>
                <a:gd name="connsiteX2" fmla="*/ 23146 w 32956"/>
                <a:gd name="connsiteY2" fmla="*/ 36385 h 36385"/>
                <a:gd name="connsiteX3" fmla="*/ 9144 w 32956"/>
                <a:gd name="connsiteY3" fmla="*/ 34099 h 36385"/>
                <a:gd name="connsiteX4" fmla="*/ 1810 w 32956"/>
                <a:gd name="connsiteY4" fmla="*/ 34099 h 36385"/>
                <a:gd name="connsiteX5" fmla="*/ 0 w 32956"/>
                <a:gd name="connsiteY5" fmla="*/ 20479 h 36385"/>
                <a:gd name="connsiteX6" fmla="*/ 2476 w 32956"/>
                <a:gd name="connsiteY6" fmla="*/ 4572 h 36385"/>
                <a:gd name="connsiteX7" fmla="*/ 15240 w 32956"/>
                <a:gd name="connsiteY7" fmla="*/ 0 h 36385"/>
                <a:gd name="connsiteX8" fmla="*/ 26194 w 32956"/>
                <a:gd name="connsiteY8" fmla="*/ 0 h 36385"/>
                <a:gd name="connsiteX9" fmla="*/ 32956 w 32956"/>
                <a:gd name="connsiteY9" fmla="*/ 13621 h 36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956" h="36385">
                  <a:moveTo>
                    <a:pt x="32861" y="13621"/>
                  </a:moveTo>
                  <a:lnTo>
                    <a:pt x="31051" y="29527"/>
                  </a:lnTo>
                  <a:lnTo>
                    <a:pt x="23146" y="36385"/>
                  </a:lnTo>
                  <a:lnTo>
                    <a:pt x="9144" y="34099"/>
                  </a:lnTo>
                  <a:lnTo>
                    <a:pt x="1810" y="34099"/>
                  </a:lnTo>
                  <a:lnTo>
                    <a:pt x="0" y="20479"/>
                  </a:lnTo>
                  <a:lnTo>
                    <a:pt x="2476" y="4572"/>
                  </a:lnTo>
                  <a:lnTo>
                    <a:pt x="15240" y="0"/>
                  </a:lnTo>
                  <a:lnTo>
                    <a:pt x="26194" y="0"/>
                  </a:lnTo>
                  <a:lnTo>
                    <a:pt x="32956" y="13621"/>
                  </a:lnTo>
                </a:path>
              </a:pathLst>
            </a:custGeom>
            <a:grpFill/>
            <a:ln w="2381" cap="sq">
              <a:noFill/>
              <a:prstDash val="solid"/>
              <a:bevel/>
            </a:ln>
          </p:spPr>
          <p:txBody>
            <a:bodyPr rtlCol="0" anchor="ctr"/>
            <a:lstStyle/>
            <a:p>
              <a:endParaRPr lang="cs-CZ"/>
            </a:p>
          </p:txBody>
        </p:sp>
        <p:sp>
          <p:nvSpPr>
            <p:cNvPr id="288" name="Freeform: Shape 287">
              <a:extLst>
                <a:ext uri="{FF2B5EF4-FFF2-40B4-BE49-F238E27FC236}">
                  <a16:creationId xmlns:a16="http://schemas.microsoft.com/office/drawing/2014/main" id="{293309E8-247B-2C9E-68D6-B3AB1E1F5E04}"/>
                </a:ext>
              </a:extLst>
            </p:cNvPr>
            <p:cNvSpPr/>
            <p:nvPr/>
          </p:nvSpPr>
          <p:spPr>
            <a:xfrm>
              <a:off x="13235557" y="7746139"/>
              <a:ext cx="134207" cy="132016"/>
            </a:xfrm>
            <a:custGeom>
              <a:avLst/>
              <a:gdLst>
                <a:gd name="connsiteX0" fmla="*/ 95 w 134207"/>
                <a:gd name="connsiteY0" fmla="*/ 24860 h 132016"/>
                <a:gd name="connsiteX1" fmla="*/ 95 w 134207"/>
                <a:gd name="connsiteY1" fmla="*/ 0 h 132016"/>
                <a:gd name="connsiteX2" fmla="*/ 9239 w 134207"/>
                <a:gd name="connsiteY2" fmla="*/ 3429 h 132016"/>
                <a:gd name="connsiteX3" fmla="*/ 16573 w 134207"/>
                <a:gd name="connsiteY3" fmla="*/ 9049 h 132016"/>
                <a:gd name="connsiteX4" fmla="*/ 31242 w 134207"/>
                <a:gd name="connsiteY4" fmla="*/ 12478 h 132016"/>
                <a:gd name="connsiteX5" fmla="*/ 36100 w 134207"/>
                <a:gd name="connsiteY5" fmla="*/ 15907 h 132016"/>
                <a:gd name="connsiteX6" fmla="*/ 31242 w 134207"/>
                <a:gd name="connsiteY6" fmla="*/ 24955 h 132016"/>
                <a:gd name="connsiteX7" fmla="*/ 39148 w 134207"/>
                <a:gd name="connsiteY7" fmla="*/ 28384 h 132016"/>
                <a:gd name="connsiteX8" fmla="*/ 51340 w 134207"/>
                <a:gd name="connsiteY8" fmla="*/ 24955 h 132016"/>
                <a:gd name="connsiteX9" fmla="*/ 63532 w 134207"/>
                <a:gd name="connsiteY9" fmla="*/ 20479 h 132016"/>
                <a:gd name="connsiteX10" fmla="*/ 76295 w 134207"/>
                <a:gd name="connsiteY10" fmla="*/ 29527 h 132016"/>
                <a:gd name="connsiteX11" fmla="*/ 91535 w 134207"/>
                <a:gd name="connsiteY11" fmla="*/ 38576 h 132016"/>
                <a:gd name="connsiteX12" fmla="*/ 100679 w 134207"/>
                <a:gd name="connsiteY12" fmla="*/ 48768 h 132016"/>
                <a:gd name="connsiteX13" fmla="*/ 104965 w 134207"/>
                <a:gd name="connsiteY13" fmla="*/ 58960 h 132016"/>
                <a:gd name="connsiteX14" fmla="*/ 104965 w 134207"/>
                <a:gd name="connsiteY14" fmla="*/ 82582 h 132016"/>
                <a:gd name="connsiteX15" fmla="*/ 113443 w 134207"/>
                <a:gd name="connsiteY15" fmla="*/ 88202 h 132016"/>
                <a:gd name="connsiteX16" fmla="*/ 122587 w 134207"/>
                <a:gd name="connsiteY16" fmla="*/ 84773 h 132016"/>
                <a:gd name="connsiteX17" fmla="*/ 128111 w 134207"/>
                <a:gd name="connsiteY17" fmla="*/ 78010 h 132016"/>
                <a:gd name="connsiteX18" fmla="*/ 134207 w 134207"/>
                <a:gd name="connsiteY18" fmla="*/ 91535 h 132016"/>
                <a:gd name="connsiteX19" fmla="*/ 132969 w 134207"/>
                <a:gd name="connsiteY19" fmla="*/ 115157 h 132016"/>
                <a:gd name="connsiteX20" fmla="*/ 129350 w 134207"/>
                <a:gd name="connsiteY20" fmla="*/ 132017 h 132016"/>
                <a:gd name="connsiteX21" fmla="*/ 117157 w 134207"/>
                <a:gd name="connsiteY21" fmla="*/ 125254 h 132016"/>
                <a:gd name="connsiteX22" fmla="*/ 108013 w 134207"/>
                <a:gd name="connsiteY22" fmla="*/ 125254 h 132016"/>
                <a:gd name="connsiteX23" fmla="*/ 103156 w 134207"/>
                <a:gd name="connsiteY23" fmla="*/ 128683 h 132016"/>
                <a:gd name="connsiteX24" fmla="*/ 88487 w 134207"/>
                <a:gd name="connsiteY24" fmla="*/ 125254 h 132016"/>
                <a:gd name="connsiteX25" fmla="*/ 82963 w 134207"/>
                <a:gd name="connsiteY25" fmla="*/ 115157 h 132016"/>
                <a:gd name="connsiteX26" fmla="*/ 70199 w 134207"/>
                <a:gd name="connsiteY26" fmla="*/ 103918 h 132016"/>
                <a:gd name="connsiteX27" fmla="*/ 58007 w 134207"/>
                <a:gd name="connsiteY27" fmla="*/ 102775 h 132016"/>
                <a:gd name="connsiteX28" fmla="*/ 51911 w 134207"/>
                <a:gd name="connsiteY28" fmla="*/ 90392 h 132016"/>
                <a:gd name="connsiteX29" fmla="*/ 53721 w 134207"/>
                <a:gd name="connsiteY29" fmla="*/ 80200 h 132016"/>
                <a:gd name="connsiteX30" fmla="*/ 50101 w 134207"/>
                <a:gd name="connsiteY30" fmla="*/ 71152 h 132016"/>
                <a:gd name="connsiteX31" fmla="*/ 33623 w 134207"/>
                <a:gd name="connsiteY31" fmla="*/ 71152 h 132016"/>
                <a:gd name="connsiteX32" fmla="*/ 34195 w 134207"/>
                <a:gd name="connsiteY32" fmla="*/ 52006 h 132016"/>
                <a:gd name="connsiteX33" fmla="*/ 22003 w 134207"/>
                <a:gd name="connsiteY33" fmla="*/ 36195 h 132016"/>
                <a:gd name="connsiteX34" fmla="*/ 0 w 134207"/>
                <a:gd name="connsiteY34" fmla="*/ 24860 h 132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34207" h="132016">
                  <a:moveTo>
                    <a:pt x="95" y="24860"/>
                  </a:moveTo>
                  <a:lnTo>
                    <a:pt x="95" y="0"/>
                  </a:lnTo>
                  <a:lnTo>
                    <a:pt x="9239" y="3429"/>
                  </a:lnTo>
                  <a:lnTo>
                    <a:pt x="16573" y="9049"/>
                  </a:lnTo>
                  <a:lnTo>
                    <a:pt x="31242" y="12478"/>
                  </a:lnTo>
                  <a:lnTo>
                    <a:pt x="36100" y="15907"/>
                  </a:lnTo>
                  <a:lnTo>
                    <a:pt x="31242" y="24955"/>
                  </a:lnTo>
                  <a:lnTo>
                    <a:pt x="39148" y="28384"/>
                  </a:lnTo>
                  <a:lnTo>
                    <a:pt x="51340" y="24955"/>
                  </a:lnTo>
                  <a:lnTo>
                    <a:pt x="63532" y="20479"/>
                  </a:lnTo>
                  <a:lnTo>
                    <a:pt x="76295" y="29527"/>
                  </a:lnTo>
                  <a:lnTo>
                    <a:pt x="91535" y="38576"/>
                  </a:lnTo>
                  <a:lnTo>
                    <a:pt x="100679" y="48768"/>
                  </a:lnTo>
                  <a:lnTo>
                    <a:pt x="104965" y="58960"/>
                  </a:lnTo>
                  <a:lnTo>
                    <a:pt x="104965" y="82582"/>
                  </a:lnTo>
                  <a:lnTo>
                    <a:pt x="113443" y="88202"/>
                  </a:lnTo>
                  <a:lnTo>
                    <a:pt x="122587" y="84773"/>
                  </a:lnTo>
                  <a:lnTo>
                    <a:pt x="128111" y="78010"/>
                  </a:lnTo>
                  <a:lnTo>
                    <a:pt x="134207" y="91535"/>
                  </a:lnTo>
                  <a:lnTo>
                    <a:pt x="132969" y="115157"/>
                  </a:lnTo>
                  <a:lnTo>
                    <a:pt x="129350" y="132017"/>
                  </a:lnTo>
                  <a:lnTo>
                    <a:pt x="117157" y="125254"/>
                  </a:lnTo>
                  <a:lnTo>
                    <a:pt x="108013" y="125254"/>
                  </a:lnTo>
                  <a:lnTo>
                    <a:pt x="103156" y="128683"/>
                  </a:lnTo>
                  <a:lnTo>
                    <a:pt x="88487" y="125254"/>
                  </a:lnTo>
                  <a:lnTo>
                    <a:pt x="82963" y="115157"/>
                  </a:lnTo>
                  <a:lnTo>
                    <a:pt x="70199" y="103918"/>
                  </a:lnTo>
                  <a:lnTo>
                    <a:pt x="58007" y="102775"/>
                  </a:lnTo>
                  <a:lnTo>
                    <a:pt x="51911" y="90392"/>
                  </a:lnTo>
                  <a:lnTo>
                    <a:pt x="53721" y="80200"/>
                  </a:lnTo>
                  <a:lnTo>
                    <a:pt x="50101" y="71152"/>
                  </a:lnTo>
                  <a:lnTo>
                    <a:pt x="33623" y="71152"/>
                  </a:lnTo>
                  <a:lnTo>
                    <a:pt x="34195" y="52006"/>
                  </a:lnTo>
                  <a:lnTo>
                    <a:pt x="22003" y="36195"/>
                  </a:lnTo>
                  <a:lnTo>
                    <a:pt x="0" y="24860"/>
                  </a:lnTo>
                </a:path>
              </a:pathLst>
            </a:custGeom>
            <a:grpFill/>
            <a:ln w="2381" cap="sq">
              <a:noFill/>
              <a:prstDash val="solid"/>
              <a:bevel/>
            </a:ln>
          </p:spPr>
          <p:txBody>
            <a:bodyPr rtlCol="0" anchor="ctr"/>
            <a:lstStyle/>
            <a:p>
              <a:endParaRPr lang="cs-CZ"/>
            </a:p>
          </p:txBody>
        </p:sp>
        <p:sp>
          <p:nvSpPr>
            <p:cNvPr id="289" name="Freeform: Shape 288">
              <a:extLst>
                <a:ext uri="{FF2B5EF4-FFF2-40B4-BE49-F238E27FC236}">
                  <a16:creationId xmlns:a16="http://schemas.microsoft.com/office/drawing/2014/main" id="{EC4FBD8E-8DBE-C578-1E68-D007A0C08CE4}"/>
                </a:ext>
              </a:extLst>
            </p:cNvPr>
            <p:cNvSpPr/>
            <p:nvPr/>
          </p:nvSpPr>
          <p:spPr>
            <a:xfrm>
              <a:off x="13106874" y="7805956"/>
              <a:ext cx="121539" cy="99060"/>
            </a:xfrm>
            <a:custGeom>
              <a:avLst/>
              <a:gdLst>
                <a:gd name="connsiteX0" fmla="*/ 31242 w 121539"/>
                <a:gd name="connsiteY0" fmla="*/ 6763 h 99060"/>
                <a:gd name="connsiteX1" fmla="*/ 57436 w 121539"/>
                <a:gd name="connsiteY1" fmla="*/ 4477 h 99060"/>
                <a:gd name="connsiteX2" fmla="*/ 73914 w 121539"/>
                <a:gd name="connsiteY2" fmla="*/ 0 h 99060"/>
                <a:gd name="connsiteX3" fmla="*/ 79439 w 121539"/>
                <a:gd name="connsiteY3" fmla="*/ 10192 h 99060"/>
                <a:gd name="connsiteX4" fmla="*/ 92869 w 121539"/>
                <a:gd name="connsiteY4" fmla="*/ 10192 h 99060"/>
                <a:gd name="connsiteX5" fmla="*/ 100775 w 121539"/>
                <a:gd name="connsiteY5" fmla="*/ 14669 h 99060"/>
                <a:gd name="connsiteX6" fmla="*/ 105632 w 121539"/>
                <a:gd name="connsiteY6" fmla="*/ 29337 h 99060"/>
                <a:gd name="connsiteX7" fmla="*/ 108109 w 121539"/>
                <a:gd name="connsiteY7" fmla="*/ 47339 h 99060"/>
                <a:gd name="connsiteX8" fmla="*/ 112395 w 121539"/>
                <a:gd name="connsiteY8" fmla="*/ 60865 h 99060"/>
                <a:gd name="connsiteX9" fmla="*/ 121539 w 121539"/>
                <a:gd name="connsiteY9" fmla="*/ 73247 h 99060"/>
                <a:gd name="connsiteX10" fmla="*/ 114871 w 121539"/>
                <a:gd name="connsiteY10" fmla="*/ 82201 h 99060"/>
                <a:gd name="connsiteX11" fmla="*/ 106299 w 121539"/>
                <a:gd name="connsiteY11" fmla="*/ 93440 h 99060"/>
                <a:gd name="connsiteX12" fmla="*/ 92297 w 121539"/>
                <a:gd name="connsiteY12" fmla="*/ 97917 h 99060"/>
                <a:gd name="connsiteX13" fmla="*/ 82582 w 121539"/>
                <a:gd name="connsiteY13" fmla="*/ 99060 h 99060"/>
                <a:gd name="connsiteX14" fmla="*/ 64961 w 121539"/>
                <a:gd name="connsiteY14" fmla="*/ 95726 h 99060"/>
                <a:gd name="connsiteX15" fmla="*/ 49054 w 121539"/>
                <a:gd name="connsiteY15" fmla="*/ 92297 h 99060"/>
                <a:gd name="connsiteX16" fmla="*/ 33909 w 121539"/>
                <a:gd name="connsiteY16" fmla="*/ 88392 h 99060"/>
                <a:gd name="connsiteX17" fmla="*/ 32575 w 121539"/>
                <a:gd name="connsiteY17" fmla="*/ 76867 h 99060"/>
                <a:gd name="connsiteX18" fmla="*/ 32385 w 121539"/>
                <a:gd name="connsiteY18" fmla="*/ 73819 h 99060"/>
                <a:gd name="connsiteX19" fmla="*/ 30290 w 121539"/>
                <a:gd name="connsiteY19" fmla="*/ 64008 h 99060"/>
                <a:gd name="connsiteX20" fmla="*/ 29242 w 121539"/>
                <a:gd name="connsiteY20" fmla="*/ 55435 h 99060"/>
                <a:gd name="connsiteX21" fmla="*/ 28289 w 121539"/>
                <a:gd name="connsiteY21" fmla="*/ 50292 h 99060"/>
                <a:gd name="connsiteX22" fmla="*/ 26099 w 121539"/>
                <a:gd name="connsiteY22" fmla="*/ 45053 h 99060"/>
                <a:gd name="connsiteX23" fmla="*/ 13240 w 121539"/>
                <a:gd name="connsiteY23" fmla="*/ 28194 h 99060"/>
                <a:gd name="connsiteX24" fmla="*/ 0 w 121539"/>
                <a:gd name="connsiteY24" fmla="*/ 20765 h 99060"/>
                <a:gd name="connsiteX25" fmla="*/ 8954 w 121539"/>
                <a:gd name="connsiteY25" fmla="*/ 8287 h 99060"/>
                <a:gd name="connsiteX26" fmla="*/ 12668 w 121539"/>
                <a:gd name="connsiteY26" fmla="*/ 953 h 99060"/>
                <a:gd name="connsiteX27" fmla="*/ 31337 w 121539"/>
                <a:gd name="connsiteY27" fmla="*/ 6667 h 9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539" h="99060">
                  <a:moveTo>
                    <a:pt x="31242" y="6763"/>
                  </a:moveTo>
                  <a:lnTo>
                    <a:pt x="57436" y="4477"/>
                  </a:lnTo>
                  <a:lnTo>
                    <a:pt x="73914" y="0"/>
                  </a:lnTo>
                  <a:lnTo>
                    <a:pt x="79439" y="10192"/>
                  </a:lnTo>
                  <a:lnTo>
                    <a:pt x="92869" y="10192"/>
                  </a:lnTo>
                  <a:lnTo>
                    <a:pt x="100775" y="14669"/>
                  </a:lnTo>
                  <a:lnTo>
                    <a:pt x="105632" y="29337"/>
                  </a:lnTo>
                  <a:lnTo>
                    <a:pt x="108109" y="47339"/>
                  </a:lnTo>
                  <a:lnTo>
                    <a:pt x="112395" y="60865"/>
                  </a:lnTo>
                  <a:lnTo>
                    <a:pt x="121539" y="73247"/>
                  </a:lnTo>
                  <a:lnTo>
                    <a:pt x="114871" y="82201"/>
                  </a:lnTo>
                  <a:lnTo>
                    <a:pt x="106299" y="93440"/>
                  </a:lnTo>
                  <a:lnTo>
                    <a:pt x="92297" y="97917"/>
                  </a:lnTo>
                  <a:lnTo>
                    <a:pt x="82582" y="99060"/>
                  </a:lnTo>
                  <a:lnTo>
                    <a:pt x="64961" y="95726"/>
                  </a:lnTo>
                  <a:lnTo>
                    <a:pt x="49054" y="92297"/>
                  </a:lnTo>
                  <a:lnTo>
                    <a:pt x="33909" y="88392"/>
                  </a:lnTo>
                  <a:lnTo>
                    <a:pt x="32575" y="76867"/>
                  </a:lnTo>
                  <a:lnTo>
                    <a:pt x="32385" y="73819"/>
                  </a:lnTo>
                  <a:lnTo>
                    <a:pt x="30290" y="64008"/>
                  </a:lnTo>
                  <a:lnTo>
                    <a:pt x="29242" y="55435"/>
                  </a:lnTo>
                  <a:lnTo>
                    <a:pt x="28289" y="50292"/>
                  </a:lnTo>
                  <a:lnTo>
                    <a:pt x="26099" y="45053"/>
                  </a:lnTo>
                  <a:lnTo>
                    <a:pt x="13240" y="28194"/>
                  </a:lnTo>
                  <a:lnTo>
                    <a:pt x="0" y="20765"/>
                  </a:lnTo>
                  <a:lnTo>
                    <a:pt x="8954" y="8287"/>
                  </a:lnTo>
                  <a:lnTo>
                    <a:pt x="12668" y="953"/>
                  </a:lnTo>
                  <a:lnTo>
                    <a:pt x="31337" y="6667"/>
                  </a:lnTo>
                </a:path>
              </a:pathLst>
            </a:custGeom>
            <a:grpFill/>
            <a:ln w="2381" cap="sq">
              <a:noFill/>
              <a:prstDash val="solid"/>
              <a:bevel/>
            </a:ln>
          </p:spPr>
          <p:txBody>
            <a:bodyPr rtlCol="0" anchor="ctr"/>
            <a:lstStyle/>
            <a:p>
              <a:endParaRPr lang="cs-CZ"/>
            </a:p>
          </p:txBody>
        </p:sp>
        <p:sp>
          <p:nvSpPr>
            <p:cNvPr id="290" name="Freeform: Shape 289">
              <a:extLst>
                <a:ext uri="{FF2B5EF4-FFF2-40B4-BE49-F238E27FC236}">
                  <a16:creationId xmlns:a16="http://schemas.microsoft.com/office/drawing/2014/main" id="{90A20928-8C13-35E0-3CB2-5911BF585FFC}"/>
                </a:ext>
              </a:extLst>
            </p:cNvPr>
            <p:cNvSpPr/>
            <p:nvPr/>
          </p:nvSpPr>
          <p:spPr>
            <a:xfrm>
              <a:off x="13465014" y="8313448"/>
              <a:ext cx="40766" cy="42386"/>
            </a:xfrm>
            <a:custGeom>
              <a:avLst/>
              <a:gdLst>
                <a:gd name="connsiteX0" fmla="*/ 95 w 40766"/>
                <a:gd name="connsiteY0" fmla="*/ 34576 h 42386"/>
                <a:gd name="connsiteX1" fmla="*/ 2286 w 40766"/>
                <a:gd name="connsiteY1" fmla="*/ 6096 h 42386"/>
                <a:gd name="connsiteX2" fmla="*/ 13049 w 40766"/>
                <a:gd name="connsiteY2" fmla="*/ 0 h 42386"/>
                <a:gd name="connsiteX3" fmla="*/ 22574 w 40766"/>
                <a:gd name="connsiteY3" fmla="*/ 0 h 42386"/>
                <a:gd name="connsiteX4" fmla="*/ 26956 w 40766"/>
                <a:gd name="connsiteY4" fmla="*/ 9430 h 42386"/>
                <a:gd name="connsiteX5" fmla="*/ 38195 w 40766"/>
                <a:gd name="connsiteY5" fmla="*/ 4763 h 42386"/>
                <a:gd name="connsiteX6" fmla="*/ 40767 w 40766"/>
                <a:gd name="connsiteY6" fmla="*/ 15716 h 42386"/>
                <a:gd name="connsiteX7" fmla="*/ 21717 w 40766"/>
                <a:gd name="connsiteY7" fmla="*/ 28575 h 42386"/>
                <a:gd name="connsiteX8" fmla="*/ 24289 w 40766"/>
                <a:gd name="connsiteY8" fmla="*/ 42386 h 42386"/>
                <a:gd name="connsiteX9" fmla="*/ 9525 w 40766"/>
                <a:gd name="connsiteY9" fmla="*/ 40767 h 42386"/>
                <a:gd name="connsiteX10" fmla="*/ 0 w 40766"/>
                <a:gd name="connsiteY10" fmla="*/ 34481 h 42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766" h="42386">
                  <a:moveTo>
                    <a:pt x="95" y="34576"/>
                  </a:moveTo>
                  <a:lnTo>
                    <a:pt x="2286" y="6096"/>
                  </a:lnTo>
                  <a:lnTo>
                    <a:pt x="13049" y="0"/>
                  </a:lnTo>
                  <a:lnTo>
                    <a:pt x="22574" y="0"/>
                  </a:lnTo>
                  <a:lnTo>
                    <a:pt x="26956" y="9430"/>
                  </a:lnTo>
                  <a:lnTo>
                    <a:pt x="38195" y="4763"/>
                  </a:lnTo>
                  <a:lnTo>
                    <a:pt x="40767" y="15716"/>
                  </a:lnTo>
                  <a:lnTo>
                    <a:pt x="21717" y="28575"/>
                  </a:lnTo>
                  <a:lnTo>
                    <a:pt x="24289" y="42386"/>
                  </a:lnTo>
                  <a:lnTo>
                    <a:pt x="9525" y="40767"/>
                  </a:lnTo>
                  <a:lnTo>
                    <a:pt x="0" y="34481"/>
                  </a:lnTo>
                </a:path>
              </a:pathLst>
            </a:custGeom>
            <a:grpFill/>
            <a:ln w="2381" cap="sq">
              <a:noFill/>
              <a:prstDash val="solid"/>
              <a:bevel/>
            </a:ln>
          </p:spPr>
          <p:txBody>
            <a:bodyPr rtlCol="0" anchor="ctr"/>
            <a:lstStyle/>
            <a:p>
              <a:endParaRPr lang="cs-CZ"/>
            </a:p>
          </p:txBody>
        </p:sp>
      </p:grpSp>
      <p:sp>
        <p:nvSpPr>
          <p:cNvPr id="307" name="Freeform: Shape 306">
            <a:extLst>
              <a:ext uri="{FF2B5EF4-FFF2-40B4-BE49-F238E27FC236}">
                <a16:creationId xmlns:a16="http://schemas.microsoft.com/office/drawing/2014/main" id="{F9A6E95B-07BE-E1F5-564F-29889E6AF3AD}"/>
              </a:ext>
            </a:extLst>
          </p:cNvPr>
          <p:cNvSpPr/>
          <p:nvPr/>
        </p:nvSpPr>
        <p:spPr>
          <a:xfrm>
            <a:off x="615949" y="4214571"/>
            <a:ext cx="967262" cy="1364314"/>
          </a:xfrm>
          <a:custGeom>
            <a:avLst/>
            <a:gdLst>
              <a:gd name="connsiteX0" fmla="*/ 844772 w 853440"/>
              <a:gd name="connsiteY0" fmla="*/ 302324 h 1203769"/>
              <a:gd name="connsiteX1" fmla="*/ 843058 w 853440"/>
              <a:gd name="connsiteY1" fmla="*/ 295180 h 1203769"/>
              <a:gd name="connsiteX2" fmla="*/ 842867 w 853440"/>
              <a:gd name="connsiteY2" fmla="*/ 288036 h 1203769"/>
              <a:gd name="connsiteX3" fmla="*/ 841724 w 853440"/>
              <a:gd name="connsiteY3" fmla="*/ 282416 h 1203769"/>
              <a:gd name="connsiteX4" fmla="*/ 836771 w 853440"/>
              <a:gd name="connsiteY4" fmla="*/ 280130 h 1203769"/>
              <a:gd name="connsiteX5" fmla="*/ 823532 w 853440"/>
              <a:gd name="connsiteY5" fmla="*/ 276987 h 1203769"/>
              <a:gd name="connsiteX6" fmla="*/ 803243 w 853440"/>
              <a:gd name="connsiteY6" fmla="*/ 265271 h 1203769"/>
              <a:gd name="connsiteX7" fmla="*/ 788956 w 853440"/>
              <a:gd name="connsiteY7" fmla="*/ 252698 h 1203769"/>
              <a:gd name="connsiteX8" fmla="*/ 771716 w 853440"/>
              <a:gd name="connsiteY8" fmla="*/ 237554 h 1203769"/>
              <a:gd name="connsiteX9" fmla="*/ 743903 w 853440"/>
              <a:gd name="connsiteY9" fmla="*/ 202502 h 1203769"/>
              <a:gd name="connsiteX10" fmla="*/ 657130 w 853440"/>
              <a:gd name="connsiteY10" fmla="*/ 126683 h 1203769"/>
              <a:gd name="connsiteX11" fmla="*/ 635603 w 853440"/>
              <a:gd name="connsiteY11" fmla="*/ 94488 h 1203769"/>
              <a:gd name="connsiteX12" fmla="*/ 631793 w 853440"/>
              <a:gd name="connsiteY12" fmla="*/ 83820 h 1203769"/>
              <a:gd name="connsiteX13" fmla="*/ 630269 w 853440"/>
              <a:gd name="connsiteY13" fmla="*/ 69056 h 1203769"/>
              <a:gd name="connsiteX14" fmla="*/ 631698 w 853440"/>
              <a:gd name="connsiteY14" fmla="*/ 39148 h 1203769"/>
              <a:gd name="connsiteX15" fmla="*/ 635413 w 853440"/>
              <a:gd name="connsiteY15" fmla="*/ 11620 h 1203769"/>
              <a:gd name="connsiteX16" fmla="*/ 637222 w 853440"/>
              <a:gd name="connsiteY16" fmla="*/ 6382 h 1203769"/>
              <a:gd name="connsiteX17" fmla="*/ 639223 w 853440"/>
              <a:gd name="connsiteY17" fmla="*/ 4572 h 1203769"/>
              <a:gd name="connsiteX18" fmla="*/ 639318 w 853440"/>
              <a:gd name="connsiteY18" fmla="*/ 3715 h 1203769"/>
              <a:gd name="connsiteX19" fmla="*/ 635413 w 853440"/>
              <a:gd name="connsiteY19" fmla="*/ 1238 h 1203769"/>
              <a:gd name="connsiteX20" fmla="*/ 629793 w 853440"/>
              <a:gd name="connsiteY20" fmla="*/ 0 h 1203769"/>
              <a:gd name="connsiteX21" fmla="*/ 624650 w 853440"/>
              <a:gd name="connsiteY21" fmla="*/ 2095 h 1203769"/>
              <a:gd name="connsiteX22" fmla="*/ 619887 w 853440"/>
              <a:gd name="connsiteY22" fmla="*/ 5143 h 1203769"/>
              <a:gd name="connsiteX23" fmla="*/ 615506 w 853440"/>
              <a:gd name="connsiteY23" fmla="*/ 6668 h 1203769"/>
              <a:gd name="connsiteX24" fmla="*/ 606552 w 853440"/>
              <a:gd name="connsiteY24" fmla="*/ 7334 h 1203769"/>
              <a:gd name="connsiteX25" fmla="*/ 589979 w 853440"/>
              <a:gd name="connsiteY25" fmla="*/ 12573 h 1203769"/>
              <a:gd name="connsiteX26" fmla="*/ 477393 w 853440"/>
              <a:gd name="connsiteY26" fmla="*/ 74486 h 1203769"/>
              <a:gd name="connsiteX27" fmla="*/ 401383 w 853440"/>
              <a:gd name="connsiteY27" fmla="*/ 116110 h 1203769"/>
              <a:gd name="connsiteX28" fmla="*/ 384524 w 853440"/>
              <a:gd name="connsiteY28" fmla="*/ 121444 h 1203769"/>
              <a:gd name="connsiteX29" fmla="*/ 312706 w 853440"/>
              <a:gd name="connsiteY29" fmla="*/ 126397 h 1203769"/>
              <a:gd name="connsiteX30" fmla="*/ 296418 w 853440"/>
              <a:gd name="connsiteY30" fmla="*/ 135350 h 1203769"/>
              <a:gd name="connsiteX31" fmla="*/ 284512 w 853440"/>
              <a:gd name="connsiteY31" fmla="*/ 148781 h 1203769"/>
              <a:gd name="connsiteX32" fmla="*/ 254318 w 853440"/>
              <a:gd name="connsiteY32" fmla="*/ 208312 h 1203769"/>
              <a:gd name="connsiteX33" fmla="*/ 241649 w 853440"/>
              <a:gd name="connsiteY33" fmla="*/ 233267 h 1203769"/>
              <a:gd name="connsiteX34" fmla="*/ 213836 w 853440"/>
              <a:gd name="connsiteY34" fmla="*/ 270224 h 1203769"/>
              <a:gd name="connsiteX35" fmla="*/ 211455 w 853440"/>
              <a:gd name="connsiteY35" fmla="*/ 276701 h 1203769"/>
              <a:gd name="connsiteX36" fmla="*/ 199263 w 853440"/>
              <a:gd name="connsiteY36" fmla="*/ 309182 h 1203769"/>
              <a:gd name="connsiteX37" fmla="*/ 193929 w 853440"/>
              <a:gd name="connsiteY37" fmla="*/ 315087 h 1203769"/>
              <a:gd name="connsiteX38" fmla="*/ 187262 w 853440"/>
              <a:gd name="connsiteY38" fmla="*/ 318992 h 1203769"/>
              <a:gd name="connsiteX39" fmla="*/ 181070 w 853440"/>
              <a:gd name="connsiteY39" fmla="*/ 328803 h 1203769"/>
              <a:gd name="connsiteX40" fmla="*/ 176403 w 853440"/>
              <a:gd name="connsiteY40" fmla="*/ 341567 h 1203769"/>
              <a:gd name="connsiteX41" fmla="*/ 173831 w 853440"/>
              <a:gd name="connsiteY41" fmla="*/ 354425 h 1203769"/>
              <a:gd name="connsiteX42" fmla="*/ 172974 w 853440"/>
              <a:gd name="connsiteY42" fmla="*/ 369475 h 1203769"/>
              <a:gd name="connsiteX43" fmla="*/ 173831 w 853440"/>
              <a:gd name="connsiteY43" fmla="*/ 416338 h 1203769"/>
              <a:gd name="connsiteX44" fmla="*/ 172974 w 853440"/>
              <a:gd name="connsiteY44" fmla="*/ 422529 h 1203769"/>
              <a:gd name="connsiteX45" fmla="*/ 169259 w 853440"/>
              <a:gd name="connsiteY45" fmla="*/ 432721 h 1203769"/>
              <a:gd name="connsiteX46" fmla="*/ 168402 w 853440"/>
              <a:gd name="connsiteY46" fmla="*/ 440436 h 1203769"/>
              <a:gd name="connsiteX47" fmla="*/ 172688 w 853440"/>
              <a:gd name="connsiteY47" fmla="*/ 459677 h 1203769"/>
              <a:gd name="connsiteX48" fmla="*/ 173831 w 853440"/>
              <a:gd name="connsiteY48" fmla="*/ 467297 h 1203769"/>
              <a:gd name="connsiteX49" fmla="*/ 173355 w 853440"/>
              <a:gd name="connsiteY49" fmla="*/ 496443 h 1203769"/>
              <a:gd name="connsiteX50" fmla="*/ 168688 w 853440"/>
              <a:gd name="connsiteY50" fmla="*/ 521970 h 1203769"/>
              <a:gd name="connsiteX51" fmla="*/ 161258 w 853440"/>
              <a:gd name="connsiteY51" fmla="*/ 542449 h 1203769"/>
              <a:gd name="connsiteX52" fmla="*/ 152495 w 853440"/>
              <a:gd name="connsiteY52" fmla="*/ 556165 h 1203769"/>
              <a:gd name="connsiteX53" fmla="*/ 140018 w 853440"/>
              <a:gd name="connsiteY53" fmla="*/ 567690 h 1203769"/>
              <a:gd name="connsiteX54" fmla="*/ 129159 w 853440"/>
              <a:gd name="connsiteY54" fmla="*/ 577691 h 1203769"/>
              <a:gd name="connsiteX55" fmla="*/ 124301 w 853440"/>
              <a:gd name="connsiteY55" fmla="*/ 580644 h 1203769"/>
              <a:gd name="connsiteX56" fmla="*/ 120396 w 853440"/>
              <a:gd name="connsiteY56" fmla="*/ 585121 h 1203769"/>
              <a:gd name="connsiteX57" fmla="*/ 106109 w 853440"/>
              <a:gd name="connsiteY57" fmla="*/ 607219 h 1203769"/>
              <a:gd name="connsiteX58" fmla="*/ 99060 w 853440"/>
              <a:gd name="connsiteY58" fmla="*/ 614744 h 1203769"/>
              <a:gd name="connsiteX59" fmla="*/ 73343 w 853440"/>
              <a:gd name="connsiteY59" fmla="*/ 630460 h 1203769"/>
              <a:gd name="connsiteX60" fmla="*/ 69628 w 853440"/>
              <a:gd name="connsiteY60" fmla="*/ 637032 h 1203769"/>
              <a:gd name="connsiteX61" fmla="*/ 37624 w 853440"/>
              <a:gd name="connsiteY61" fmla="*/ 658463 h 1203769"/>
              <a:gd name="connsiteX62" fmla="*/ 32766 w 853440"/>
              <a:gd name="connsiteY62" fmla="*/ 670846 h 1203769"/>
              <a:gd name="connsiteX63" fmla="*/ 33338 w 853440"/>
              <a:gd name="connsiteY63" fmla="*/ 682943 h 1203769"/>
              <a:gd name="connsiteX64" fmla="*/ 36100 w 853440"/>
              <a:gd name="connsiteY64" fmla="*/ 695611 h 1203769"/>
              <a:gd name="connsiteX65" fmla="*/ 37624 w 853440"/>
              <a:gd name="connsiteY65" fmla="*/ 709708 h 1203769"/>
              <a:gd name="connsiteX66" fmla="*/ 34957 w 853440"/>
              <a:gd name="connsiteY66" fmla="*/ 770477 h 1203769"/>
              <a:gd name="connsiteX67" fmla="*/ 30290 w 853440"/>
              <a:gd name="connsiteY67" fmla="*/ 793528 h 1203769"/>
              <a:gd name="connsiteX68" fmla="*/ 20288 w 853440"/>
              <a:gd name="connsiteY68" fmla="*/ 822674 h 1203769"/>
              <a:gd name="connsiteX69" fmla="*/ 16383 w 853440"/>
              <a:gd name="connsiteY69" fmla="*/ 834200 h 1203769"/>
              <a:gd name="connsiteX70" fmla="*/ 12383 w 853440"/>
              <a:gd name="connsiteY70" fmla="*/ 863156 h 1203769"/>
              <a:gd name="connsiteX71" fmla="*/ 10382 w 853440"/>
              <a:gd name="connsiteY71" fmla="*/ 866204 h 1203769"/>
              <a:gd name="connsiteX72" fmla="*/ 9239 w 853440"/>
              <a:gd name="connsiteY72" fmla="*/ 869442 h 1203769"/>
              <a:gd name="connsiteX73" fmla="*/ 10859 w 853440"/>
              <a:gd name="connsiteY73" fmla="*/ 877252 h 1203769"/>
              <a:gd name="connsiteX74" fmla="*/ 13526 w 853440"/>
              <a:gd name="connsiteY74" fmla="*/ 882777 h 1203769"/>
              <a:gd name="connsiteX75" fmla="*/ 16383 w 853440"/>
              <a:gd name="connsiteY75" fmla="*/ 884301 h 1203769"/>
              <a:gd name="connsiteX76" fmla="*/ 19907 w 853440"/>
              <a:gd name="connsiteY76" fmla="*/ 884777 h 1203769"/>
              <a:gd name="connsiteX77" fmla="*/ 24194 w 853440"/>
              <a:gd name="connsiteY77" fmla="*/ 886873 h 1203769"/>
              <a:gd name="connsiteX78" fmla="*/ 31052 w 853440"/>
              <a:gd name="connsiteY78" fmla="*/ 892874 h 1203769"/>
              <a:gd name="connsiteX79" fmla="*/ 32861 w 853440"/>
              <a:gd name="connsiteY79" fmla="*/ 896112 h 1203769"/>
              <a:gd name="connsiteX80" fmla="*/ 34957 w 853440"/>
              <a:gd name="connsiteY80" fmla="*/ 901351 h 1203769"/>
              <a:gd name="connsiteX81" fmla="*/ 36862 w 853440"/>
              <a:gd name="connsiteY81" fmla="*/ 908209 h 1203769"/>
              <a:gd name="connsiteX82" fmla="*/ 38576 w 853440"/>
              <a:gd name="connsiteY82" fmla="*/ 920591 h 1203769"/>
              <a:gd name="connsiteX83" fmla="*/ 40386 w 853440"/>
              <a:gd name="connsiteY83" fmla="*/ 925354 h 1203769"/>
              <a:gd name="connsiteX84" fmla="*/ 38767 w 853440"/>
              <a:gd name="connsiteY84" fmla="*/ 932974 h 1203769"/>
              <a:gd name="connsiteX85" fmla="*/ 38195 w 853440"/>
              <a:gd name="connsiteY85" fmla="*/ 944880 h 1203769"/>
              <a:gd name="connsiteX86" fmla="*/ 38957 w 853440"/>
              <a:gd name="connsiteY86" fmla="*/ 957453 h 1203769"/>
              <a:gd name="connsiteX87" fmla="*/ 43339 w 853440"/>
              <a:gd name="connsiteY87" fmla="*/ 972217 h 1203769"/>
              <a:gd name="connsiteX88" fmla="*/ 42291 w 853440"/>
              <a:gd name="connsiteY88" fmla="*/ 977741 h 1203769"/>
              <a:gd name="connsiteX89" fmla="*/ 39624 w 853440"/>
              <a:gd name="connsiteY89" fmla="*/ 981837 h 1203769"/>
              <a:gd name="connsiteX90" fmla="*/ 36290 w 853440"/>
              <a:gd name="connsiteY90" fmla="*/ 983552 h 1203769"/>
              <a:gd name="connsiteX91" fmla="*/ 33052 w 853440"/>
              <a:gd name="connsiteY91" fmla="*/ 981456 h 1203769"/>
              <a:gd name="connsiteX92" fmla="*/ 24194 w 853440"/>
              <a:gd name="connsiteY92" fmla="*/ 968693 h 1203769"/>
              <a:gd name="connsiteX93" fmla="*/ 29718 w 853440"/>
              <a:gd name="connsiteY93" fmla="*/ 959549 h 1203769"/>
              <a:gd name="connsiteX94" fmla="*/ 29718 w 853440"/>
              <a:gd name="connsiteY94" fmla="*/ 954691 h 1203769"/>
              <a:gd name="connsiteX95" fmla="*/ 29718 w 853440"/>
              <a:gd name="connsiteY95" fmla="*/ 944690 h 1203769"/>
              <a:gd name="connsiteX96" fmla="*/ 26861 w 853440"/>
              <a:gd name="connsiteY96" fmla="*/ 942975 h 1203769"/>
              <a:gd name="connsiteX97" fmla="*/ 24194 w 853440"/>
              <a:gd name="connsiteY97" fmla="*/ 940308 h 1203769"/>
              <a:gd name="connsiteX98" fmla="*/ 29718 w 853440"/>
              <a:gd name="connsiteY98" fmla="*/ 930688 h 1203769"/>
              <a:gd name="connsiteX99" fmla="*/ 26194 w 853440"/>
              <a:gd name="connsiteY99" fmla="*/ 922306 h 1203769"/>
              <a:gd name="connsiteX100" fmla="*/ 21622 w 853440"/>
              <a:gd name="connsiteY100" fmla="*/ 924116 h 1203769"/>
              <a:gd name="connsiteX101" fmla="*/ 20860 w 853440"/>
              <a:gd name="connsiteY101" fmla="*/ 934212 h 1203769"/>
              <a:gd name="connsiteX102" fmla="*/ 19907 w 853440"/>
              <a:gd name="connsiteY102" fmla="*/ 941261 h 1203769"/>
              <a:gd name="connsiteX103" fmla="*/ 14383 w 853440"/>
              <a:gd name="connsiteY103" fmla="*/ 942118 h 1203769"/>
              <a:gd name="connsiteX104" fmla="*/ 13526 w 853440"/>
              <a:gd name="connsiteY104" fmla="*/ 949833 h 1203769"/>
              <a:gd name="connsiteX105" fmla="*/ 11621 w 853440"/>
              <a:gd name="connsiteY105" fmla="*/ 956310 h 1203769"/>
              <a:gd name="connsiteX106" fmla="*/ 9335 w 853440"/>
              <a:gd name="connsiteY106" fmla="*/ 961739 h 1203769"/>
              <a:gd name="connsiteX107" fmla="*/ 4096 w 853440"/>
              <a:gd name="connsiteY107" fmla="*/ 971264 h 1203769"/>
              <a:gd name="connsiteX108" fmla="*/ 762 w 853440"/>
              <a:gd name="connsiteY108" fmla="*/ 982123 h 1203769"/>
              <a:gd name="connsiteX109" fmla="*/ 0 w 853440"/>
              <a:gd name="connsiteY109" fmla="*/ 995553 h 1203769"/>
              <a:gd name="connsiteX110" fmla="*/ 953 w 853440"/>
              <a:gd name="connsiteY110" fmla="*/ 1009650 h 1203769"/>
              <a:gd name="connsiteX111" fmla="*/ 5048 w 853440"/>
              <a:gd name="connsiteY111" fmla="*/ 1037273 h 1203769"/>
              <a:gd name="connsiteX112" fmla="*/ 5525 w 853440"/>
              <a:gd name="connsiteY112" fmla="*/ 1043654 h 1203769"/>
              <a:gd name="connsiteX113" fmla="*/ 5525 w 853440"/>
              <a:gd name="connsiteY113" fmla="*/ 1051179 h 1203769"/>
              <a:gd name="connsiteX114" fmla="*/ 4572 w 853440"/>
              <a:gd name="connsiteY114" fmla="*/ 1059180 h 1203769"/>
              <a:gd name="connsiteX115" fmla="*/ 953 w 853440"/>
              <a:gd name="connsiteY115" fmla="*/ 1072896 h 1203769"/>
              <a:gd name="connsiteX116" fmla="*/ 191 w 853440"/>
              <a:gd name="connsiteY116" fmla="*/ 1077278 h 1203769"/>
              <a:gd name="connsiteX117" fmla="*/ 1905 w 853440"/>
              <a:gd name="connsiteY117" fmla="*/ 1092327 h 1203769"/>
              <a:gd name="connsiteX118" fmla="*/ 6096 w 853440"/>
              <a:gd name="connsiteY118" fmla="*/ 1107472 h 1203769"/>
              <a:gd name="connsiteX119" fmla="*/ 23527 w 853440"/>
              <a:gd name="connsiteY119" fmla="*/ 1151573 h 1203769"/>
              <a:gd name="connsiteX120" fmla="*/ 28956 w 853440"/>
              <a:gd name="connsiteY120" fmla="*/ 1174433 h 1203769"/>
              <a:gd name="connsiteX121" fmla="*/ 32766 w 853440"/>
              <a:gd name="connsiteY121" fmla="*/ 1200341 h 1203769"/>
              <a:gd name="connsiteX122" fmla="*/ 33052 w 853440"/>
              <a:gd name="connsiteY122" fmla="*/ 1203484 h 1203769"/>
              <a:gd name="connsiteX123" fmla="*/ 33052 w 853440"/>
              <a:gd name="connsiteY123" fmla="*/ 1203770 h 1203769"/>
              <a:gd name="connsiteX124" fmla="*/ 47816 w 853440"/>
              <a:gd name="connsiteY124" fmla="*/ 1200055 h 1203769"/>
              <a:gd name="connsiteX125" fmla="*/ 70771 w 853440"/>
              <a:gd name="connsiteY125" fmla="*/ 1199864 h 1203769"/>
              <a:gd name="connsiteX126" fmla="*/ 86392 w 853440"/>
              <a:gd name="connsiteY126" fmla="*/ 1195483 h 1203769"/>
              <a:gd name="connsiteX127" fmla="*/ 92202 w 853440"/>
              <a:gd name="connsiteY127" fmla="*/ 1182243 h 1203769"/>
              <a:gd name="connsiteX128" fmla="*/ 95060 w 853440"/>
              <a:gd name="connsiteY128" fmla="*/ 1163003 h 1203769"/>
              <a:gd name="connsiteX129" fmla="*/ 101727 w 853440"/>
              <a:gd name="connsiteY129" fmla="*/ 1140524 h 1203769"/>
              <a:gd name="connsiteX130" fmla="*/ 111538 w 853440"/>
              <a:gd name="connsiteY130" fmla="*/ 1125093 h 1203769"/>
              <a:gd name="connsiteX131" fmla="*/ 125349 w 853440"/>
              <a:gd name="connsiteY131" fmla="*/ 1109853 h 1203769"/>
              <a:gd name="connsiteX132" fmla="*/ 139827 w 853440"/>
              <a:gd name="connsiteY132" fmla="*/ 1097661 h 1203769"/>
              <a:gd name="connsiteX133" fmla="*/ 151829 w 853440"/>
              <a:gd name="connsiteY133" fmla="*/ 1091470 h 1203769"/>
              <a:gd name="connsiteX134" fmla="*/ 169450 w 853440"/>
              <a:gd name="connsiteY134" fmla="*/ 1090613 h 1203769"/>
              <a:gd name="connsiteX135" fmla="*/ 175546 w 853440"/>
              <a:gd name="connsiteY135" fmla="*/ 1088517 h 1203769"/>
              <a:gd name="connsiteX136" fmla="*/ 201359 w 853440"/>
              <a:gd name="connsiteY136" fmla="*/ 1068610 h 1203769"/>
              <a:gd name="connsiteX137" fmla="*/ 229934 w 853440"/>
              <a:gd name="connsiteY137" fmla="*/ 1046512 h 1203769"/>
              <a:gd name="connsiteX138" fmla="*/ 244316 w 853440"/>
              <a:gd name="connsiteY138" fmla="*/ 1039082 h 1203769"/>
              <a:gd name="connsiteX139" fmla="*/ 278797 w 853440"/>
              <a:gd name="connsiteY139" fmla="*/ 1037558 h 1203769"/>
              <a:gd name="connsiteX140" fmla="*/ 299085 w 853440"/>
              <a:gd name="connsiteY140" fmla="*/ 1027938 h 1203769"/>
              <a:gd name="connsiteX141" fmla="*/ 388144 w 853440"/>
              <a:gd name="connsiteY141" fmla="*/ 985838 h 1203769"/>
              <a:gd name="connsiteX142" fmla="*/ 395097 w 853440"/>
              <a:gd name="connsiteY142" fmla="*/ 982599 h 1203769"/>
              <a:gd name="connsiteX143" fmla="*/ 438341 w 853440"/>
              <a:gd name="connsiteY143" fmla="*/ 962120 h 1203769"/>
              <a:gd name="connsiteX144" fmla="*/ 455867 w 853440"/>
              <a:gd name="connsiteY144" fmla="*/ 963359 h 1203769"/>
              <a:gd name="connsiteX145" fmla="*/ 463201 w 853440"/>
              <a:gd name="connsiteY145" fmla="*/ 967169 h 1203769"/>
              <a:gd name="connsiteX146" fmla="*/ 477679 w 853440"/>
              <a:gd name="connsiteY146" fmla="*/ 978027 h 1203769"/>
              <a:gd name="connsiteX147" fmla="*/ 485299 w 853440"/>
              <a:gd name="connsiteY147" fmla="*/ 981170 h 1203769"/>
              <a:gd name="connsiteX148" fmla="*/ 600932 w 853440"/>
              <a:gd name="connsiteY148" fmla="*/ 977265 h 1203769"/>
              <a:gd name="connsiteX149" fmla="*/ 625888 w 853440"/>
              <a:gd name="connsiteY149" fmla="*/ 982980 h 1203769"/>
              <a:gd name="connsiteX150" fmla="*/ 626840 w 853440"/>
              <a:gd name="connsiteY150" fmla="*/ 983552 h 1203769"/>
              <a:gd name="connsiteX151" fmla="*/ 637127 w 853440"/>
              <a:gd name="connsiteY151" fmla="*/ 989076 h 1203769"/>
              <a:gd name="connsiteX152" fmla="*/ 654368 w 853440"/>
              <a:gd name="connsiteY152" fmla="*/ 1007364 h 1203769"/>
              <a:gd name="connsiteX153" fmla="*/ 661130 w 853440"/>
              <a:gd name="connsiteY153" fmla="*/ 1010221 h 1203769"/>
              <a:gd name="connsiteX154" fmla="*/ 667036 w 853440"/>
              <a:gd name="connsiteY154" fmla="*/ 1009269 h 1203769"/>
              <a:gd name="connsiteX155" fmla="*/ 722090 w 853440"/>
              <a:gd name="connsiteY155" fmla="*/ 986409 h 1203769"/>
              <a:gd name="connsiteX156" fmla="*/ 736378 w 853440"/>
              <a:gd name="connsiteY156" fmla="*/ 976408 h 1203769"/>
              <a:gd name="connsiteX157" fmla="*/ 735997 w 853440"/>
              <a:gd name="connsiteY157" fmla="*/ 976313 h 1203769"/>
              <a:gd name="connsiteX158" fmla="*/ 721709 w 853440"/>
              <a:gd name="connsiteY158" fmla="*/ 972502 h 1203769"/>
              <a:gd name="connsiteX159" fmla="*/ 707708 w 853440"/>
              <a:gd name="connsiteY159" fmla="*/ 961454 h 1203769"/>
              <a:gd name="connsiteX160" fmla="*/ 700564 w 853440"/>
              <a:gd name="connsiteY160" fmla="*/ 958977 h 1203769"/>
              <a:gd name="connsiteX161" fmla="*/ 684562 w 853440"/>
              <a:gd name="connsiteY161" fmla="*/ 957072 h 1203769"/>
              <a:gd name="connsiteX162" fmla="*/ 688467 w 853440"/>
              <a:gd name="connsiteY162" fmla="*/ 943547 h 1203769"/>
              <a:gd name="connsiteX163" fmla="*/ 690944 w 853440"/>
              <a:gd name="connsiteY163" fmla="*/ 939641 h 1203769"/>
              <a:gd name="connsiteX164" fmla="*/ 692944 w 853440"/>
              <a:gd name="connsiteY164" fmla="*/ 935165 h 1203769"/>
              <a:gd name="connsiteX165" fmla="*/ 691706 w 853440"/>
              <a:gd name="connsiteY165" fmla="*/ 926402 h 1203769"/>
              <a:gd name="connsiteX166" fmla="*/ 690372 w 853440"/>
              <a:gd name="connsiteY166" fmla="*/ 921258 h 1203769"/>
              <a:gd name="connsiteX167" fmla="*/ 674751 w 853440"/>
              <a:gd name="connsiteY167" fmla="*/ 908685 h 1203769"/>
              <a:gd name="connsiteX168" fmla="*/ 678942 w 853440"/>
              <a:gd name="connsiteY168" fmla="*/ 857726 h 1203769"/>
              <a:gd name="connsiteX169" fmla="*/ 686848 w 853440"/>
              <a:gd name="connsiteY169" fmla="*/ 857822 h 1203769"/>
              <a:gd name="connsiteX170" fmla="*/ 688181 w 853440"/>
              <a:gd name="connsiteY170" fmla="*/ 857631 h 1203769"/>
              <a:gd name="connsiteX171" fmla="*/ 695706 w 853440"/>
              <a:gd name="connsiteY171" fmla="*/ 860108 h 1203769"/>
              <a:gd name="connsiteX172" fmla="*/ 702850 w 853440"/>
              <a:gd name="connsiteY172" fmla="*/ 856298 h 1203769"/>
              <a:gd name="connsiteX173" fmla="*/ 712470 w 853440"/>
              <a:gd name="connsiteY173" fmla="*/ 855631 h 1203769"/>
              <a:gd name="connsiteX174" fmla="*/ 709994 w 853440"/>
              <a:gd name="connsiteY174" fmla="*/ 848106 h 1203769"/>
              <a:gd name="connsiteX175" fmla="*/ 708755 w 853440"/>
              <a:gd name="connsiteY175" fmla="*/ 846487 h 1203769"/>
              <a:gd name="connsiteX176" fmla="*/ 707136 w 853440"/>
              <a:gd name="connsiteY176" fmla="*/ 843344 h 1203769"/>
              <a:gd name="connsiteX177" fmla="*/ 704850 w 853440"/>
              <a:gd name="connsiteY177" fmla="*/ 841915 h 1203769"/>
              <a:gd name="connsiteX178" fmla="*/ 704183 w 853440"/>
              <a:gd name="connsiteY178" fmla="*/ 839057 h 1203769"/>
              <a:gd name="connsiteX179" fmla="*/ 704088 w 853440"/>
              <a:gd name="connsiteY179" fmla="*/ 835628 h 1203769"/>
              <a:gd name="connsiteX180" fmla="*/ 704183 w 853440"/>
              <a:gd name="connsiteY180" fmla="*/ 832295 h 1203769"/>
              <a:gd name="connsiteX181" fmla="*/ 705707 w 853440"/>
              <a:gd name="connsiteY181" fmla="*/ 828961 h 1203769"/>
              <a:gd name="connsiteX182" fmla="*/ 710470 w 853440"/>
              <a:gd name="connsiteY182" fmla="*/ 828104 h 1203769"/>
              <a:gd name="connsiteX183" fmla="*/ 719900 w 853440"/>
              <a:gd name="connsiteY183" fmla="*/ 828104 h 1203769"/>
              <a:gd name="connsiteX184" fmla="*/ 724567 w 853440"/>
              <a:gd name="connsiteY184" fmla="*/ 825818 h 1203769"/>
              <a:gd name="connsiteX185" fmla="*/ 729044 w 853440"/>
              <a:gd name="connsiteY185" fmla="*/ 821150 h 1203769"/>
              <a:gd name="connsiteX186" fmla="*/ 734282 w 853440"/>
              <a:gd name="connsiteY186" fmla="*/ 811435 h 1203769"/>
              <a:gd name="connsiteX187" fmla="*/ 736283 w 853440"/>
              <a:gd name="connsiteY187" fmla="*/ 801910 h 1203769"/>
              <a:gd name="connsiteX188" fmla="*/ 727901 w 853440"/>
              <a:gd name="connsiteY188" fmla="*/ 791909 h 1203769"/>
              <a:gd name="connsiteX189" fmla="*/ 724376 w 853440"/>
              <a:gd name="connsiteY189" fmla="*/ 782574 h 1203769"/>
              <a:gd name="connsiteX190" fmla="*/ 715232 w 853440"/>
              <a:gd name="connsiteY190" fmla="*/ 777812 h 1203769"/>
              <a:gd name="connsiteX191" fmla="*/ 713232 w 853440"/>
              <a:gd name="connsiteY191" fmla="*/ 765239 h 1203769"/>
              <a:gd name="connsiteX192" fmla="*/ 723329 w 853440"/>
              <a:gd name="connsiteY192" fmla="*/ 763810 h 1203769"/>
              <a:gd name="connsiteX193" fmla="*/ 720376 w 853440"/>
              <a:gd name="connsiteY193" fmla="*/ 756571 h 1203769"/>
              <a:gd name="connsiteX194" fmla="*/ 718947 w 853440"/>
              <a:gd name="connsiteY194" fmla="*/ 754571 h 1203769"/>
              <a:gd name="connsiteX195" fmla="*/ 718757 w 853440"/>
              <a:gd name="connsiteY195" fmla="*/ 751618 h 1203769"/>
              <a:gd name="connsiteX196" fmla="*/ 720566 w 853440"/>
              <a:gd name="connsiteY196" fmla="*/ 749808 h 1203769"/>
              <a:gd name="connsiteX197" fmla="*/ 722852 w 853440"/>
              <a:gd name="connsiteY197" fmla="*/ 748379 h 1203769"/>
              <a:gd name="connsiteX198" fmla="*/ 724376 w 853440"/>
              <a:gd name="connsiteY198" fmla="*/ 743998 h 1203769"/>
              <a:gd name="connsiteX199" fmla="*/ 723519 w 853440"/>
              <a:gd name="connsiteY199" fmla="*/ 738473 h 1203769"/>
              <a:gd name="connsiteX200" fmla="*/ 721233 w 853440"/>
              <a:gd name="connsiteY200" fmla="*/ 711613 h 1203769"/>
              <a:gd name="connsiteX201" fmla="*/ 708374 w 853440"/>
              <a:gd name="connsiteY201" fmla="*/ 693706 h 1203769"/>
              <a:gd name="connsiteX202" fmla="*/ 708851 w 853440"/>
              <a:gd name="connsiteY202" fmla="*/ 688658 h 1203769"/>
              <a:gd name="connsiteX203" fmla="*/ 681514 w 853440"/>
              <a:gd name="connsiteY203" fmla="*/ 689991 h 1203769"/>
              <a:gd name="connsiteX204" fmla="*/ 666083 w 853440"/>
              <a:gd name="connsiteY204" fmla="*/ 684657 h 1203769"/>
              <a:gd name="connsiteX205" fmla="*/ 651605 w 853440"/>
              <a:gd name="connsiteY205" fmla="*/ 685610 h 1203769"/>
              <a:gd name="connsiteX206" fmla="*/ 653129 w 853440"/>
              <a:gd name="connsiteY206" fmla="*/ 679799 h 1203769"/>
              <a:gd name="connsiteX207" fmla="*/ 648653 w 853440"/>
              <a:gd name="connsiteY207" fmla="*/ 674275 h 1203769"/>
              <a:gd name="connsiteX208" fmla="*/ 629984 w 853440"/>
              <a:gd name="connsiteY208" fmla="*/ 665036 h 1203769"/>
              <a:gd name="connsiteX209" fmla="*/ 607124 w 853440"/>
              <a:gd name="connsiteY209" fmla="*/ 661797 h 1203769"/>
              <a:gd name="connsiteX210" fmla="*/ 592836 w 853440"/>
              <a:gd name="connsiteY210" fmla="*/ 654749 h 1203769"/>
              <a:gd name="connsiteX211" fmla="*/ 596551 w 853440"/>
              <a:gd name="connsiteY211" fmla="*/ 646557 h 1203769"/>
              <a:gd name="connsiteX212" fmla="*/ 598932 w 853440"/>
              <a:gd name="connsiteY212" fmla="*/ 643414 h 1203769"/>
              <a:gd name="connsiteX213" fmla="*/ 602075 w 853440"/>
              <a:gd name="connsiteY213" fmla="*/ 640175 h 1203769"/>
              <a:gd name="connsiteX214" fmla="*/ 603695 w 853440"/>
              <a:gd name="connsiteY214" fmla="*/ 636746 h 1203769"/>
              <a:gd name="connsiteX215" fmla="*/ 604552 w 853440"/>
              <a:gd name="connsiteY215" fmla="*/ 631127 h 1203769"/>
              <a:gd name="connsiteX216" fmla="*/ 604552 w 853440"/>
              <a:gd name="connsiteY216" fmla="*/ 619982 h 1203769"/>
              <a:gd name="connsiteX217" fmla="*/ 605885 w 853440"/>
              <a:gd name="connsiteY217" fmla="*/ 616553 h 1203769"/>
              <a:gd name="connsiteX218" fmla="*/ 607695 w 853440"/>
              <a:gd name="connsiteY218" fmla="*/ 613982 h 1203769"/>
              <a:gd name="connsiteX219" fmla="*/ 606743 w 853440"/>
              <a:gd name="connsiteY219" fmla="*/ 611029 h 1203769"/>
              <a:gd name="connsiteX220" fmla="*/ 601028 w 853440"/>
              <a:gd name="connsiteY220" fmla="*/ 607790 h 1203769"/>
              <a:gd name="connsiteX221" fmla="*/ 593408 w 853440"/>
              <a:gd name="connsiteY221" fmla="*/ 605885 h 1203769"/>
              <a:gd name="connsiteX222" fmla="*/ 578834 w 853440"/>
              <a:gd name="connsiteY222" fmla="*/ 608076 h 1203769"/>
              <a:gd name="connsiteX223" fmla="*/ 575120 w 853440"/>
              <a:gd name="connsiteY223" fmla="*/ 592741 h 1203769"/>
              <a:gd name="connsiteX224" fmla="*/ 579215 w 853440"/>
              <a:gd name="connsiteY224" fmla="*/ 591407 h 1203769"/>
              <a:gd name="connsiteX225" fmla="*/ 585597 w 853440"/>
              <a:gd name="connsiteY225" fmla="*/ 561308 h 1203769"/>
              <a:gd name="connsiteX226" fmla="*/ 599599 w 853440"/>
              <a:gd name="connsiteY226" fmla="*/ 538925 h 1203769"/>
              <a:gd name="connsiteX227" fmla="*/ 619601 w 853440"/>
              <a:gd name="connsiteY227" fmla="*/ 542830 h 1203769"/>
              <a:gd name="connsiteX228" fmla="*/ 631984 w 853440"/>
              <a:gd name="connsiteY228" fmla="*/ 532829 h 1203769"/>
              <a:gd name="connsiteX229" fmla="*/ 649224 w 853440"/>
              <a:gd name="connsiteY229" fmla="*/ 537496 h 1203769"/>
              <a:gd name="connsiteX230" fmla="*/ 654558 w 853440"/>
              <a:gd name="connsiteY230" fmla="*/ 519017 h 1203769"/>
              <a:gd name="connsiteX231" fmla="*/ 651510 w 853440"/>
              <a:gd name="connsiteY231" fmla="*/ 481012 h 1203769"/>
              <a:gd name="connsiteX232" fmla="*/ 662369 w 853440"/>
              <a:gd name="connsiteY232" fmla="*/ 478917 h 1203769"/>
              <a:gd name="connsiteX233" fmla="*/ 697897 w 853440"/>
              <a:gd name="connsiteY233" fmla="*/ 468440 h 1203769"/>
              <a:gd name="connsiteX234" fmla="*/ 710565 w 853440"/>
              <a:gd name="connsiteY234" fmla="*/ 458533 h 1203769"/>
              <a:gd name="connsiteX235" fmla="*/ 713994 w 853440"/>
              <a:gd name="connsiteY235" fmla="*/ 454724 h 1203769"/>
              <a:gd name="connsiteX236" fmla="*/ 716280 w 853440"/>
              <a:gd name="connsiteY236" fmla="*/ 450914 h 1203769"/>
              <a:gd name="connsiteX237" fmla="*/ 725329 w 853440"/>
              <a:gd name="connsiteY237" fmla="*/ 448532 h 1203769"/>
              <a:gd name="connsiteX238" fmla="*/ 756476 w 853440"/>
              <a:gd name="connsiteY238" fmla="*/ 450533 h 1203769"/>
              <a:gd name="connsiteX239" fmla="*/ 764191 w 853440"/>
              <a:gd name="connsiteY239" fmla="*/ 445199 h 1203769"/>
              <a:gd name="connsiteX240" fmla="*/ 768287 w 853440"/>
              <a:gd name="connsiteY240" fmla="*/ 439579 h 1203769"/>
              <a:gd name="connsiteX241" fmla="*/ 770287 w 853440"/>
              <a:gd name="connsiteY241" fmla="*/ 433959 h 1203769"/>
              <a:gd name="connsiteX242" fmla="*/ 771144 w 853440"/>
              <a:gd name="connsiteY242" fmla="*/ 428530 h 1203769"/>
              <a:gd name="connsiteX243" fmla="*/ 778288 w 853440"/>
              <a:gd name="connsiteY243" fmla="*/ 417290 h 1203769"/>
              <a:gd name="connsiteX244" fmla="*/ 782288 w 853440"/>
              <a:gd name="connsiteY244" fmla="*/ 414719 h 1203769"/>
              <a:gd name="connsiteX245" fmla="*/ 806577 w 853440"/>
              <a:gd name="connsiteY245" fmla="*/ 398145 h 1203769"/>
              <a:gd name="connsiteX246" fmla="*/ 822389 w 853440"/>
              <a:gd name="connsiteY246" fmla="*/ 377762 h 1203769"/>
              <a:gd name="connsiteX247" fmla="*/ 834962 w 853440"/>
              <a:gd name="connsiteY247" fmla="*/ 358426 h 1203769"/>
              <a:gd name="connsiteX248" fmla="*/ 835724 w 853440"/>
              <a:gd name="connsiteY248" fmla="*/ 338233 h 1203769"/>
              <a:gd name="connsiteX249" fmla="*/ 838105 w 853440"/>
              <a:gd name="connsiteY249" fmla="*/ 329756 h 1203769"/>
              <a:gd name="connsiteX250" fmla="*/ 840867 w 853440"/>
              <a:gd name="connsiteY250" fmla="*/ 324612 h 1203769"/>
              <a:gd name="connsiteX251" fmla="*/ 853440 w 853440"/>
              <a:gd name="connsiteY251" fmla="*/ 320040 h 1203769"/>
              <a:gd name="connsiteX252" fmla="*/ 844772 w 853440"/>
              <a:gd name="connsiteY252" fmla="*/ 302324 h 120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Lst>
            <a:rect l="l" t="t" r="r" b="b"/>
            <a:pathLst>
              <a:path w="853440" h="1203769">
                <a:moveTo>
                  <a:pt x="844772" y="302324"/>
                </a:moveTo>
                <a:lnTo>
                  <a:pt x="843058" y="295180"/>
                </a:lnTo>
                <a:lnTo>
                  <a:pt x="842867" y="288036"/>
                </a:lnTo>
                <a:lnTo>
                  <a:pt x="841724" y="282416"/>
                </a:lnTo>
                <a:lnTo>
                  <a:pt x="836771" y="280130"/>
                </a:lnTo>
                <a:lnTo>
                  <a:pt x="823532" y="276987"/>
                </a:lnTo>
                <a:lnTo>
                  <a:pt x="803243" y="265271"/>
                </a:lnTo>
                <a:lnTo>
                  <a:pt x="788956" y="252698"/>
                </a:lnTo>
                <a:lnTo>
                  <a:pt x="771716" y="237554"/>
                </a:lnTo>
                <a:lnTo>
                  <a:pt x="743903" y="202502"/>
                </a:lnTo>
                <a:lnTo>
                  <a:pt x="657130" y="126683"/>
                </a:lnTo>
                <a:lnTo>
                  <a:pt x="635603" y="94488"/>
                </a:lnTo>
                <a:lnTo>
                  <a:pt x="631793" y="83820"/>
                </a:lnTo>
                <a:lnTo>
                  <a:pt x="630269" y="69056"/>
                </a:lnTo>
                <a:lnTo>
                  <a:pt x="631698" y="39148"/>
                </a:lnTo>
                <a:lnTo>
                  <a:pt x="635413" y="11620"/>
                </a:lnTo>
                <a:lnTo>
                  <a:pt x="637222" y="6382"/>
                </a:lnTo>
                <a:lnTo>
                  <a:pt x="639223" y="4572"/>
                </a:lnTo>
                <a:lnTo>
                  <a:pt x="639318" y="3715"/>
                </a:lnTo>
                <a:lnTo>
                  <a:pt x="635413" y="1238"/>
                </a:lnTo>
                <a:lnTo>
                  <a:pt x="629793" y="0"/>
                </a:lnTo>
                <a:lnTo>
                  <a:pt x="624650" y="2095"/>
                </a:lnTo>
                <a:lnTo>
                  <a:pt x="619887" y="5143"/>
                </a:lnTo>
                <a:lnTo>
                  <a:pt x="615506" y="6668"/>
                </a:lnTo>
                <a:lnTo>
                  <a:pt x="606552" y="7334"/>
                </a:lnTo>
                <a:lnTo>
                  <a:pt x="589979" y="12573"/>
                </a:lnTo>
                <a:lnTo>
                  <a:pt x="477393" y="74486"/>
                </a:lnTo>
                <a:lnTo>
                  <a:pt x="401383" y="116110"/>
                </a:lnTo>
                <a:lnTo>
                  <a:pt x="384524" y="121444"/>
                </a:lnTo>
                <a:lnTo>
                  <a:pt x="312706" y="126397"/>
                </a:lnTo>
                <a:lnTo>
                  <a:pt x="296418" y="135350"/>
                </a:lnTo>
                <a:lnTo>
                  <a:pt x="284512" y="148781"/>
                </a:lnTo>
                <a:lnTo>
                  <a:pt x="254318" y="208312"/>
                </a:lnTo>
                <a:lnTo>
                  <a:pt x="241649" y="233267"/>
                </a:lnTo>
                <a:lnTo>
                  <a:pt x="213836" y="270224"/>
                </a:lnTo>
                <a:lnTo>
                  <a:pt x="211455" y="276701"/>
                </a:lnTo>
                <a:lnTo>
                  <a:pt x="199263" y="309182"/>
                </a:lnTo>
                <a:lnTo>
                  <a:pt x="193929" y="315087"/>
                </a:lnTo>
                <a:lnTo>
                  <a:pt x="187262" y="318992"/>
                </a:lnTo>
                <a:lnTo>
                  <a:pt x="181070" y="328803"/>
                </a:lnTo>
                <a:lnTo>
                  <a:pt x="176403" y="341567"/>
                </a:lnTo>
                <a:lnTo>
                  <a:pt x="173831" y="354425"/>
                </a:lnTo>
                <a:lnTo>
                  <a:pt x="172974" y="369475"/>
                </a:lnTo>
                <a:lnTo>
                  <a:pt x="173831" y="416338"/>
                </a:lnTo>
                <a:lnTo>
                  <a:pt x="172974" y="422529"/>
                </a:lnTo>
                <a:lnTo>
                  <a:pt x="169259" y="432721"/>
                </a:lnTo>
                <a:lnTo>
                  <a:pt x="168402" y="440436"/>
                </a:lnTo>
                <a:lnTo>
                  <a:pt x="172688" y="459677"/>
                </a:lnTo>
                <a:lnTo>
                  <a:pt x="173831" y="467297"/>
                </a:lnTo>
                <a:lnTo>
                  <a:pt x="173355" y="496443"/>
                </a:lnTo>
                <a:lnTo>
                  <a:pt x="168688" y="521970"/>
                </a:lnTo>
                <a:lnTo>
                  <a:pt x="161258" y="542449"/>
                </a:lnTo>
                <a:lnTo>
                  <a:pt x="152495" y="556165"/>
                </a:lnTo>
                <a:lnTo>
                  <a:pt x="140018" y="567690"/>
                </a:lnTo>
                <a:lnTo>
                  <a:pt x="129159" y="577691"/>
                </a:lnTo>
                <a:lnTo>
                  <a:pt x="124301" y="580644"/>
                </a:lnTo>
                <a:lnTo>
                  <a:pt x="120396" y="585121"/>
                </a:lnTo>
                <a:lnTo>
                  <a:pt x="106109" y="607219"/>
                </a:lnTo>
                <a:lnTo>
                  <a:pt x="99060" y="614744"/>
                </a:lnTo>
                <a:lnTo>
                  <a:pt x="73343" y="630460"/>
                </a:lnTo>
                <a:lnTo>
                  <a:pt x="69628" y="637032"/>
                </a:lnTo>
                <a:lnTo>
                  <a:pt x="37624" y="658463"/>
                </a:lnTo>
                <a:lnTo>
                  <a:pt x="32766" y="670846"/>
                </a:lnTo>
                <a:lnTo>
                  <a:pt x="33338" y="682943"/>
                </a:lnTo>
                <a:lnTo>
                  <a:pt x="36100" y="695611"/>
                </a:lnTo>
                <a:lnTo>
                  <a:pt x="37624" y="709708"/>
                </a:lnTo>
                <a:lnTo>
                  <a:pt x="34957" y="770477"/>
                </a:lnTo>
                <a:lnTo>
                  <a:pt x="30290" y="793528"/>
                </a:lnTo>
                <a:lnTo>
                  <a:pt x="20288" y="822674"/>
                </a:lnTo>
                <a:lnTo>
                  <a:pt x="16383" y="834200"/>
                </a:lnTo>
                <a:lnTo>
                  <a:pt x="12383" y="863156"/>
                </a:lnTo>
                <a:lnTo>
                  <a:pt x="10382" y="866204"/>
                </a:lnTo>
                <a:lnTo>
                  <a:pt x="9239" y="869442"/>
                </a:lnTo>
                <a:lnTo>
                  <a:pt x="10859" y="877252"/>
                </a:lnTo>
                <a:lnTo>
                  <a:pt x="13526" y="882777"/>
                </a:lnTo>
                <a:lnTo>
                  <a:pt x="16383" y="884301"/>
                </a:lnTo>
                <a:lnTo>
                  <a:pt x="19907" y="884777"/>
                </a:lnTo>
                <a:lnTo>
                  <a:pt x="24194" y="886873"/>
                </a:lnTo>
                <a:lnTo>
                  <a:pt x="31052" y="892874"/>
                </a:lnTo>
                <a:lnTo>
                  <a:pt x="32861" y="896112"/>
                </a:lnTo>
                <a:lnTo>
                  <a:pt x="34957" y="901351"/>
                </a:lnTo>
                <a:lnTo>
                  <a:pt x="36862" y="908209"/>
                </a:lnTo>
                <a:lnTo>
                  <a:pt x="38576" y="920591"/>
                </a:lnTo>
                <a:lnTo>
                  <a:pt x="40386" y="925354"/>
                </a:lnTo>
                <a:lnTo>
                  <a:pt x="38767" y="932974"/>
                </a:lnTo>
                <a:lnTo>
                  <a:pt x="38195" y="944880"/>
                </a:lnTo>
                <a:lnTo>
                  <a:pt x="38957" y="957453"/>
                </a:lnTo>
                <a:lnTo>
                  <a:pt x="43339" y="972217"/>
                </a:lnTo>
                <a:lnTo>
                  <a:pt x="42291" y="977741"/>
                </a:lnTo>
                <a:lnTo>
                  <a:pt x="39624" y="981837"/>
                </a:lnTo>
                <a:lnTo>
                  <a:pt x="36290" y="983552"/>
                </a:lnTo>
                <a:lnTo>
                  <a:pt x="33052" y="981456"/>
                </a:lnTo>
                <a:lnTo>
                  <a:pt x="24194" y="968693"/>
                </a:lnTo>
                <a:lnTo>
                  <a:pt x="29718" y="959549"/>
                </a:lnTo>
                <a:lnTo>
                  <a:pt x="29718" y="954691"/>
                </a:lnTo>
                <a:lnTo>
                  <a:pt x="29718" y="944690"/>
                </a:lnTo>
                <a:lnTo>
                  <a:pt x="26861" y="942975"/>
                </a:lnTo>
                <a:lnTo>
                  <a:pt x="24194" y="940308"/>
                </a:lnTo>
                <a:lnTo>
                  <a:pt x="29718" y="930688"/>
                </a:lnTo>
                <a:lnTo>
                  <a:pt x="26194" y="922306"/>
                </a:lnTo>
                <a:lnTo>
                  <a:pt x="21622" y="924116"/>
                </a:lnTo>
                <a:lnTo>
                  <a:pt x="20860" y="934212"/>
                </a:lnTo>
                <a:lnTo>
                  <a:pt x="19907" y="941261"/>
                </a:lnTo>
                <a:lnTo>
                  <a:pt x="14383" y="942118"/>
                </a:lnTo>
                <a:lnTo>
                  <a:pt x="13526" y="949833"/>
                </a:lnTo>
                <a:lnTo>
                  <a:pt x="11621" y="956310"/>
                </a:lnTo>
                <a:lnTo>
                  <a:pt x="9335" y="961739"/>
                </a:lnTo>
                <a:lnTo>
                  <a:pt x="4096" y="971264"/>
                </a:lnTo>
                <a:lnTo>
                  <a:pt x="762" y="982123"/>
                </a:lnTo>
                <a:lnTo>
                  <a:pt x="0" y="995553"/>
                </a:lnTo>
                <a:lnTo>
                  <a:pt x="953" y="1009650"/>
                </a:lnTo>
                <a:lnTo>
                  <a:pt x="5048" y="1037273"/>
                </a:lnTo>
                <a:lnTo>
                  <a:pt x="5525" y="1043654"/>
                </a:lnTo>
                <a:lnTo>
                  <a:pt x="5525" y="1051179"/>
                </a:lnTo>
                <a:lnTo>
                  <a:pt x="4572" y="1059180"/>
                </a:lnTo>
                <a:lnTo>
                  <a:pt x="953" y="1072896"/>
                </a:lnTo>
                <a:lnTo>
                  <a:pt x="191" y="1077278"/>
                </a:lnTo>
                <a:lnTo>
                  <a:pt x="1905" y="1092327"/>
                </a:lnTo>
                <a:lnTo>
                  <a:pt x="6096" y="1107472"/>
                </a:lnTo>
                <a:lnTo>
                  <a:pt x="23527" y="1151573"/>
                </a:lnTo>
                <a:lnTo>
                  <a:pt x="28956" y="1174433"/>
                </a:lnTo>
                <a:lnTo>
                  <a:pt x="32766" y="1200341"/>
                </a:lnTo>
                <a:lnTo>
                  <a:pt x="33052" y="1203484"/>
                </a:lnTo>
                <a:lnTo>
                  <a:pt x="33052" y="1203770"/>
                </a:lnTo>
                <a:lnTo>
                  <a:pt x="47816" y="1200055"/>
                </a:lnTo>
                <a:lnTo>
                  <a:pt x="70771" y="1199864"/>
                </a:lnTo>
                <a:lnTo>
                  <a:pt x="86392" y="1195483"/>
                </a:lnTo>
                <a:lnTo>
                  <a:pt x="92202" y="1182243"/>
                </a:lnTo>
                <a:lnTo>
                  <a:pt x="95060" y="1163003"/>
                </a:lnTo>
                <a:lnTo>
                  <a:pt x="101727" y="1140524"/>
                </a:lnTo>
                <a:lnTo>
                  <a:pt x="111538" y="1125093"/>
                </a:lnTo>
                <a:lnTo>
                  <a:pt x="125349" y="1109853"/>
                </a:lnTo>
                <a:lnTo>
                  <a:pt x="139827" y="1097661"/>
                </a:lnTo>
                <a:lnTo>
                  <a:pt x="151829" y="1091470"/>
                </a:lnTo>
                <a:lnTo>
                  <a:pt x="169450" y="1090613"/>
                </a:lnTo>
                <a:lnTo>
                  <a:pt x="175546" y="1088517"/>
                </a:lnTo>
                <a:lnTo>
                  <a:pt x="201359" y="1068610"/>
                </a:lnTo>
                <a:lnTo>
                  <a:pt x="229934" y="1046512"/>
                </a:lnTo>
                <a:lnTo>
                  <a:pt x="244316" y="1039082"/>
                </a:lnTo>
                <a:lnTo>
                  <a:pt x="278797" y="1037558"/>
                </a:lnTo>
                <a:lnTo>
                  <a:pt x="299085" y="1027938"/>
                </a:lnTo>
                <a:lnTo>
                  <a:pt x="388144" y="985838"/>
                </a:lnTo>
                <a:lnTo>
                  <a:pt x="395097" y="982599"/>
                </a:lnTo>
                <a:lnTo>
                  <a:pt x="438341" y="962120"/>
                </a:lnTo>
                <a:lnTo>
                  <a:pt x="455867" y="963359"/>
                </a:lnTo>
                <a:lnTo>
                  <a:pt x="463201" y="967169"/>
                </a:lnTo>
                <a:lnTo>
                  <a:pt x="477679" y="978027"/>
                </a:lnTo>
                <a:lnTo>
                  <a:pt x="485299" y="981170"/>
                </a:lnTo>
                <a:lnTo>
                  <a:pt x="600932" y="977265"/>
                </a:lnTo>
                <a:lnTo>
                  <a:pt x="625888" y="982980"/>
                </a:lnTo>
                <a:lnTo>
                  <a:pt x="626840" y="983552"/>
                </a:lnTo>
                <a:lnTo>
                  <a:pt x="637127" y="989076"/>
                </a:lnTo>
                <a:lnTo>
                  <a:pt x="654368" y="1007364"/>
                </a:lnTo>
                <a:lnTo>
                  <a:pt x="661130" y="1010221"/>
                </a:lnTo>
                <a:lnTo>
                  <a:pt x="667036" y="1009269"/>
                </a:lnTo>
                <a:lnTo>
                  <a:pt x="722090" y="986409"/>
                </a:lnTo>
                <a:lnTo>
                  <a:pt x="736378" y="976408"/>
                </a:lnTo>
                <a:lnTo>
                  <a:pt x="735997" y="976313"/>
                </a:lnTo>
                <a:lnTo>
                  <a:pt x="721709" y="972502"/>
                </a:lnTo>
                <a:lnTo>
                  <a:pt x="707708" y="961454"/>
                </a:lnTo>
                <a:lnTo>
                  <a:pt x="700564" y="958977"/>
                </a:lnTo>
                <a:lnTo>
                  <a:pt x="684562" y="957072"/>
                </a:lnTo>
                <a:lnTo>
                  <a:pt x="688467" y="943547"/>
                </a:lnTo>
                <a:lnTo>
                  <a:pt x="690944" y="939641"/>
                </a:lnTo>
                <a:lnTo>
                  <a:pt x="692944" y="935165"/>
                </a:lnTo>
                <a:lnTo>
                  <a:pt x="691706" y="926402"/>
                </a:lnTo>
                <a:lnTo>
                  <a:pt x="690372" y="921258"/>
                </a:lnTo>
                <a:lnTo>
                  <a:pt x="674751" y="908685"/>
                </a:lnTo>
                <a:lnTo>
                  <a:pt x="678942" y="857726"/>
                </a:lnTo>
                <a:lnTo>
                  <a:pt x="686848" y="857822"/>
                </a:lnTo>
                <a:lnTo>
                  <a:pt x="688181" y="857631"/>
                </a:lnTo>
                <a:lnTo>
                  <a:pt x="695706" y="860108"/>
                </a:lnTo>
                <a:lnTo>
                  <a:pt x="702850" y="856298"/>
                </a:lnTo>
                <a:lnTo>
                  <a:pt x="712470" y="855631"/>
                </a:lnTo>
                <a:lnTo>
                  <a:pt x="709994" y="848106"/>
                </a:lnTo>
                <a:lnTo>
                  <a:pt x="708755" y="846487"/>
                </a:lnTo>
                <a:lnTo>
                  <a:pt x="707136" y="843344"/>
                </a:lnTo>
                <a:lnTo>
                  <a:pt x="704850" y="841915"/>
                </a:lnTo>
                <a:lnTo>
                  <a:pt x="704183" y="839057"/>
                </a:lnTo>
                <a:lnTo>
                  <a:pt x="704088" y="835628"/>
                </a:lnTo>
                <a:lnTo>
                  <a:pt x="704183" y="832295"/>
                </a:lnTo>
                <a:lnTo>
                  <a:pt x="705707" y="828961"/>
                </a:lnTo>
                <a:lnTo>
                  <a:pt x="710470" y="828104"/>
                </a:lnTo>
                <a:lnTo>
                  <a:pt x="719900" y="828104"/>
                </a:lnTo>
                <a:lnTo>
                  <a:pt x="724567" y="825818"/>
                </a:lnTo>
                <a:lnTo>
                  <a:pt x="729044" y="821150"/>
                </a:lnTo>
                <a:lnTo>
                  <a:pt x="734282" y="811435"/>
                </a:lnTo>
                <a:lnTo>
                  <a:pt x="736283" y="801910"/>
                </a:lnTo>
                <a:lnTo>
                  <a:pt x="727901" y="791909"/>
                </a:lnTo>
                <a:lnTo>
                  <a:pt x="724376" y="782574"/>
                </a:lnTo>
                <a:lnTo>
                  <a:pt x="715232" y="777812"/>
                </a:lnTo>
                <a:lnTo>
                  <a:pt x="713232" y="765239"/>
                </a:lnTo>
                <a:lnTo>
                  <a:pt x="723329" y="763810"/>
                </a:lnTo>
                <a:lnTo>
                  <a:pt x="720376" y="756571"/>
                </a:lnTo>
                <a:lnTo>
                  <a:pt x="718947" y="754571"/>
                </a:lnTo>
                <a:lnTo>
                  <a:pt x="718757" y="751618"/>
                </a:lnTo>
                <a:lnTo>
                  <a:pt x="720566" y="749808"/>
                </a:lnTo>
                <a:lnTo>
                  <a:pt x="722852" y="748379"/>
                </a:lnTo>
                <a:lnTo>
                  <a:pt x="724376" y="743998"/>
                </a:lnTo>
                <a:lnTo>
                  <a:pt x="723519" y="738473"/>
                </a:lnTo>
                <a:lnTo>
                  <a:pt x="721233" y="711613"/>
                </a:lnTo>
                <a:lnTo>
                  <a:pt x="708374" y="693706"/>
                </a:lnTo>
                <a:lnTo>
                  <a:pt x="708851" y="688658"/>
                </a:lnTo>
                <a:lnTo>
                  <a:pt x="681514" y="689991"/>
                </a:lnTo>
                <a:lnTo>
                  <a:pt x="666083" y="684657"/>
                </a:lnTo>
                <a:lnTo>
                  <a:pt x="651605" y="685610"/>
                </a:lnTo>
                <a:lnTo>
                  <a:pt x="653129" y="679799"/>
                </a:lnTo>
                <a:lnTo>
                  <a:pt x="648653" y="674275"/>
                </a:lnTo>
                <a:lnTo>
                  <a:pt x="629984" y="665036"/>
                </a:lnTo>
                <a:lnTo>
                  <a:pt x="607124" y="661797"/>
                </a:lnTo>
                <a:lnTo>
                  <a:pt x="592836" y="654749"/>
                </a:lnTo>
                <a:lnTo>
                  <a:pt x="596551" y="646557"/>
                </a:lnTo>
                <a:lnTo>
                  <a:pt x="598932" y="643414"/>
                </a:lnTo>
                <a:lnTo>
                  <a:pt x="602075" y="640175"/>
                </a:lnTo>
                <a:lnTo>
                  <a:pt x="603695" y="636746"/>
                </a:lnTo>
                <a:lnTo>
                  <a:pt x="604552" y="631127"/>
                </a:lnTo>
                <a:lnTo>
                  <a:pt x="604552" y="619982"/>
                </a:lnTo>
                <a:lnTo>
                  <a:pt x="605885" y="616553"/>
                </a:lnTo>
                <a:lnTo>
                  <a:pt x="607695" y="613982"/>
                </a:lnTo>
                <a:lnTo>
                  <a:pt x="606743" y="611029"/>
                </a:lnTo>
                <a:lnTo>
                  <a:pt x="601028" y="607790"/>
                </a:lnTo>
                <a:lnTo>
                  <a:pt x="593408" y="605885"/>
                </a:lnTo>
                <a:lnTo>
                  <a:pt x="578834" y="608076"/>
                </a:lnTo>
                <a:lnTo>
                  <a:pt x="575120" y="592741"/>
                </a:lnTo>
                <a:lnTo>
                  <a:pt x="579215" y="591407"/>
                </a:lnTo>
                <a:lnTo>
                  <a:pt x="585597" y="561308"/>
                </a:lnTo>
                <a:lnTo>
                  <a:pt x="599599" y="538925"/>
                </a:lnTo>
                <a:lnTo>
                  <a:pt x="619601" y="542830"/>
                </a:lnTo>
                <a:lnTo>
                  <a:pt x="631984" y="532829"/>
                </a:lnTo>
                <a:lnTo>
                  <a:pt x="649224" y="537496"/>
                </a:lnTo>
                <a:lnTo>
                  <a:pt x="654558" y="519017"/>
                </a:lnTo>
                <a:lnTo>
                  <a:pt x="651510" y="481012"/>
                </a:lnTo>
                <a:lnTo>
                  <a:pt x="662369" y="478917"/>
                </a:lnTo>
                <a:lnTo>
                  <a:pt x="697897" y="468440"/>
                </a:lnTo>
                <a:lnTo>
                  <a:pt x="710565" y="458533"/>
                </a:lnTo>
                <a:lnTo>
                  <a:pt x="713994" y="454724"/>
                </a:lnTo>
                <a:lnTo>
                  <a:pt x="716280" y="450914"/>
                </a:lnTo>
                <a:lnTo>
                  <a:pt x="725329" y="448532"/>
                </a:lnTo>
                <a:lnTo>
                  <a:pt x="756476" y="450533"/>
                </a:lnTo>
                <a:lnTo>
                  <a:pt x="764191" y="445199"/>
                </a:lnTo>
                <a:lnTo>
                  <a:pt x="768287" y="439579"/>
                </a:lnTo>
                <a:lnTo>
                  <a:pt x="770287" y="433959"/>
                </a:lnTo>
                <a:lnTo>
                  <a:pt x="771144" y="428530"/>
                </a:lnTo>
                <a:lnTo>
                  <a:pt x="778288" y="417290"/>
                </a:lnTo>
                <a:lnTo>
                  <a:pt x="782288" y="414719"/>
                </a:lnTo>
                <a:lnTo>
                  <a:pt x="806577" y="398145"/>
                </a:lnTo>
                <a:lnTo>
                  <a:pt x="822389" y="377762"/>
                </a:lnTo>
                <a:lnTo>
                  <a:pt x="834962" y="358426"/>
                </a:lnTo>
                <a:lnTo>
                  <a:pt x="835724" y="338233"/>
                </a:lnTo>
                <a:lnTo>
                  <a:pt x="838105" y="329756"/>
                </a:lnTo>
                <a:lnTo>
                  <a:pt x="840867" y="324612"/>
                </a:lnTo>
                <a:lnTo>
                  <a:pt x="853440" y="320040"/>
                </a:lnTo>
                <a:lnTo>
                  <a:pt x="844772" y="302324"/>
                </a:lnTo>
                <a:close/>
              </a:path>
            </a:pathLst>
          </a:custGeom>
          <a:noFill/>
          <a:ln w="9525" cap="sq">
            <a:noFill/>
            <a:prstDash val="solid"/>
            <a:bevel/>
          </a:ln>
        </p:spPr>
        <p:txBody>
          <a:bodyPr rtlCol="0" anchor="ctr"/>
          <a:lstStyle/>
          <a:p>
            <a:endParaRPr lang="cs-CZ"/>
          </a:p>
        </p:txBody>
      </p:sp>
      <p:sp>
        <p:nvSpPr>
          <p:cNvPr id="315" name="Google Shape;3054;p94">
            <a:extLst>
              <a:ext uri="{FF2B5EF4-FFF2-40B4-BE49-F238E27FC236}">
                <a16:creationId xmlns:a16="http://schemas.microsoft.com/office/drawing/2014/main" id="{717EF4FD-6BB1-A911-B43C-65BDBAAAD9D6}"/>
              </a:ext>
            </a:extLst>
          </p:cNvPr>
          <p:cNvSpPr/>
          <p:nvPr/>
        </p:nvSpPr>
        <p:spPr>
          <a:xfrm>
            <a:off x="1213277" y="4409451"/>
            <a:ext cx="245432" cy="296118"/>
          </a:xfrm>
          <a:custGeom>
            <a:avLst/>
            <a:gdLst/>
            <a:ahLst/>
            <a:cxnLst/>
            <a:rect l="l" t="t" r="r" b="b"/>
            <a:pathLst>
              <a:path w="370880" h="447473" extrusionOk="0">
                <a:moveTo>
                  <a:pt x="185440" y="246421"/>
                </a:moveTo>
                <a:cubicBezTo>
                  <a:pt x="149262" y="246421"/>
                  <a:pt x="119939" y="217123"/>
                  <a:pt x="119939" y="180977"/>
                </a:cubicBezTo>
                <a:cubicBezTo>
                  <a:pt x="119939" y="144831"/>
                  <a:pt x="149262" y="115534"/>
                  <a:pt x="185440" y="115534"/>
                </a:cubicBezTo>
                <a:cubicBezTo>
                  <a:pt x="221618" y="115534"/>
                  <a:pt x="250941" y="144831"/>
                  <a:pt x="250941" y="180977"/>
                </a:cubicBezTo>
                <a:cubicBezTo>
                  <a:pt x="250941" y="180996"/>
                  <a:pt x="250941" y="181021"/>
                  <a:pt x="250941" y="181039"/>
                </a:cubicBezTo>
                <a:cubicBezTo>
                  <a:pt x="250941" y="217148"/>
                  <a:pt x="221643" y="246421"/>
                  <a:pt x="185502" y="246421"/>
                </a:cubicBezTo>
                <a:cubicBezTo>
                  <a:pt x="185484" y="246421"/>
                  <a:pt x="185459" y="246421"/>
                  <a:pt x="185440" y="246421"/>
                </a:cubicBezTo>
                <a:moveTo>
                  <a:pt x="317251" y="54752"/>
                </a:moveTo>
                <a:lnTo>
                  <a:pt x="316629" y="54131"/>
                </a:lnTo>
                <a:cubicBezTo>
                  <a:pt x="244061" y="-18044"/>
                  <a:pt x="126757" y="-18044"/>
                  <a:pt x="54190" y="54131"/>
                </a:cubicBezTo>
                <a:lnTo>
                  <a:pt x="53567" y="54752"/>
                </a:lnTo>
                <a:cubicBezTo>
                  <a:pt x="-18073" y="127349"/>
                  <a:pt x="-17824" y="244047"/>
                  <a:pt x="54127" y="316339"/>
                </a:cubicBezTo>
                <a:lnTo>
                  <a:pt x="185378" y="447474"/>
                </a:lnTo>
                <a:lnTo>
                  <a:pt x="316753" y="316277"/>
                </a:lnTo>
                <a:cubicBezTo>
                  <a:pt x="388704" y="243984"/>
                  <a:pt x="388953" y="127287"/>
                  <a:pt x="317313" y="54690"/>
                </a:cubicBezTo>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16" name="Google Shape;3054;p94">
            <a:extLst>
              <a:ext uri="{FF2B5EF4-FFF2-40B4-BE49-F238E27FC236}">
                <a16:creationId xmlns:a16="http://schemas.microsoft.com/office/drawing/2014/main" id="{8EC239AB-0142-3FE5-A6C2-08114AF71019}"/>
              </a:ext>
            </a:extLst>
          </p:cNvPr>
          <p:cNvSpPr/>
          <p:nvPr/>
        </p:nvSpPr>
        <p:spPr>
          <a:xfrm>
            <a:off x="4847772" y="4663007"/>
            <a:ext cx="245432" cy="296118"/>
          </a:xfrm>
          <a:custGeom>
            <a:avLst/>
            <a:gdLst/>
            <a:ahLst/>
            <a:cxnLst/>
            <a:rect l="l" t="t" r="r" b="b"/>
            <a:pathLst>
              <a:path w="370880" h="447473" extrusionOk="0">
                <a:moveTo>
                  <a:pt x="185440" y="246421"/>
                </a:moveTo>
                <a:cubicBezTo>
                  <a:pt x="149262" y="246421"/>
                  <a:pt x="119939" y="217123"/>
                  <a:pt x="119939" y="180977"/>
                </a:cubicBezTo>
                <a:cubicBezTo>
                  <a:pt x="119939" y="144831"/>
                  <a:pt x="149262" y="115534"/>
                  <a:pt x="185440" y="115534"/>
                </a:cubicBezTo>
                <a:cubicBezTo>
                  <a:pt x="221618" y="115534"/>
                  <a:pt x="250941" y="144831"/>
                  <a:pt x="250941" y="180977"/>
                </a:cubicBezTo>
                <a:cubicBezTo>
                  <a:pt x="250941" y="180996"/>
                  <a:pt x="250941" y="181021"/>
                  <a:pt x="250941" y="181039"/>
                </a:cubicBezTo>
                <a:cubicBezTo>
                  <a:pt x="250941" y="217148"/>
                  <a:pt x="221643" y="246421"/>
                  <a:pt x="185502" y="246421"/>
                </a:cubicBezTo>
                <a:cubicBezTo>
                  <a:pt x="185484" y="246421"/>
                  <a:pt x="185459" y="246421"/>
                  <a:pt x="185440" y="246421"/>
                </a:cubicBezTo>
                <a:moveTo>
                  <a:pt x="317251" y="54752"/>
                </a:moveTo>
                <a:lnTo>
                  <a:pt x="316629" y="54131"/>
                </a:lnTo>
                <a:cubicBezTo>
                  <a:pt x="244061" y="-18044"/>
                  <a:pt x="126757" y="-18044"/>
                  <a:pt x="54190" y="54131"/>
                </a:cubicBezTo>
                <a:lnTo>
                  <a:pt x="53567" y="54752"/>
                </a:lnTo>
                <a:cubicBezTo>
                  <a:pt x="-18073" y="127349"/>
                  <a:pt x="-17824" y="244047"/>
                  <a:pt x="54127" y="316339"/>
                </a:cubicBezTo>
                <a:lnTo>
                  <a:pt x="185378" y="447474"/>
                </a:lnTo>
                <a:lnTo>
                  <a:pt x="316753" y="316277"/>
                </a:lnTo>
                <a:cubicBezTo>
                  <a:pt x="388704" y="243984"/>
                  <a:pt x="388953" y="127287"/>
                  <a:pt x="317313" y="54690"/>
                </a:cubicBezTo>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19" name="Google Shape;3054;p94">
            <a:extLst>
              <a:ext uri="{FF2B5EF4-FFF2-40B4-BE49-F238E27FC236}">
                <a16:creationId xmlns:a16="http://schemas.microsoft.com/office/drawing/2014/main" id="{9FF85A0B-19CE-BDEA-D7FC-4BBCFEB46030}"/>
              </a:ext>
            </a:extLst>
          </p:cNvPr>
          <p:cNvSpPr/>
          <p:nvPr/>
        </p:nvSpPr>
        <p:spPr>
          <a:xfrm>
            <a:off x="11022263" y="5210073"/>
            <a:ext cx="245432" cy="296118"/>
          </a:xfrm>
          <a:custGeom>
            <a:avLst/>
            <a:gdLst/>
            <a:ahLst/>
            <a:cxnLst/>
            <a:rect l="l" t="t" r="r" b="b"/>
            <a:pathLst>
              <a:path w="370880" h="447473" extrusionOk="0">
                <a:moveTo>
                  <a:pt x="185440" y="246421"/>
                </a:moveTo>
                <a:cubicBezTo>
                  <a:pt x="149262" y="246421"/>
                  <a:pt x="119939" y="217123"/>
                  <a:pt x="119939" y="180977"/>
                </a:cubicBezTo>
                <a:cubicBezTo>
                  <a:pt x="119939" y="144831"/>
                  <a:pt x="149262" y="115534"/>
                  <a:pt x="185440" y="115534"/>
                </a:cubicBezTo>
                <a:cubicBezTo>
                  <a:pt x="221618" y="115534"/>
                  <a:pt x="250941" y="144831"/>
                  <a:pt x="250941" y="180977"/>
                </a:cubicBezTo>
                <a:cubicBezTo>
                  <a:pt x="250941" y="180996"/>
                  <a:pt x="250941" y="181021"/>
                  <a:pt x="250941" y="181039"/>
                </a:cubicBezTo>
                <a:cubicBezTo>
                  <a:pt x="250941" y="217148"/>
                  <a:pt x="221643" y="246421"/>
                  <a:pt x="185502" y="246421"/>
                </a:cubicBezTo>
                <a:cubicBezTo>
                  <a:pt x="185484" y="246421"/>
                  <a:pt x="185459" y="246421"/>
                  <a:pt x="185440" y="246421"/>
                </a:cubicBezTo>
                <a:moveTo>
                  <a:pt x="317251" y="54752"/>
                </a:moveTo>
                <a:lnTo>
                  <a:pt x="316629" y="54131"/>
                </a:lnTo>
                <a:cubicBezTo>
                  <a:pt x="244061" y="-18044"/>
                  <a:pt x="126757" y="-18044"/>
                  <a:pt x="54190" y="54131"/>
                </a:cubicBezTo>
                <a:lnTo>
                  <a:pt x="53567" y="54752"/>
                </a:lnTo>
                <a:cubicBezTo>
                  <a:pt x="-18073" y="127349"/>
                  <a:pt x="-17824" y="244047"/>
                  <a:pt x="54127" y="316339"/>
                </a:cubicBezTo>
                <a:lnTo>
                  <a:pt x="185378" y="447474"/>
                </a:lnTo>
                <a:lnTo>
                  <a:pt x="316753" y="316277"/>
                </a:lnTo>
                <a:cubicBezTo>
                  <a:pt x="388704" y="243984"/>
                  <a:pt x="388953" y="127287"/>
                  <a:pt x="317313" y="54690"/>
                </a:cubicBezTo>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20" name="Google Shape;3054;p94">
            <a:extLst>
              <a:ext uri="{FF2B5EF4-FFF2-40B4-BE49-F238E27FC236}">
                <a16:creationId xmlns:a16="http://schemas.microsoft.com/office/drawing/2014/main" id="{99ED68F6-6F19-80CE-B588-4EDF86CA3E24}"/>
              </a:ext>
            </a:extLst>
          </p:cNvPr>
          <p:cNvSpPr/>
          <p:nvPr/>
        </p:nvSpPr>
        <p:spPr>
          <a:xfrm>
            <a:off x="10173853" y="4968121"/>
            <a:ext cx="245432" cy="296118"/>
          </a:xfrm>
          <a:custGeom>
            <a:avLst/>
            <a:gdLst/>
            <a:ahLst/>
            <a:cxnLst/>
            <a:rect l="l" t="t" r="r" b="b"/>
            <a:pathLst>
              <a:path w="370880" h="447473" extrusionOk="0">
                <a:moveTo>
                  <a:pt x="185440" y="246421"/>
                </a:moveTo>
                <a:cubicBezTo>
                  <a:pt x="149262" y="246421"/>
                  <a:pt x="119939" y="217123"/>
                  <a:pt x="119939" y="180977"/>
                </a:cubicBezTo>
                <a:cubicBezTo>
                  <a:pt x="119939" y="144831"/>
                  <a:pt x="149262" y="115534"/>
                  <a:pt x="185440" y="115534"/>
                </a:cubicBezTo>
                <a:cubicBezTo>
                  <a:pt x="221618" y="115534"/>
                  <a:pt x="250941" y="144831"/>
                  <a:pt x="250941" y="180977"/>
                </a:cubicBezTo>
                <a:cubicBezTo>
                  <a:pt x="250941" y="180996"/>
                  <a:pt x="250941" y="181021"/>
                  <a:pt x="250941" y="181039"/>
                </a:cubicBezTo>
                <a:cubicBezTo>
                  <a:pt x="250941" y="217148"/>
                  <a:pt x="221643" y="246421"/>
                  <a:pt x="185502" y="246421"/>
                </a:cubicBezTo>
                <a:cubicBezTo>
                  <a:pt x="185484" y="246421"/>
                  <a:pt x="185459" y="246421"/>
                  <a:pt x="185440" y="246421"/>
                </a:cubicBezTo>
                <a:moveTo>
                  <a:pt x="317251" y="54752"/>
                </a:moveTo>
                <a:lnTo>
                  <a:pt x="316629" y="54131"/>
                </a:lnTo>
                <a:cubicBezTo>
                  <a:pt x="244061" y="-18044"/>
                  <a:pt x="126757" y="-18044"/>
                  <a:pt x="54190" y="54131"/>
                </a:cubicBezTo>
                <a:lnTo>
                  <a:pt x="53567" y="54752"/>
                </a:lnTo>
                <a:cubicBezTo>
                  <a:pt x="-18073" y="127349"/>
                  <a:pt x="-17824" y="244047"/>
                  <a:pt x="54127" y="316339"/>
                </a:cubicBezTo>
                <a:lnTo>
                  <a:pt x="185378" y="447474"/>
                </a:lnTo>
                <a:lnTo>
                  <a:pt x="316753" y="316277"/>
                </a:lnTo>
                <a:cubicBezTo>
                  <a:pt x="388704" y="243984"/>
                  <a:pt x="388953" y="127287"/>
                  <a:pt x="317313" y="54690"/>
                </a:cubicBezTo>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 name="Rectangle 2">
            <a:extLst>
              <a:ext uri="{FF2B5EF4-FFF2-40B4-BE49-F238E27FC236}">
                <a16:creationId xmlns:a16="http://schemas.microsoft.com/office/drawing/2014/main" id="{A67E0F9F-B561-1572-4B6F-4D63990329C7}"/>
              </a:ext>
            </a:extLst>
          </p:cNvPr>
          <p:cNvSpPr/>
          <p:nvPr/>
        </p:nvSpPr>
        <p:spPr>
          <a:xfrm>
            <a:off x="448684" y="6320772"/>
            <a:ext cx="4580516" cy="34657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360000" rtlCol="0" anchor="ctr"/>
          <a:lstStyle/>
          <a:p>
            <a:pPr algn="ctr"/>
            <a:r>
              <a:rPr lang="lv-LV" sz="1200" dirty="0">
                <a:solidFill>
                  <a:schemeClr val="tx1"/>
                </a:solidFill>
                <a:hlinkClick r:id="rId3">
                  <a:extLst>
                    <a:ext uri="{A12FA001-AC4F-418D-AE19-62706E023703}">
                      <ahyp:hlinkClr xmlns:ahyp="http://schemas.microsoft.com/office/drawing/2018/hyperlinkcolor" val="tx"/>
                    </a:ext>
                  </a:extLst>
                </a:hlinkClick>
              </a:rPr>
              <a:t>Civilās aizsardzības un katastrofas pārvaldīšanas likums</a:t>
            </a:r>
            <a:endParaRPr lang="lv-LV" sz="1200" dirty="0">
              <a:solidFill>
                <a:schemeClr val="tx1"/>
              </a:solidFill>
            </a:endParaRPr>
          </a:p>
        </p:txBody>
      </p:sp>
      <p:sp>
        <p:nvSpPr>
          <p:cNvPr id="6" name="Freeform 50">
            <a:extLst>
              <a:ext uri="{FF2B5EF4-FFF2-40B4-BE49-F238E27FC236}">
                <a16:creationId xmlns:a16="http://schemas.microsoft.com/office/drawing/2014/main" id="{C5624508-D081-AB67-BEBB-B948DA86269A}"/>
              </a:ext>
            </a:extLst>
          </p:cNvPr>
          <p:cNvSpPr>
            <a:spLocks noChangeAspect="1"/>
          </p:cNvSpPr>
          <p:nvPr/>
        </p:nvSpPr>
        <p:spPr bwMode="auto">
          <a:xfrm>
            <a:off x="606944" y="6388253"/>
            <a:ext cx="230247" cy="231772"/>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pic>
        <p:nvPicPr>
          <p:cNvPr id="18" name="Graphic 17">
            <a:extLst>
              <a:ext uri="{FF2B5EF4-FFF2-40B4-BE49-F238E27FC236}">
                <a16:creationId xmlns:a16="http://schemas.microsoft.com/office/drawing/2014/main" id="{D8419D61-B912-23C6-CB95-0C08C99B50C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83154" y="5096974"/>
            <a:ext cx="736789" cy="544583"/>
          </a:xfrm>
          <a:prstGeom prst="rect">
            <a:avLst/>
          </a:prstGeom>
        </p:spPr>
      </p:pic>
      <p:pic>
        <p:nvPicPr>
          <p:cNvPr id="20" name="Graphic 19">
            <a:extLst>
              <a:ext uri="{FF2B5EF4-FFF2-40B4-BE49-F238E27FC236}">
                <a16:creationId xmlns:a16="http://schemas.microsoft.com/office/drawing/2014/main" id="{F6B219B4-19B5-98CE-8169-194F35032DB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01078" y="4956523"/>
            <a:ext cx="504666" cy="602344"/>
          </a:xfrm>
          <a:prstGeom prst="rect">
            <a:avLst/>
          </a:prstGeom>
        </p:spPr>
      </p:pic>
      <p:pic>
        <p:nvPicPr>
          <p:cNvPr id="24" name="Graphic 23">
            <a:extLst>
              <a:ext uri="{FF2B5EF4-FFF2-40B4-BE49-F238E27FC236}">
                <a16:creationId xmlns:a16="http://schemas.microsoft.com/office/drawing/2014/main" id="{8AE97308-D5E9-7528-7E57-A46C0E0C7FE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171552" y="4402228"/>
            <a:ext cx="1417175" cy="1516625"/>
          </a:xfrm>
          <a:prstGeom prst="rect">
            <a:avLst/>
          </a:prstGeom>
        </p:spPr>
      </p:pic>
      <p:pic>
        <p:nvPicPr>
          <p:cNvPr id="28" name="Graphic 27">
            <a:extLst>
              <a:ext uri="{FF2B5EF4-FFF2-40B4-BE49-F238E27FC236}">
                <a16:creationId xmlns:a16="http://schemas.microsoft.com/office/drawing/2014/main" id="{153AC905-FC18-D016-2172-88F4E5F3BC6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47652" y="5032480"/>
            <a:ext cx="329459" cy="610109"/>
          </a:xfrm>
          <a:prstGeom prst="rect">
            <a:avLst/>
          </a:prstGeom>
        </p:spPr>
      </p:pic>
      <p:pic>
        <p:nvPicPr>
          <p:cNvPr id="31" name="Graphic 30">
            <a:extLst>
              <a:ext uri="{FF2B5EF4-FFF2-40B4-BE49-F238E27FC236}">
                <a16:creationId xmlns:a16="http://schemas.microsoft.com/office/drawing/2014/main" id="{050B8F96-139D-6872-2821-B62E31ABFEF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503870" y="4305137"/>
            <a:ext cx="462976" cy="694464"/>
          </a:xfrm>
          <a:prstGeom prst="rect">
            <a:avLst/>
          </a:prstGeom>
        </p:spPr>
      </p:pic>
      <p:pic>
        <p:nvPicPr>
          <p:cNvPr id="33" name="Graphic 32">
            <a:extLst>
              <a:ext uri="{FF2B5EF4-FFF2-40B4-BE49-F238E27FC236}">
                <a16:creationId xmlns:a16="http://schemas.microsoft.com/office/drawing/2014/main" id="{D37DF01A-6403-E011-B51A-B4AC011E457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706005" y="4933436"/>
            <a:ext cx="341266" cy="341266"/>
          </a:xfrm>
          <a:prstGeom prst="rect">
            <a:avLst/>
          </a:prstGeom>
        </p:spPr>
      </p:pic>
      <p:pic>
        <p:nvPicPr>
          <p:cNvPr id="35" name="Graphic 34">
            <a:extLst>
              <a:ext uri="{FF2B5EF4-FFF2-40B4-BE49-F238E27FC236}">
                <a16:creationId xmlns:a16="http://schemas.microsoft.com/office/drawing/2014/main" id="{8FAD3774-318C-7C46-6F42-2F5C8D4B36D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952234" y="4553438"/>
            <a:ext cx="771731" cy="719410"/>
          </a:xfrm>
          <a:prstGeom prst="rect">
            <a:avLst/>
          </a:prstGeom>
        </p:spPr>
      </p:pic>
      <p:pic>
        <p:nvPicPr>
          <p:cNvPr id="37" name="Graphic 36">
            <a:extLst>
              <a:ext uri="{FF2B5EF4-FFF2-40B4-BE49-F238E27FC236}">
                <a16:creationId xmlns:a16="http://schemas.microsoft.com/office/drawing/2014/main" id="{154F5BBA-9D97-8862-4A42-FC39D2495FF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897899" y="4224321"/>
            <a:ext cx="707174" cy="607921"/>
          </a:xfrm>
          <a:prstGeom prst="rect">
            <a:avLst/>
          </a:prstGeom>
        </p:spPr>
      </p:pic>
      <p:sp>
        <p:nvSpPr>
          <p:cNvPr id="321" name="Google Shape;3054;p94">
            <a:extLst>
              <a:ext uri="{FF2B5EF4-FFF2-40B4-BE49-F238E27FC236}">
                <a16:creationId xmlns:a16="http://schemas.microsoft.com/office/drawing/2014/main" id="{9C593F8D-53F9-2830-04F8-B4C9955DB067}"/>
              </a:ext>
            </a:extLst>
          </p:cNvPr>
          <p:cNvSpPr/>
          <p:nvPr/>
        </p:nvSpPr>
        <p:spPr>
          <a:xfrm>
            <a:off x="9738864" y="4558349"/>
            <a:ext cx="245432" cy="296118"/>
          </a:xfrm>
          <a:custGeom>
            <a:avLst/>
            <a:gdLst/>
            <a:ahLst/>
            <a:cxnLst/>
            <a:rect l="l" t="t" r="r" b="b"/>
            <a:pathLst>
              <a:path w="370880" h="447473" extrusionOk="0">
                <a:moveTo>
                  <a:pt x="185440" y="246421"/>
                </a:moveTo>
                <a:cubicBezTo>
                  <a:pt x="149262" y="246421"/>
                  <a:pt x="119939" y="217123"/>
                  <a:pt x="119939" y="180977"/>
                </a:cubicBezTo>
                <a:cubicBezTo>
                  <a:pt x="119939" y="144831"/>
                  <a:pt x="149262" y="115534"/>
                  <a:pt x="185440" y="115534"/>
                </a:cubicBezTo>
                <a:cubicBezTo>
                  <a:pt x="221618" y="115534"/>
                  <a:pt x="250941" y="144831"/>
                  <a:pt x="250941" y="180977"/>
                </a:cubicBezTo>
                <a:cubicBezTo>
                  <a:pt x="250941" y="180996"/>
                  <a:pt x="250941" y="181021"/>
                  <a:pt x="250941" y="181039"/>
                </a:cubicBezTo>
                <a:cubicBezTo>
                  <a:pt x="250941" y="217148"/>
                  <a:pt x="221643" y="246421"/>
                  <a:pt x="185502" y="246421"/>
                </a:cubicBezTo>
                <a:cubicBezTo>
                  <a:pt x="185484" y="246421"/>
                  <a:pt x="185459" y="246421"/>
                  <a:pt x="185440" y="246421"/>
                </a:cubicBezTo>
                <a:moveTo>
                  <a:pt x="317251" y="54752"/>
                </a:moveTo>
                <a:lnTo>
                  <a:pt x="316629" y="54131"/>
                </a:lnTo>
                <a:cubicBezTo>
                  <a:pt x="244061" y="-18044"/>
                  <a:pt x="126757" y="-18044"/>
                  <a:pt x="54190" y="54131"/>
                </a:cubicBezTo>
                <a:lnTo>
                  <a:pt x="53567" y="54752"/>
                </a:lnTo>
                <a:cubicBezTo>
                  <a:pt x="-18073" y="127349"/>
                  <a:pt x="-17824" y="244047"/>
                  <a:pt x="54127" y="316339"/>
                </a:cubicBezTo>
                <a:lnTo>
                  <a:pt x="185378" y="447474"/>
                </a:lnTo>
                <a:lnTo>
                  <a:pt x="316753" y="316277"/>
                </a:lnTo>
                <a:cubicBezTo>
                  <a:pt x="388704" y="243984"/>
                  <a:pt x="388953" y="127287"/>
                  <a:pt x="317313" y="54690"/>
                </a:cubicBezTo>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18" name="Google Shape;3054;p94">
            <a:extLst>
              <a:ext uri="{FF2B5EF4-FFF2-40B4-BE49-F238E27FC236}">
                <a16:creationId xmlns:a16="http://schemas.microsoft.com/office/drawing/2014/main" id="{E33BAFB5-6421-9769-CF04-E9A637E0277B}"/>
              </a:ext>
            </a:extLst>
          </p:cNvPr>
          <p:cNvSpPr/>
          <p:nvPr/>
        </p:nvSpPr>
        <p:spPr>
          <a:xfrm>
            <a:off x="10519122" y="4536124"/>
            <a:ext cx="245432" cy="296118"/>
          </a:xfrm>
          <a:custGeom>
            <a:avLst/>
            <a:gdLst/>
            <a:ahLst/>
            <a:cxnLst/>
            <a:rect l="l" t="t" r="r" b="b"/>
            <a:pathLst>
              <a:path w="370880" h="447473" extrusionOk="0">
                <a:moveTo>
                  <a:pt x="185440" y="246421"/>
                </a:moveTo>
                <a:cubicBezTo>
                  <a:pt x="149262" y="246421"/>
                  <a:pt x="119939" y="217123"/>
                  <a:pt x="119939" y="180977"/>
                </a:cubicBezTo>
                <a:cubicBezTo>
                  <a:pt x="119939" y="144831"/>
                  <a:pt x="149262" y="115534"/>
                  <a:pt x="185440" y="115534"/>
                </a:cubicBezTo>
                <a:cubicBezTo>
                  <a:pt x="221618" y="115534"/>
                  <a:pt x="250941" y="144831"/>
                  <a:pt x="250941" y="180977"/>
                </a:cubicBezTo>
                <a:cubicBezTo>
                  <a:pt x="250941" y="180996"/>
                  <a:pt x="250941" y="181021"/>
                  <a:pt x="250941" y="181039"/>
                </a:cubicBezTo>
                <a:cubicBezTo>
                  <a:pt x="250941" y="217148"/>
                  <a:pt x="221643" y="246421"/>
                  <a:pt x="185502" y="246421"/>
                </a:cubicBezTo>
                <a:cubicBezTo>
                  <a:pt x="185484" y="246421"/>
                  <a:pt x="185459" y="246421"/>
                  <a:pt x="185440" y="246421"/>
                </a:cubicBezTo>
                <a:moveTo>
                  <a:pt x="317251" y="54752"/>
                </a:moveTo>
                <a:lnTo>
                  <a:pt x="316629" y="54131"/>
                </a:lnTo>
                <a:cubicBezTo>
                  <a:pt x="244061" y="-18044"/>
                  <a:pt x="126757" y="-18044"/>
                  <a:pt x="54190" y="54131"/>
                </a:cubicBezTo>
                <a:lnTo>
                  <a:pt x="53567" y="54752"/>
                </a:lnTo>
                <a:cubicBezTo>
                  <a:pt x="-18073" y="127349"/>
                  <a:pt x="-17824" y="244047"/>
                  <a:pt x="54127" y="316339"/>
                </a:cubicBezTo>
                <a:lnTo>
                  <a:pt x="185378" y="447474"/>
                </a:lnTo>
                <a:lnTo>
                  <a:pt x="316753" y="316277"/>
                </a:lnTo>
                <a:cubicBezTo>
                  <a:pt x="388704" y="243984"/>
                  <a:pt x="388953" y="127287"/>
                  <a:pt x="317313" y="54690"/>
                </a:cubicBezTo>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17" name="Google Shape;3054;p94">
            <a:extLst>
              <a:ext uri="{FF2B5EF4-FFF2-40B4-BE49-F238E27FC236}">
                <a16:creationId xmlns:a16="http://schemas.microsoft.com/office/drawing/2014/main" id="{B87A325B-07E4-72CB-26E7-C62873B68D23}"/>
              </a:ext>
            </a:extLst>
          </p:cNvPr>
          <p:cNvSpPr/>
          <p:nvPr/>
        </p:nvSpPr>
        <p:spPr>
          <a:xfrm>
            <a:off x="8706180" y="4663007"/>
            <a:ext cx="245432" cy="296118"/>
          </a:xfrm>
          <a:custGeom>
            <a:avLst/>
            <a:gdLst/>
            <a:ahLst/>
            <a:cxnLst/>
            <a:rect l="l" t="t" r="r" b="b"/>
            <a:pathLst>
              <a:path w="370880" h="447473" extrusionOk="0">
                <a:moveTo>
                  <a:pt x="185440" y="246421"/>
                </a:moveTo>
                <a:cubicBezTo>
                  <a:pt x="149262" y="246421"/>
                  <a:pt x="119939" y="217123"/>
                  <a:pt x="119939" y="180977"/>
                </a:cubicBezTo>
                <a:cubicBezTo>
                  <a:pt x="119939" y="144831"/>
                  <a:pt x="149262" y="115534"/>
                  <a:pt x="185440" y="115534"/>
                </a:cubicBezTo>
                <a:cubicBezTo>
                  <a:pt x="221618" y="115534"/>
                  <a:pt x="250941" y="144831"/>
                  <a:pt x="250941" y="180977"/>
                </a:cubicBezTo>
                <a:cubicBezTo>
                  <a:pt x="250941" y="180996"/>
                  <a:pt x="250941" y="181021"/>
                  <a:pt x="250941" y="181039"/>
                </a:cubicBezTo>
                <a:cubicBezTo>
                  <a:pt x="250941" y="217148"/>
                  <a:pt x="221643" y="246421"/>
                  <a:pt x="185502" y="246421"/>
                </a:cubicBezTo>
                <a:cubicBezTo>
                  <a:pt x="185484" y="246421"/>
                  <a:pt x="185459" y="246421"/>
                  <a:pt x="185440" y="246421"/>
                </a:cubicBezTo>
                <a:moveTo>
                  <a:pt x="317251" y="54752"/>
                </a:moveTo>
                <a:lnTo>
                  <a:pt x="316629" y="54131"/>
                </a:lnTo>
                <a:cubicBezTo>
                  <a:pt x="244061" y="-18044"/>
                  <a:pt x="126757" y="-18044"/>
                  <a:pt x="54190" y="54131"/>
                </a:cubicBezTo>
                <a:lnTo>
                  <a:pt x="53567" y="54752"/>
                </a:lnTo>
                <a:cubicBezTo>
                  <a:pt x="-18073" y="127349"/>
                  <a:pt x="-17824" y="244047"/>
                  <a:pt x="54127" y="316339"/>
                </a:cubicBezTo>
                <a:lnTo>
                  <a:pt x="185378" y="447474"/>
                </a:lnTo>
                <a:lnTo>
                  <a:pt x="316753" y="316277"/>
                </a:lnTo>
                <a:cubicBezTo>
                  <a:pt x="388704" y="243984"/>
                  <a:pt x="388953" y="127287"/>
                  <a:pt x="317313" y="54690"/>
                </a:cubicBezTo>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nvGrpSpPr>
          <p:cNvPr id="2" name="Group 1">
            <a:extLst>
              <a:ext uri="{FF2B5EF4-FFF2-40B4-BE49-F238E27FC236}">
                <a16:creationId xmlns:a16="http://schemas.microsoft.com/office/drawing/2014/main" id="{622606CC-C311-F23D-B946-DB2D1B355364}"/>
              </a:ext>
            </a:extLst>
          </p:cNvPr>
          <p:cNvGrpSpPr/>
          <p:nvPr/>
        </p:nvGrpSpPr>
        <p:grpSpPr>
          <a:xfrm>
            <a:off x="8801780" y="159786"/>
            <a:ext cx="2947308" cy="217488"/>
            <a:chOff x="8801780" y="815106"/>
            <a:chExt cx="2947308" cy="217488"/>
          </a:xfrm>
        </p:grpSpPr>
        <p:sp>
          <p:nvSpPr>
            <p:cNvPr id="17" name="Rectangle 16">
              <a:extLst>
                <a:ext uri="{FF2B5EF4-FFF2-40B4-BE49-F238E27FC236}">
                  <a16:creationId xmlns:a16="http://schemas.microsoft.com/office/drawing/2014/main" id="{51FF8FBB-6A34-99F3-CC13-055E31FEDFD7}"/>
                </a:ext>
              </a:extLst>
            </p:cNvPr>
            <p:cNvSpPr/>
            <p:nvPr/>
          </p:nvSpPr>
          <p:spPr>
            <a:xfrm>
              <a:off x="8801780" y="81510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5</a:t>
              </a:r>
              <a:r>
                <a:rPr kumimoji="0" lang="lv-LV" sz="800" b="1" i="0" u="none" strike="noStrike" kern="0" cap="none" spc="0" normalizeH="0" baseline="0" dirty="0">
                  <a:ln>
                    <a:noFill/>
                  </a:ln>
                  <a:effectLst/>
                  <a:uLnTx/>
                  <a:uFillTx/>
                  <a:ea typeface="Georgia"/>
                  <a:cs typeface="Georgia"/>
                  <a:sym typeface="Georgia"/>
                </a:rPr>
                <a:t>.</a:t>
              </a:r>
              <a:r>
                <a:rPr lang="en-US" sz="800" b="1" kern="0" dirty="0">
                  <a:ea typeface="Georgia"/>
                  <a:cs typeface="Georgia"/>
                  <a:sym typeface="Georgia"/>
                </a:rPr>
                <a:t>1</a:t>
              </a:r>
              <a:endParaRPr kumimoji="0" lang="lv-LV" sz="800" b="1" i="0" u="none" strike="noStrike" kern="0" cap="none" spc="0" normalizeH="0" baseline="0" dirty="0">
                <a:ln>
                  <a:noFill/>
                </a:ln>
                <a:effectLst/>
                <a:uLnTx/>
                <a:uFillTx/>
                <a:ea typeface="Georgia"/>
                <a:cs typeface="Georgia"/>
                <a:sym typeface="Georgia"/>
              </a:endParaRPr>
            </a:p>
          </p:txBody>
        </p:sp>
        <p:sp>
          <p:nvSpPr>
            <p:cNvPr id="19" name="Rectangle 18">
              <a:extLst>
                <a:ext uri="{FF2B5EF4-FFF2-40B4-BE49-F238E27FC236}">
                  <a16:creationId xmlns:a16="http://schemas.microsoft.com/office/drawing/2014/main" id="{3CD82165-E8B5-A2E9-9EF4-22C97F36A67E}"/>
                </a:ext>
              </a:extLst>
            </p:cNvPr>
            <p:cNvSpPr/>
            <p:nvPr/>
          </p:nvSpPr>
          <p:spPr>
            <a:xfrm>
              <a:off x="11049434" y="81510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lang="en-US" sz="800" b="1" kern="0" dirty="0">
                  <a:solidFill>
                    <a:srgbClr val="A4A3B2"/>
                  </a:solidFill>
                  <a:ea typeface="Georgia"/>
                  <a:cs typeface="Georgia"/>
                  <a:sym typeface="Georgia"/>
                </a:rPr>
                <a:t>2</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5E443782-0570-253B-2B1F-8F4BE16BFD4E}"/>
                </a:ext>
              </a:extLst>
            </p:cNvPr>
            <p:cNvSpPr/>
            <p:nvPr/>
          </p:nvSpPr>
          <p:spPr>
            <a:xfrm>
              <a:off x="9043607" y="815106"/>
              <a:ext cx="198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Katastrofu </a:t>
              </a:r>
              <a:r>
                <a:rPr kumimoji="0" lang="en-US" sz="800" b="1" i="0" u="none" strike="noStrike" kern="0" cap="none" spc="0" normalizeH="0" baseline="0" dirty="0" err="1">
                  <a:ln>
                    <a:noFill/>
                  </a:ln>
                  <a:effectLst/>
                  <a:uLnTx/>
                  <a:uFillTx/>
                  <a:ea typeface="Georgia"/>
                  <a:cs typeface="Georgia"/>
                  <a:sym typeface="Georgia"/>
                </a:rPr>
                <a:t>iedalījums</a:t>
              </a:r>
              <a:endParaRPr kumimoji="0" lang="en-US" sz="800" b="1" i="0" u="none" strike="noStrike" kern="0" cap="none" spc="0" normalizeH="0" baseline="0" dirty="0">
                <a:ln>
                  <a:noFill/>
                </a:ln>
                <a:effectLst/>
                <a:uLnTx/>
                <a:uFillTx/>
                <a:ea typeface="Georgia"/>
                <a:cs typeface="Georgia"/>
                <a:sym typeface="Georgia"/>
              </a:endParaRPr>
            </a:p>
          </p:txBody>
        </p:sp>
        <p:sp>
          <p:nvSpPr>
            <p:cNvPr id="22" name="Rectangle 21">
              <a:extLst>
                <a:ext uri="{FF2B5EF4-FFF2-40B4-BE49-F238E27FC236}">
                  <a16:creationId xmlns:a16="http://schemas.microsoft.com/office/drawing/2014/main" id="{61B0ECD6-C53B-CF66-A19D-4ECCCAF1D5AC}"/>
                </a:ext>
              </a:extLst>
            </p:cNvPr>
            <p:cNvSpPr/>
            <p:nvPr/>
          </p:nvSpPr>
          <p:spPr>
            <a:xfrm>
              <a:off x="11291261" y="81510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3</a:t>
              </a:r>
            </a:p>
          </p:txBody>
        </p:sp>
        <p:sp>
          <p:nvSpPr>
            <p:cNvPr id="25" name="Rectangle 24">
              <a:extLst>
                <a:ext uri="{FF2B5EF4-FFF2-40B4-BE49-F238E27FC236}">
                  <a16:creationId xmlns:a16="http://schemas.microsoft.com/office/drawing/2014/main" id="{C2193CF4-46E0-12C0-02B0-637B9A6037D4}"/>
                </a:ext>
              </a:extLst>
            </p:cNvPr>
            <p:cNvSpPr/>
            <p:nvPr/>
          </p:nvSpPr>
          <p:spPr>
            <a:xfrm>
              <a:off x="11533088" y="81510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5</a:t>
              </a:r>
              <a:r>
                <a:rPr kumimoji="0" lang="lv-LV" sz="800" b="1" i="0" u="none" strike="noStrike" kern="0" cap="none" spc="0" normalizeH="0" baseline="0" dirty="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15137526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2147482102,40,Izmantotie avoti (2/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_16x9_PowerPoint_Template_2024" id="{BFCA0133-6982-9A41-83EB-B5BEADC3CF5E}" vid="{0EDD02ED-29A7-1B45-BF3B-A0CA00E48CB6}"/>
    </a:ext>
  </a:ext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EFF7F3D1589944B90553ACEA3976663" ma:contentTypeVersion="15" ma:contentTypeDescription="Create a new document." ma:contentTypeScope="" ma:versionID="6f5a9c38107a468910586e54a44bf668">
  <xsd:schema xmlns:xsd="http://www.w3.org/2001/XMLSchema" xmlns:xs="http://www.w3.org/2001/XMLSchema" xmlns:p="http://schemas.microsoft.com/office/2006/metadata/properties" xmlns:ns2="d4c41ca5-56e0-486b-8028-8e1cdea398f5" xmlns:ns3="51cb120f-d312-4c6b-a4cc-bcc7f473426d" targetNamespace="http://schemas.microsoft.com/office/2006/metadata/properties" ma:root="true" ma:fieldsID="319bd485ab46f162b11c7c7cd04d0b0e" ns2:_="" ns3:_="">
    <xsd:import namespace="d4c41ca5-56e0-486b-8028-8e1cdea398f5"/>
    <xsd:import namespace="51cb120f-d312-4c6b-a4cc-bcc7f473426d"/>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c41ca5-56e0-486b-8028-8e1cdea398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47bde53e-b0a2-4e98-8550-8a152603f3a2"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1cb120f-d312-4c6b-a4cc-bcc7f473426d"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f52b72c0-8bf2-4414-88c4-a88c88bd1edf}" ma:internalName="TaxCatchAll" ma:showField="CatchAllData" ma:web="51cb120f-d312-4c6b-a4cc-bcc7f473426d">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51cb120f-d312-4c6b-a4cc-bcc7f473426d">
      <UserInfo>
        <DisplayName>Annemarija Apine (LV)</DisplayName>
        <AccountId>12</AccountId>
        <AccountType/>
      </UserInfo>
      <UserInfo>
        <DisplayName>Eleonora Tokar (UA)</DisplayName>
        <AccountId>87</AccountId>
        <AccountType/>
      </UserInfo>
    </SharedWithUsers>
    <lcf76f155ced4ddcb4097134ff3c332f xmlns="d4c41ca5-56e0-486b-8028-8e1cdea398f5">
      <Terms xmlns="http://schemas.microsoft.com/office/infopath/2007/PartnerControls"/>
    </lcf76f155ced4ddcb4097134ff3c332f>
    <TaxCatchAll xmlns="51cb120f-d312-4c6b-a4cc-bcc7f473426d"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3F698A-7483-45E3-B214-7C3590870AF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c41ca5-56e0-486b-8028-8e1cdea398f5"/>
    <ds:schemaRef ds:uri="51cb120f-d312-4c6b-a4cc-bcc7f47342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3481255-EA56-4F4C-90A3-4605E2895C6F}">
  <ds:schemaRefs>
    <ds:schemaRef ds:uri="http://purl.org/dc/dcmitype/"/>
    <ds:schemaRef ds:uri="http://purl.org/dc/terms/"/>
    <ds:schemaRef ds:uri="http://schemas.openxmlformats.org/package/2006/metadata/core-properties"/>
    <ds:schemaRef ds:uri="http://schemas.microsoft.com/office/infopath/2007/PartnerControls"/>
    <ds:schemaRef ds:uri="http://schemas.microsoft.com/office/2006/documentManagement/types"/>
    <ds:schemaRef ds:uri="http://schemas.microsoft.com/office/2006/metadata/properties"/>
    <ds:schemaRef ds:uri="http://purl.org/dc/elements/1.1/"/>
    <ds:schemaRef ds:uri="d4c41ca5-56e0-486b-8028-8e1cdea398f5"/>
    <ds:schemaRef ds:uri="http://www.w3.org/XML/1998/namespace"/>
    <ds:schemaRef ds:uri="51cb120f-d312-4c6b-a4cc-bcc7f473426d"/>
  </ds:schemaRefs>
</ds:datastoreItem>
</file>

<file path=customXml/itemProps3.xml><?xml version="1.0" encoding="utf-8"?>
<ds:datastoreItem xmlns:ds="http://schemas.openxmlformats.org/officeDocument/2006/customXml" ds:itemID="{48D0FF63-4F60-4340-A249-7874CC7B78A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wC_16x9_PowerPoint_Template_2024</Template>
  <TotalTime>0</TotalTime>
  <Words>4580</Words>
  <Application>Microsoft Office PowerPoint</Application>
  <PresentationFormat>Widescreen</PresentationFormat>
  <Paragraphs>841</Paragraphs>
  <Slides>40</Slides>
  <Notes>3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48" baseType="lpstr">
      <vt:lpstr>Arial</vt:lpstr>
      <vt:lpstr>Calibri</vt:lpstr>
      <vt:lpstr>Georgia</vt:lpstr>
      <vt:lpstr>Open Sans</vt:lpstr>
      <vt:lpstr>Symbol</vt:lpstr>
      <vt:lpstr>Times New Roman</vt:lpstr>
      <vt:lpstr>PwC</vt:lpstr>
      <vt:lpstr>think-cell Slide</vt:lpstr>
      <vt:lpstr>PowerPoint Presentation</vt:lpstr>
      <vt:lpstr>Uzdevumi</vt:lpstr>
      <vt:lpstr>Satura rādītājs</vt:lpstr>
      <vt:lpstr>Ievaddiskusija ar izglītojamajiem par katastrofu iedalījumu</vt:lpstr>
      <vt:lpstr>5.1. Katastrofu iedalījums</vt:lpstr>
      <vt:lpstr>Katastrofas definīcija</vt:lpstr>
      <vt:lpstr>Katastrofu iedalījums atbilstoši cēlonim Dabas katastrofas</vt:lpstr>
      <vt:lpstr>Katastrofu iedalījums atbilstoši cēlonim Antropogēnās jeb cilvēku izraisītās katastrofas </vt:lpstr>
      <vt:lpstr>Katastrofu iedalījums atbilstoši skartās teritorijas mērogam</vt:lpstr>
      <vt:lpstr>5.2. Katastrofas pārvaldīšanas principi</vt:lpstr>
      <vt:lpstr>Katastrofas pārvaldīšanas pasākumu kopums, kuri tiek veikti, lai nodrošinātu civilās aizsardzības uzdevumu izpildi</vt:lpstr>
      <vt:lpstr>Preventīvie pasākumi</vt:lpstr>
      <vt:lpstr>Gatavības pasākumi</vt:lpstr>
      <vt:lpstr>Reaģēšanas pasākumi</vt:lpstr>
      <vt:lpstr>Seku likvidēšanas pasākumi</vt:lpstr>
      <vt:lpstr>Atjaunošanas pasākumi</vt:lpstr>
      <vt:lpstr>5.3. Apdraudējuma riska novērtēšana</vt:lpstr>
      <vt:lpstr>Apdraudējuma riska novērtēšanas  galvenie soļi </vt:lpstr>
      <vt:lpstr>Riska scenārija analīzes elementi</vt:lpstr>
      <vt:lpstr>Riska izvērtēšanas matrica</vt:lpstr>
      <vt:lpstr>Katastrofu risku kopsavilkums Valsts civilās  aizsardzības plānā </vt:lpstr>
      <vt:lpstr>Riska novērtēšanas piemērs Riska analīze paliem un ledus sanesumiem</vt:lpstr>
      <vt:lpstr>Riska novērtēšanas piemērs Riska izvērtējums paliem un ledus sanesumiem</vt:lpstr>
      <vt:lpstr>Riska novērtēšanas piemērs Identificētie pielāgošanās pasākumi</vt:lpstr>
      <vt:lpstr>5.4. Drošības pasākumi</vt:lpstr>
      <vt:lpstr>Bīstamās vielas Definīcija un veidi</vt:lpstr>
      <vt:lpstr>Bīstamās vielas Bīstamības simboli (1/5)</vt:lpstr>
      <vt:lpstr>Bīstamās vielas Bīstamības simboli (2/5)</vt:lpstr>
      <vt:lpstr>Bīstamās vielas Bīstamības simboli (3/5)</vt:lpstr>
      <vt:lpstr>Bīstamās vielas Bīstamības simboli (4/5)</vt:lpstr>
      <vt:lpstr>Bīstamās vielas Bīstamības simboli (5/5)</vt:lpstr>
      <vt:lpstr>Bīstamās vielas Bīstamo vielu uzglabāšana</vt:lpstr>
      <vt:lpstr>Bīstamās vielas Bīstamo vielu uzglabāšanas rezervuāru prasības</vt:lpstr>
      <vt:lpstr>Bīstamās vielas Bīstamo vielu un maisījumu uzglabāšanas un lietošanas prasības</vt:lpstr>
      <vt:lpstr>Bīstamās vielas Bīstamo kravu atpazīstamības un rīcības kodeksa plāksnes</vt:lpstr>
      <vt:lpstr>Bīstamās vielas Vielu drošības darba lapa</vt:lpstr>
      <vt:lpstr>Individuālie aizsardzības līdzekļi Normatīvais regulējums</vt:lpstr>
      <vt:lpstr>Individuālie aizsardzības līdzekļi Individuālo aizsardzības līdzekļu komplekta sastāvs veselības nozarē strādājošajiem</vt:lpstr>
      <vt:lpstr>Izmantotie avoti (1/2)</vt:lpstr>
      <vt:lpstr>Izmantotie avoti (2/2)</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
  <cp:keywords/>
  <dc:description/>
  <cp:revision>25</cp:revision>
  <dcterms:created xsi:type="dcterms:W3CDTF">2024-05-09T17:46:36Z</dcterms:created>
  <dcterms:modified xsi:type="dcterms:W3CDTF">2024-09-02T07:59:1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FF7F3D1589944B90553ACEA3976663</vt:lpwstr>
  </property>
  <property fmtid="{D5CDD505-2E9C-101B-9397-08002B2CF9AE}" pid="3" name="MediaServiceImageTags">
    <vt:lpwstr/>
  </property>
  <property fmtid="{D5CDD505-2E9C-101B-9397-08002B2CF9AE}" pid="4" name="lcf76f155ced4ddcb4097134ff3c332f">
    <vt:lpwstr/>
  </property>
  <property fmtid="{D5CDD505-2E9C-101B-9397-08002B2CF9AE}" pid="5" name="TaxCatchAll">
    <vt:lpwstr/>
  </property>
</Properties>
</file>